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1.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12.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5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67.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6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6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7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71.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72.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79.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05"/>
  </p:notesMasterIdLst>
  <p:handoutMasterIdLst>
    <p:handoutMasterId r:id="rId106"/>
  </p:handoutMasterIdLst>
  <p:sldIdLst>
    <p:sldId id="269" r:id="rId5"/>
    <p:sldId id="549" r:id="rId6"/>
    <p:sldId id="463" r:id="rId7"/>
    <p:sldId id="672" r:id="rId8"/>
    <p:sldId id="585" r:id="rId9"/>
    <p:sldId id="599" r:id="rId10"/>
    <p:sldId id="600" r:id="rId11"/>
    <p:sldId id="618" r:id="rId12"/>
    <p:sldId id="619" r:id="rId13"/>
    <p:sldId id="673" r:id="rId14"/>
    <p:sldId id="674" r:id="rId15"/>
    <p:sldId id="675" r:id="rId16"/>
    <p:sldId id="676" r:id="rId17"/>
    <p:sldId id="677" r:id="rId18"/>
    <p:sldId id="678" r:id="rId19"/>
    <p:sldId id="680" r:id="rId20"/>
    <p:sldId id="681" r:id="rId21"/>
    <p:sldId id="682" r:id="rId22"/>
    <p:sldId id="683" r:id="rId23"/>
    <p:sldId id="684" r:id="rId24"/>
    <p:sldId id="685" r:id="rId25"/>
    <p:sldId id="686" r:id="rId26"/>
    <p:sldId id="687" r:id="rId27"/>
    <p:sldId id="688" r:id="rId28"/>
    <p:sldId id="689" r:id="rId29"/>
    <p:sldId id="691" r:id="rId30"/>
    <p:sldId id="692" r:id="rId31"/>
    <p:sldId id="693" r:id="rId32"/>
    <p:sldId id="694" r:id="rId33"/>
    <p:sldId id="695" r:id="rId34"/>
    <p:sldId id="696" r:id="rId35"/>
    <p:sldId id="697" r:id="rId36"/>
    <p:sldId id="698" r:id="rId37"/>
    <p:sldId id="627" r:id="rId38"/>
    <p:sldId id="699" r:id="rId39"/>
    <p:sldId id="700" r:id="rId40"/>
    <p:sldId id="701" r:id="rId41"/>
    <p:sldId id="702" r:id="rId42"/>
    <p:sldId id="703" r:id="rId43"/>
    <p:sldId id="704" r:id="rId44"/>
    <p:sldId id="705" r:id="rId45"/>
    <p:sldId id="637" r:id="rId46"/>
    <p:sldId id="706" r:id="rId47"/>
    <p:sldId id="707" r:id="rId48"/>
    <p:sldId id="710" r:id="rId49"/>
    <p:sldId id="709" r:id="rId50"/>
    <p:sldId id="711" r:id="rId51"/>
    <p:sldId id="728" r:id="rId52"/>
    <p:sldId id="729" r:id="rId53"/>
    <p:sldId id="730" r:id="rId54"/>
    <p:sldId id="731" r:id="rId55"/>
    <p:sldId id="732" r:id="rId56"/>
    <p:sldId id="733" r:id="rId57"/>
    <p:sldId id="734" r:id="rId58"/>
    <p:sldId id="640" r:id="rId59"/>
    <p:sldId id="712" r:id="rId60"/>
    <p:sldId id="642" r:id="rId61"/>
    <p:sldId id="643" r:id="rId62"/>
    <p:sldId id="644" r:id="rId63"/>
    <p:sldId id="645" r:id="rId64"/>
    <p:sldId id="646" r:id="rId65"/>
    <p:sldId id="647" r:id="rId66"/>
    <p:sldId id="648" r:id="rId67"/>
    <p:sldId id="649" r:id="rId68"/>
    <p:sldId id="650" r:id="rId69"/>
    <p:sldId id="690" r:id="rId70"/>
    <p:sldId id="651" r:id="rId71"/>
    <p:sldId id="652" r:id="rId72"/>
    <p:sldId id="653" r:id="rId73"/>
    <p:sldId id="713" r:id="rId74"/>
    <p:sldId id="654" r:id="rId75"/>
    <p:sldId id="655" r:id="rId76"/>
    <p:sldId id="656" r:id="rId77"/>
    <p:sldId id="657" r:id="rId78"/>
    <p:sldId id="658" r:id="rId79"/>
    <p:sldId id="659" r:id="rId80"/>
    <p:sldId id="660" r:id="rId81"/>
    <p:sldId id="661" r:id="rId82"/>
    <p:sldId id="662" r:id="rId83"/>
    <p:sldId id="663" r:id="rId84"/>
    <p:sldId id="714" r:id="rId85"/>
    <p:sldId id="715" r:id="rId86"/>
    <p:sldId id="664" r:id="rId87"/>
    <p:sldId id="665" r:id="rId88"/>
    <p:sldId id="666" r:id="rId89"/>
    <p:sldId id="667" r:id="rId90"/>
    <p:sldId id="671" r:id="rId91"/>
    <p:sldId id="716" r:id="rId92"/>
    <p:sldId id="717" r:id="rId93"/>
    <p:sldId id="718" r:id="rId94"/>
    <p:sldId id="719" r:id="rId95"/>
    <p:sldId id="720" r:id="rId96"/>
    <p:sldId id="721" r:id="rId97"/>
    <p:sldId id="722" r:id="rId98"/>
    <p:sldId id="723" r:id="rId99"/>
    <p:sldId id="724" r:id="rId100"/>
    <p:sldId id="725" r:id="rId101"/>
    <p:sldId id="726" r:id="rId102"/>
    <p:sldId id="727" r:id="rId103"/>
    <p:sldId id="596" r:id="rId104"/>
  </p:sldIdLst>
  <p:sldSz cx="12192000" cy="6858000"/>
  <p:notesSz cx="6797675" cy="9928225"/>
  <p:custDataLst>
    <p:tags r:id="rId10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2018E09-54FC-47B5-8CF7-877871C5862A}">
          <p14:sldIdLst>
            <p14:sldId id="269"/>
            <p14:sldId id="549"/>
            <p14:sldId id="463"/>
            <p14:sldId id="672"/>
            <p14:sldId id="585"/>
            <p14:sldId id="599"/>
            <p14:sldId id="600"/>
            <p14:sldId id="618"/>
            <p14:sldId id="619"/>
            <p14:sldId id="673"/>
            <p14:sldId id="674"/>
            <p14:sldId id="675"/>
            <p14:sldId id="676"/>
            <p14:sldId id="677"/>
            <p14:sldId id="678"/>
            <p14:sldId id="680"/>
            <p14:sldId id="681"/>
            <p14:sldId id="682"/>
            <p14:sldId id="683"/>
            <p14:sldId id="684"/>
            <p14:sldId id="685"/>
            <p14:sldId id="686"/>
            <p14:sldId id="687"/>
            <p14:sldId id="688"/>
            <p14:sldId id="689"/>
            <p14:sldId id="691"/>
            <p14:sldId id="692"/>
            <p14:sldId id="693"/>
            <p14:sldId id="694"/>
            <p14:sldId id="695"/>
            <p14:sldId id="696"/>
            <p14:sldId id="697"/>
            <p14:sldId id="698"/>
            <p14:sldId id="627"/>
            <p14:sldId id="699"/>
            <p14:sldId id="700"/>
            <p14:sldId id="701"/>
            <p14:sldId id="702"/>
            <p14:sldId id="703"/>
            <p14:sldId id="704"/>
            <p14:sldId id="705"/>
            <p14:sldId id="637"/>
            <p14:sldId id="706"/>
            <p14:sldId id="707"/>
            <p14:sldId id="710"/>
            <p14:sldId id="709"/>
            <p14:sldId id="711"/>
            <p14:sldId id="728"/>
            <p14:sldId id="729"/>
            <p14:sldId id="730"/>
            <p14:sldId id="731"/>
            <p14:sldId id="732"/>
            <p14:sldId id="733"/>
            <p14:sldId id="734"/>
            <p14:sldId id="640"/>
            <p14:sldId id="712"/>
            <p14:sldId id="642"/>
            <p14:sldId id="643"/>
            <p14:sldId id="644"/>
            <p14:sldId id="645"/>
            <p14:sldId id="646"/>
            <p14:sldId id="647"/>
            <p14:sldId id="648"/>
            <p14:sldId id="649"/>
            <p14:sldId id="650"/>
            <p14:sldId id="690"/>
            <p14:sldId id="651"/>
            <p14:sldId id="652"/>
            <p14:sldId id="653"/>
            <p14:sldId id="713"/>
            <p14:sldId id="654"/>
            <p14:sldId id="655"/>
            <p14:sldId id="656"/>
            <p14:sldId id="657"/>
            <p14:sldId id="658"/>
            <p14:sldId id="659"/>
            <p14:sldId id="660"/>
            <p14:sldId id="661"/>
            <p14:sldId id="662"/>
            <p14:sldId id="663"/>
            <p14:sldId id="714"/>
            <p14:sldId id="715"/>
            <p14:sldId id="664"/>
            <p14:sldId id="665"/>
            <p14:sldId id="666"/>
            <p14:sldId id="667"/>
            <p14:sldId id="671"/>
            <p14:sldId id="716"/>
            <p14:sldId id="717"/>
            <p14:sldId id="718"/>
            <p14:sldId id="719"/>
            <p14:sldId id="720"/>
            <p14:sldId id="721"/>
            <p14:sldId id="722"/>
            <p14:sldId id="723"/>
            <p14:sldId id="724"/>
            <p14:sldId id="725"/>
            <p14:sldId id="726"/>
            <p14:sldId id="727"/>
            <p14:sldId id="596"/>
          </p14:sldIdLst>
        </p14:section>
      </p14:sectionLst>
    </p:ext>
    <p:ext uri="{EFAFB233-063F-42B5-8137-9DF3F51BA10A}">
      <p15:sldGuideLst xmlns:p15="http://schemas.microsoft.com/office/powerpoint/2012/main">
        <p15:guide id="10" userDrawn="1">
          <p15:clr>
            <a:srgbClr val="A4A3A4"/>
          </p15:clr>
        </p15:guide>
        <p15:guide id="12" orient="horz" pos="1049" userDrawn="1">
          <p15:clr>
            <a:srgbClr val="A4A3A4"/>
          </p15:clr>
        </p15:guide>
        <p15:guide id="15" orient="horz" pos="3974" userDrawn="1">
          <p15:clr>
            <a:srgbClr val="A4A3A4"/>
          </p15:clr>
        </p15:guide>
        <p15:guide id="16" orient="horz" pos="981"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uiz, Ricardo" initials="RR" lastIdx="1" clrIdx="0">
    <p:extLst>
      <p:ext uri="{19B8F6BF-5375-455C-9EA6-DF929625EA0E}">
        <p15:presenceInfo xmlns:p15="http://schemas.microsoft.com/office/powerpoint/2012/main" userId="Ruiz, Ricardo" providerId="None"/>
      </p:ext>
    </p:extLst>
  </p:cmAuthor>
  <p:cmAuthor id="2" name="Zabala, Rafael" initials="ZR" lastIdx="2" clrIdx="1">
    <p:extLst>
      <p:ext uri="{19B8F6BF-5375-455C-9EA6-DF929625EA0E}">
        <p15:presenceInfo xmlns:p15="http://schemas.microsoft.com/office/powerpoint/2012/main" userId="S::rzabala@deloitte.es::7ef1f92e-396c-4e4d-9056-a758aad6789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951B"/>
    <a:srgbClr val="AABC00"/>
    <a:srgbClr val="000000"/>
    <a:srgbClr val="FFCD00"/>
    <a:srgbClr val="0076A8"/>
    <a:srgbClr val="C00000"/>
    <a:srgbClr val="ED8B00"/>
    <a:srgbClr val="005587"/>
    <a:srgbClr val="FFFFFF"/>
    <a:srgbClr val="DB29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F38F6D-E8D8-C4E4-B3E1-F3331A7EA9B8}" v="1" dt="2024-12-17T08:16:05.960"/>
    <p1510:client id="{E49744AF-4E88-4096-C974-7F81679521FE}" v="2" dt="2024-12-16T13:20:13.1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guide orient="horz" pos="1049"/>
        <p:guide orient="horz" pos="3974"/>
        <p:guide orient="horz" pos="981"/>
      </p:guideLst>
    </p:cSldViewPr>
  </p:slideViewPr>
  <p:notesViewPr>
    <p:cSldViewPr snapToGrid="0">
      <p:cViewPr>
        <p:scale>
          <a:sx n="1" d="2"/>
          <a:sy n="1" d="2"/>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tableStyles" Target="tableStyles.xml"/><Relationship Id="rId16" Type="http://schemas.openxmlformats.org/officeDocument/2006/relationships/slide" Target="slides/slide12.xml"/><Relationship Id="rId107" Type="http://schemas.openxmlformats.org/officeDocument/2006/relationships/tags" Target="tags/tag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microsoft.com/office/2016/11/relationships/changesInfo" Target="changesInfos/changesInfo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commentAuthors" Target="commentAuthor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handoutMaster" Target="handoutMasters/handoutMaster1.xml"/><Relationship Id="rId114"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presProps" Target="presProp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rrachero Mallofret, Claudia Nerea" userId="S::cborracheromallofret@deloitte.es::02a1dbb0-dec9-416c-b7ed-16a327d853e8" providerId="AD" clId="Web-{A088F70C-0935-0D94-E822-164F52E53D5C}"/>
    <pc:docChg chg="modSld">
      <pc:chgData name="Borrachero Mallofret, Claudia Nerea" userId="S::cborracheromallofret@deloitte.es::02a1dbb0-dec9-416c-b7ed-16a327d853e8" providerId="AD" clId="Web-{A088F70C-0935-0D94-E822-164F52E53D5C}" dt="2024-12-12T08:23:21.591" v="3" actId="20577"/>
      <pc:docMkLst>
        <pc:docMk/>
      </pc:docMkLst>
      <pc:sldChg chg="modSp">
        <pc:chgData name="Borrachero Mallofret, Claudia Nerea" userId="S::cborracheromallofret@deloitte.es::02a1dbb0-dec9-416c-b7ed-16a327d853e8" providerId="AD" clId="Web-{A088F70C-0935-0D94-E822-164F52E53D5C}" dt="2024-12-12T08:23:21.591" v="3" actId="20577"/>
        <pc:sldMkLst>
          <pc:docMk/>
          <pc:sldMk cId="1623562801" sldId="710"/>
        </pc:sldMkLst>
        <pc:spChg chg="mod">
          <ac:chgData name="Borrachero Mallofret, Claudia Nerea" userId="S::cborracheromallofret@deloitte.es::02a1dbb0-dec9-416c-b7ed-16a327d853e8" providerId="AD" clId="Web-{A088F70C-0935-0D94-E822-164F52E53D5C}" dt="2024-12-12T08:23:20.825" v="1" actId="20577"/>
          <ac:spMkLst>
            <pc:docMk/>
            <pc:sldMk cId="1623562801" sldId="710"/>
            <ac:spMk id="9" creationId="{0F53B193-3D83-4085-3167-54BA7BAB2CE9}"/>
          </ac:spMkLst>
        </pc:spChg>
        <pc:spChg chg="mod">
          <ac:chgData name="Borrachero Mallofret, Claudia Nerea" userId="S::cborracheromallofret@deloitte.es::02a1dbb0-dec9-416c-b7ed-16a327d853e8" providerId="AD" clId="Web-{A088F70C-0935-0D94-E822-164F52E53D5C}" dt="2024-12-12T08:23:19.638" v="0" actId="20577"/>
          <ac:spMkLst>
            <pc:docMk/>
            <pc:sldMk cId="1623562801" sldId="710"/>
            <ac:spMk id="13" creationId="{2291B22A-6F24-8B51-C329-C12030956359}"/>
          </ac:spMkLst>
        </pc:spChg>
        <pc:spChg chg="mod">
          <ac:chgData name="Borrachero Mallofret, Claudia Nerea" userId="S::cborracheromallofret@deloitte.es::02a1dbb0-dec9-416c-b7ed-16a327d853e8" providerId="AD" clId="Web-{A088F70C-0935-0D94-E822-164F52E53D5C}" dt="2024-12-12T08:23:20.872" v="2" actId="20577"/>
          <ac:spMkLst>
            <pc:docMk/>
            <pc:sldMk cId="1623562801" sldId="710"/>
            <ac:spMk id="16" creationId="{8749C0F4-3270-1069-87B1-66EF1577550B}"/>
          </ac:spMkLst>
        </pc:spChg>
        <pc:spChg chg="mod">
          <ac:chgData name="Borrachero Mallofret, Claudia Nerea" userId="S::cborracheromallofret@deloitte.es::02a1dbb0-dec9-416c-b7ed-16a327d853e8" providerId="AD" clId="Web-{A088F70C-0935-0D94-E822-164F52E53D5C}" dt="2024-12-12T08:23:21.591" v="3" actId="20577"/>
          <ac:spMkLst>
            <pc:docMk/>
            <pc:sldMk cId="1623562801" sldId="710"/>
            <ac:spMk id="18" creationId="{F88C2877-1041-84BA-B999-D2ECBD2671AA}"/>
          </ac:spMkLst>
        </pc:spChg>
      </pc:sldChg>
    </pc:docChg>
  </pc:docChgLst>
  <pc:docChgLst>
    <pc:chgData name="Guerrero Quiros, Jesus" userId="9d53007f-80b5-424a-baef-31d811de0396" providerId="ADAL" clId="{AC0C42EC-1194-45C5-866F-783949D593DB}"/>
    <pc:docChg chg="undo redo custSel addSld delSld modSld modSection">
      <pc:chgData name="Guerrero Quiros, Jesus" userId="9d53007f-80b5-424a-baef-31d811de0396" providerId="ADAL" clId="{AC0C42EC-1194-45C5-866F-783949D593DB}" dt="2024-11-11T12:44:19.675" v="17600" actId="113"/>
      <pc:docMkLst>
        <pc:docMk/>
      </pc:docMkLst>
      <pc:sldChg chg="addSp modSp mod">
        <pc:chgData name="Guerrero Quiros, Jesus" userId="9d53007f-80b5-424a-baef-31d811de0396" providerId="ADAL" clId="{AC0C42EC-1194-45C5-866F-783949D593DB}" dt="2024-11-09T23:54:04.690" v="11320" actId="404"/>
        <pc:sldMkLst>
          <pc:docMk/>
          <pc:sldMk cId="3258412667" sldId="549"/>
        </pc:sldMkLst>
        <pc:spChg chg="add mod">
          <ac:chgData name="Guerrero Quiros, Jesus" userId="9d53007f-80b5-424a-baef-31d811de0396" providerId="ADAL" clId="{AC0C42EC-1194-45C5-866F-783949D593DB}" dt="2024-11-09T23:53:47.838" v="11307" actId="1035"/>
          <ac:spMkLst>
            <pc:docMk/>
            <pc:sldMk cId="3258412667" sldId="549"/>
            <ac:spMk id="2" creationId="{34BBF731-C4BE-274E-BE7E-BA76C2FF987C}"/>
          </ac:spMkLst>
        </pc:spChg>
        <pc:spChg chg="mod">
          <ac:chgData name="Guerrero Quiros, Jesus" userId="9d53007f-80b5-424a-baef-31d811de0396" providerId="ADAL" clId="{AC0C42EC-1194-45C5-866F-783949D593DB}" dt="2024-11-09T23:54:04.690" v="11320" actId="404"/>
          <ac:spMkLst>
            <pc:docMk/>
            <pc:sldMk cId="3258412667" sldId="549"/>
            <ac:spMk id="25" creationId="{00000000-0000-0000-0000-000000000000}"/>
          </ac:spMkLst>
        </pc:spChg>
      </pc:sldChg>
      <pc:sldChg chg="addSp modSp mod">
        <pc:chgData name="Guerrero Quiros, Jesus" userId="9d53007f-80b5-424a-baef-31d811de0396" providerId="ADAL" clId="{AC0C42EC-1194-45C5-866F-783949D593DB}" dt="2024-11-09T22:59:56.466" v="8332" actId="20577"/>
        <pc:sldMkLst>
          <pc:docMk/>
          <pc:sldMk cId="303702250" sldId="585"/>
        </pc:sldMkLst>
        <pc:spChg chg="add mod">
          <ac:chgData name="Guerrero Quiros, Jesus" userId="9d53007f-80b5-424a-baef-31d811de0396" providerId="ADAL" clId="{AC0C42EC-1194-45C5-866F-783949D593DB}" dt="2024-10-11T10:03:13.936" v="713" actId="14100"/>
          <ac:spMkLst>
            <pc:docMk/>
            <pc:sldMk cId="303702250" sldId="585"/>
            <ac:spMk id="3" creationId="{BF43973C-4255-E44F-DFF4-83673F4C091D}"/>
          </ac:spMkLst>
        </pc:spChg>
        <pc:spChg chg="mod">
          <ac:chgData name="Guerrero Quiros, Jesus" userId="9d53007f-80b5-424a-baef-31d811de0396" providerId="ADAL" clId="{AC0C42EC-1194-45C5-866F-783949D593DB}" dt="2024-10-11T10:03:26.060" v="722" actId="1035"/>
          <ac:spMkLst>
            <pc:docMk/>
            <pc:sldMk cId="303702250" sldId="585"/>
            <ac:spMk id="21" creationId="{00000000-0000-0000-0000-000000000000}"/>
          </ac:spMkLst>
        </pc:spChg>
        <pc:spChg chg="mod">
          <ac:chgData name="Guerrero Quiros, Jesus" userId="9d53007f-80b5-424a-baef-31d811de0396" providerId="ADAL" clId="{AC0C42EC-1194-45C5-866F-783949D593DB}" dt="2024-10-11T10:03:26.060" v="722" actId="1035"/>
          <ac:spMkLst>
            <pc:docMk/>
            <pc:sldMk cId="303702250" sldId="585"/>
            <ac:spMk id="37" creationId="{96BDED81-F131-49AD-B259-1965F7ED4EC9}"/>
          </ac:spMkLst>
        </pc:spChg>
        <pc:spChg chg="mod">
          <ac:chgData name="Guerrero Quiros, Jesus" userId="9d53007f-80b5-424a-baef-31d811de0396" providerId="ADAL" clId="{AC0C42EC-1194-45C5-866F-783949D593DB}" dt="2024-10-11T10:03:26.060" v="722" actId="1035"/>
          <ac:spMkLst>
            <pc:docMk/>
            <pc:sldMk cId="303702250" sldId="585"/>
            <ac:spMk id="38" creationId="{BCDD2A93-6E25-47B3-A3A8-635409C51457}"/>
          </ac:spMkLst>
        </pc:spChg>
        <pc:spChg chg="mod">
          <ac:chgData name="Guerrero Quiros, Jesus" userId="9d53007f-80b5-424a-baef-31d811de0396" providerId="ADAL" clId="{AC0C42EC-1194-45C5-866F-783949D593DB}" dt="2024-10-11T10:03:26.060" v="722" actId="1035"/>
          <ac:spMkLst>
            <pc:docMk/>
            <pc:sldMk cId="303702250" sldId="585"/>
            <ac:spMk id="39" creationId="{ADCC46C3-B842-46DA-8DC6-545C26A7C9E8}"/>
          </ac:spMkLst>
        </pc:spChg>
        <pc:spChg chg="mod">
          <ac:chgData name="Guerrero Quiros, Jesus" userId="9d53007f-80b5-424a-baef-31d811de0396" providerId="ADAL" clId="{AC0C42EC-1194-45C5-866F-783949D593DB}" dt="2024-10-11T10:03:26.060" v="722" actId="1035"/>
          <ac:spMkLst>
            <pc:docMk/>
            <pc:sldMk cId="303702250" sldId="585"/>
            <ac:spMk id="44" creationId="{7BDBBF98-A803-48FB-9D9E-6591484E4EAA}"/>
          </ac:spMkLst>
        </pc:spChg>
        <pc:spChg chg="mod">
          <ac:chgData name="Guerrero Quiros, Jesus" userId="9d53007f-80b5-424a-baef-31d811de0396" providerId="ADAL" clId="{AC0C42EC-1194-45C5-866F-783949D593DB}" dt="2024-10-11T10:03:26.060" v="722" actId="1035"/>
          <ac:spMkLst>
            <pc:docMk/>
            <pc:sldMk cId="303702250" sldId="585"/>
            <ac:spMk id="45" creationId="{9F5415D6-B47E-44DD-B238-BEB6CA2C0725}"/>
          </ac:spMkLst>
        </pc:spChg>
        <pc:spChg chg="mod">
          <ac:chgData name="Guerrero Quiros, Jesus" userId="9d53007f-80b5-424a-baef-31d811de0396" providerId="ADAL" clId="{AC0C42EC-1194-45C5-866F-783949D593DB}" dt="2024-10-11T10:03:26.060" v="722" actId="1035"/>
          <ac:spMkLst>
            <pc:docMk/>
            <pc:sldMk cId="303702250" sldId="585"/>
            <ac:spMk id="46" creationId="{5CE098CC-128B-457A-AC4A-72A1EE5D436F}"/>
          </ac:spMkLst>
        </pc:spChg>
        <pc:spChg chg="mod">
          <ac:chgData name="Guerrero Quiros, Jesus" userId="9d53007f-80b5-424a-baef-31d811de0396" providerId="ADAL" clId="{AC0C42EC-1194-45C5-866F-783949D593DB}" dt="2024-10-11T10:03:26.060" v="722" actId="1035"/>
          <ac:spMkLst>
            <pc:docMk/>
            <pc:sldMk cId="303702250" sldId="585"/>
            <ac:spMk id="48" creationId="{0F240E81-CC0B-4BEF-A0A0-CB6B40B29749}"/>
          </ac:spMkLst>
        </pc:spChg>
        <pc:spChg chg="mod">
          <ac:chgData name="Guerrero Quiros, Jesus" userId="9d53007f-80b5-424a-baef-31d811de0396" providerId="ADAL" clId="{AC0C42EC-1194-45C5-866F-783949D593DB}" dt="2024-11-09T22:58:51.850" v="8201" actId="20577"/>
          <ac:spMkLst>
            <pc:docMk/>
            <pc:sldMk cId="303702250" sldId="585"/>
            <ac:spMk id="49" creationId="{B5A75139-28FA-4ECC-9B6E-63B37FE52849}"/>
          </ac:spMkLst>
        </pc:spChg>
        <pc:spChg chg="mod">
          <ac:chgData name="Guerrero Quiros, Jesus" userId="9d53007f-80b5-424a-baef-31d811de0396" providerId="ADAL" clId="{AC0C42EC-1194-45C5-866F-783949D593DB}" dt="2024-10-11T10:03:26.060" v="722" actId="1035"/>
          <ac:spMkLst>
            <pc:docMk/>
            <pc:sldMk cId="303702250" sldId="585"/>
            <ac:spMk id="50" creationId="{C698E453-F613-46D7-977F-C9760B3387D0}"/>
          </ac:spMkLst>
        </pc:spChg>
        <pc:spChg chg="mod">
          <ac:chgData name="Guerrero Quiros, Jesus" userId="9d53007f-80b5-424a-baef-31d811de0396" providerId="ADAL" clId="{AC0C42EC-1194-45C5-866F-783949D593DB}" dt="2024-11-09T22:59:56.466" v="8332" actId="20577"/>
          <ac:spMkLst>
            <pc:docMk/>
            <pc:sldMk cId="303702250" sldId="585"/>
            <ac:spMk id="53" creationId="{D70EE005-D9E2-4DE2-8D0D-0B2990ED89F4}"/>
          </ac:spMkLst>
        </pc:spChg>
        <pc:spChg chg="mod">
          <ac:chgData name="Guerrero Quiros, Jesus" userId="9d53007f-80b5-424a-baef-31d811de0396" providerId="ADAL" clId="{AC0C42EC-1194-45C5-866F-783949D593DB}" dt="2024-10-11T10:03:26.060" v="722" actId="1035"/>
          <ac:spMkLst>
            <pc:docMk/>
            <pc:sldMk cId="303702250" sldId="585"/>
            <ac:spMk id="54" creationId="{0A5596BF-9FF7-44F7-97E9-C95795935EEE}"/>
          </ac:spMkLst>
        </pc:spChg>
        <pc:spChg chg="mod">
          <ac:chgData name="Guerrero Quiros, Jesus" userId="9d53007f-80b5-424a-baef-31d811de0396" providerId="ADAL" clId="{AC0C42EC-1194-45C5-866F-783949D593DB}" dt="2024-10-11T10:06:10.809" v="724" actId="14100"/>
          <ac:spMkLst>
            <pc:docMk/>
            <pc:sldMk cId="303702250" sldId="585"/>
            <ac:spMk id="55" creationId="{25FE089C-36F4-4864-A540-78F94C807CB2}"/>
          </ac:spMkLst>
        </pc:spChg>
        <pc:spChg chg="mod">
          <ac:chgData name="Guerrero Quiros, Jesus" userId="9d53007f-80b5-424a-baef-31d811de0396" providerId="ADAL" clId="{AC0C42EC-1194-45C5-866F-783949D593DB}" dt="2024-10-11T10:03:26.060" v="722" actId="1035"/>
          <ac:spMkLst>
            <pc:docMk/>
            <pc:sldMk cId="303702250" sldId="585"/>
            <ac:spMk id="56" creationId="{57FE3869-78E3-430E-A73F-9F3AAF12E92F}"/>
          </ac:spMkLst>
        </pc:spChg>
        <pc:spChg chg="mod">
          <ac:chgData name="Guerrero Quiros, Jesus" userId="9d53007f-80b5-424a-baef-31d811de0396" providerId="ADAL" clId="{AC0C42EC-1194-45C5-866F-783949D593DB}" dt="2024-10-11T10:03:26.060" v="722" actId="1035"/>
          <ac:spMkLst>
            <pc:docMk/>
            <pc:sldMk cId="303702250" sldId="585"/>
            <ac:spMk id="59" creationId="{14F74FFF-F6E8-4E13-87F9-D0552D1041E2}"/>
          </ac:spMkLst>
        </pc:spChg>
        <pc:spChg chg="mod">
          <ac:chgData name="Guerrero Quiros, Jesus" userId="9d53007f-80b5-424a-baef-31d811de0396" providerId="ADAL" clId="{AC0C42EC-1194-45C5-866F-783949D593DB}" dt="2024-10-11T10:03:26.060" v="722" actId="1035"/>
          <ac:spMkLst>
            <pc:docMk/>
            <pc:sldMk cId="303702250" sldId="585"/>
            <ac:spMk id="61" creationId="{0C14C63A-71D4-4237-9274-C71835823128}"/>
          </ac:spMkLst>
        </pc:spChg>
        <pc:spChg chg="mod">
          <ac:chgData name="Guerrero Quiros, Jesus" userId="9d53007f-80b5-424a-baef-31d811de0396" providerId="ADAL" clId="{AC0C42EC-1194-45C5-866F-783949D593DB}" dt="2024-10-11T10:03:26.060" v="722" actId="1035"/>
          <ac:spMkLst>
            <pc:docMk/>
            <pc:sldMk cId="303702250" sldId="585"/>
            <ac:spMk id="62" creationId="{D0881D42-93BB-461A-880A-F0F65951678D}"/>
          </ac:spMkLst>
        </pc:spChg>
        <pc:cxnChg chg="mod">
          <ac:chgData name="Guerrero Quiros, Jesus" userId="9d53007f-80b5-424a-baef-31d811de0396" providerId="ADAL" clId="{AC0C42EC-1194-45C5-866F-783949D593DB}" dt="2024-11-09T22:59:09.963" v="8245" actId="14100"/>
          <ac:cxnSpMkLst>
            <pc:docMk/>
            <pc:sldMk cId="303702250" sldId="585"/>
            <ac:cxnSpMk id="65" creationId="{F90731D5-0835-405A-ADE2-B25ABDDA26B5}"/>
          </ac:cxnSpMkLst>
        </pc:cxnChg>
        <pc:cxnChg chg="mod">
          <ac:chgData name="Guerrero Quiros, Jesus" userId="9d53007f-80b5-424a-baef-31d811de0396" providerId="ADAL" clId="{AC0C42EC-1194-45C5-866F-783949D593DB}" dt="2024-10-11T10:03:26.060" v="722" actId="1035"/>
          <ac:cxnSpMkLst>
            <pc:docMk/>
            <pc:sldMk cId="303702250" sldId="585"/>
            <ac:cxnSpMk id="67" creationId="{FE885526-DF2C-4841-9518-DCB2F15150CB}"/>
          </ac:cxnSpMkLst>
        </pc:cxnChg>
        <pc:cxnChg chg="mod">
          <ac:chgData name="Guerrero Quiros, Jesus" userId="9d53007f-80b5-424a-baef-31d811de0396" providerId="ADAL" clId="{AC0C42EC-1194-45C5-866F-783949D593DB}" dt="2024-10-11T10:06:10.809" v="724" actId="14100"/>
          <ac:cxnSpMkLst>
            <pc:docMk/>
            <pc:sldMk cId="303702250" sldId="585"/>
            <ac:cxnSpMk id="69" creationId="{112754A9-5548-4633-B766-32C3243E61DE}"/>
          </ac:cxnSpMkLst>
        </pc:cxnChg>
        <pc:cxnChg chg="mod">
          <ac:chgData name="Guerrero Quiros, Jesus" userId="9d53007f-80b5-424a-baef-31d811de0396" providerId="ADAL" clId="{AC0C42EC-1194-45C5-866F-783949D593DB}" dt="2024-10-11T10:03:26.060" v="722" actId="1035"/>
          <ac:cxnSpMkLst>
            <pc:docMk/>
            <pc:sldMk cId="303702250" sldId="585"/>
            <ac:cxnSpMk id="71" creationId="{1521D2BE-37DB-4E5D-A41E-BB3DB8AF1E6A}"/>
          </ac:cxnSpMkLst>
        </pc:cxnChg>
      </pc:sldChg>
      <pc:sldChg chg="addSp delSp modSp mod">
        <pc:chgData name="Guerrero Quiros, Jesus" userId="9d53007f-80b5-424a-baef-31d811de0396" providerId="ADAL" clId="{AC0C42EC-1194-45C5-866F-783949D593DB}" dt="2024-10-11T12:10:04.332" v="1238" actId="14100"/>
        <pc:sldMkLst>
          <pc:docMk/>
          <pc:sldMk cId="2895430981" sldId="599"/>
        </pc:sldMkLst>
        <pc:spChg chg="add mod">
          <ac:chgData name="Guerrero Quiros, Jesus" userId="9d53007f-80b5-424a-baef-31d811de0396" providerId="ADAL" clId="{AC0C42EC-1194-45C5-866F-783949D593DB}" dt="2024-10-11T10:23:48.149" v="727"/>
          <ac:spMkLst>
            <pc:docMk/>
            <pc:sldMk cId="2895430981" sldId="599"/>
            <ac:spMk id="3" creationId="{D4D4739D-7C8A-A2AC-32D6-64BC5C0ABD4D}"/>
          </ac:spMkLst>
        </pc:spChg>
        <pc:spChg chg="add mod">
          <ac:chgData name="Guerrero Quiros, Jesus" userId="9d53007f-80b5-424a-baef-31d811de0396" providerId="ADAL" clId="{AC0C42EC-1194-45C5-866F-783949D593DB}" dt="2024-10-11T12:10:04.332" v="1238" actId="14100"/>
          <ac:spMkLst>
            <pc:docMk/>
            <pc:sldMk cId="2895430981" sldId="599"/>
            <ac:spMk id="4" creationId="{7CF37005-07C1-1AE8-7410-D3602D873063}"/>
          </ac:spMkLst>
        </pc:spChg>
        <pc:spChg chg="add mod">
          <ac:chgData name="Guerrero Quiros, Jesus" userId="9d53007f-80b5-424a-baef-31d811de0396" providerId="ADAL" clId="{AC0C42EC-1194-45C5-866F-783949D593DB}" dt="2024-10-11T12:05:34.005" v="1234" actId="1038"/>
          <ac:spMkLst>
            <pc:docMk/>
            <pc:sldMk cId="2895430981" sldId="599"/>
            <ac:spMk id="5" creationId="{2E5BE08C-21DB-4B96-FB3B-43B84A095063}"/>
          </ac:spMkLst>
        </pc:spChg>
        <pc:spChg chg="add mod topLvl">
          <ac:chgData name="Guerrero Quiros, Jesus" userId="9d53007f-80b5-424a-baef-31d811de0396" providerId="ADAL" clId="{AC0C42EC-1194-45C5-866F-783949D593DB}" dt="2024-10-11T12:05:34.005" v="1234" actId="1038"/>
          <ac:spMkLst>
            <pc:docMk/>
            <pc:sldMk cId="2895430981" sldId="599"/>
            <ac:spMk id="7" creationId="{85A24CA8-5A80-80E6-9350-11D592DE9D90}"/>
          </ac:spMkLst>
        </pc:spChg>
        <pc:spChg chg="add mod topLvl">
          <ac:chgData name="Guerrero Quiros, Jesus" userId="9d53007f-80b5-424a-baef-31d811de0396" providerId="ADAL" clId="{AC0C42EC-1194-45C5-866F-783949D593DB}" dt="2024-10-11T12:05:34.005" v="1234" actId="1038"/>
          <ac:spMkLst>
            <pc:docMk/>
            <pc:sldMk cId="2895430981" sldId="599"/>
            <ac:spMk id="8" creationId="{7D15A6E7-9D83-76AE-F758-FB1ED8472FC2}"/>
          </ac:spMkLst>
        </pc:spChg>
        <pc:spChg chg="add mod topLvl">
          <ac:chgData name="Guerrero Quiros, Jesus" userId="9d53007f-80b5-424a-baef-31d811de0396" providerId="ADAL" clId="{AC0C42EC-1194-45C5-866F-783949D593DB}" dt="2024-10-11T12:05:34.005" v="1234" actId="1038"/>
          <ac:spMkLst>
            <pc:docMk/>
            <pc:sldMk cId="2895430981" sldId="599"/>
            <ac:spMk id="9" creationId="{DF592292-DC41-CCDB-6363-5B5645293460}"/>
          </ac:spMkLst>
        </pc:spChg>
        <pc:spChg chg="add mod topLvl">
          <ac:chgData name="Guerrero Quiros, Jesus" userId="9d53007f-80b5-424a-baef-31d811de0396" providerId="ADAL" clId="{AC0C42EC-1194-45C5-866F-783949D593DB}" dt="2024-10-11T12:05:34.005" v="1234" actId="1038"/>
          <ac:spMkLst>
            <pc:docMk/>
            <pc:sldMk cId="2895430981" sldId="599"/>
            <ac:spMk id="10" creationId="{59A92CE8-DDFB-7C9E-3AAA-62E293B92A31}"/>
          </ac:spMkLst>
        </pc:spChg>
        <pc:spChg chg="add mod topLvl">
          <ac:chgData name="Guerrero Quiros, Jesus" userId="9d53007f-80b5-424a-baef-31d811de0396" providerId="ADAL" clId="{AC0C42EC-1194-45C5-866F-783949D593DB}" dt="2024-10-11T12:05:34.005" v="1234" actId="1038"/>
          <ac:spMkLst>
            <pc:docMk/>
            <pc:sldMk cId="2895430981" sldId="599"/>
            <ac:spMk id="11" creationId="{6651E777-74AA-2851-C329-FC45CD0BAED3}"/>
          </ac:spMkLst>
        </pc:spChg>
        <pc:spChg chg="add mod topLvl">
          <ac:chgData name="Guerrero Quiros, Jesus" userId="9d53007f-80b5-424a-baef-31d811de0396" providerId="ADAL" clId="{AC0C42EC-1194-45C5-866F-783949D593DB}" dt="2024-10-11T12:05:36.657" v="1236" actId="1037"/>
          <ac:spMkLst>
            <pc:docMk/>
            <pc:sldMk cId="2895430981" sldId="599"/>
            <ac:spMk id="12" creationId="{D02D5118-49E8-CD9D-B695-80E78E169A84}"/>
          </ac:spMkLst>
        </pc:spChg>
        <pc:spChg chg="mod topLvl">
          <ac:chgData name="Guerrero Quiros, Jesus" userId="9d53007f-80b5-424a-baef-31d811de0396" providerId="ADAL" clId="{AC0C42EC-1194-45C5-866F-783949D593DB}" dt="2024-10-11T12:05:34.005" v="1234" actId="1038"/>
          <ac:spMkLst>
            <pc:docMk/>
            <pc:sldMk cId="2895430981" sldId="599"/>
            <ac:spMk id="16" creationId="{F97B3F54-762D-BF6B-6C6F-5D7132F8BB97}"/>
          </ac:spMkLst>
        </pc:spChg>
        <pc:spChg chg="mod topLvl">
          <ac:chgData name="Guerrero Quiros, Jesus" userId="9d53007f-80b5-424a-baef-31d811de0396" providerId="ADAL" clId="{AC0C42EC-1194-45C5-866F-783949D593DB}" dt="2024-10-11T12:05:34.005" v="1234" actId="1038"/>
          <ac:spMkLst>
            <pc:docMk/>
            <pc:sldMk cId="2895430981" sldId="599"/>
            <ac:spMk id="17" creationId="{60B663CD-A4F0-B9EA-9C11-B0F7736439C4}"/>
          </ac:spMkLst>
        </pc:spChg>
        <pc:spChg chg="mod topLvl">
          <ac:chgData name="Guerrero Quiros, Jesus" userId="9d53007f-80b5-424a-baef-31d811de0396" providerId="ADAL" clId="{AC0C42EC-1194-45C5-866F-783949D593DB}" dt="2024-10-11T12:05:34.005" v="1234" actId="1038"/>
          <ac:spMkLst>
            <pc:docMk/>
            <pc:sldMk cId="2895430981" sldId="599"/>
            <ac:spMk id="18" creationId="{C3426B9F-DE6B-7A67-637F-4BDFA096EA8E}"/>
          </ac:spMkLst>
        </pc:spChg>
        <pc:spChg chg="mod topLvl">
          <ac:chgData name="Guerrero Quiros, Jesus" userId="9d53007f-80b5-424a-baef-31d811de0396" providerId="ADAL" clId="{AC0C42EC-1194-45C5-866F-783949D593DB}" dt="2024-10-11T12:05:34.005" v="1234" actId="1038"/>
          <ac:spMkLst>
            <pc:docMk/>
            <pc:sldMk cId="2895430981" sldId="599"/>
            <ac:spMk id="19" creationId="{48D5C28D-47C6-2F3A-6345-00D638D434FE}"/>
          </ac:spMkLst>
        </pc:spChg>
        <pc:spChg chg="mod topLvl">
          <ac:chgData name="Guerrero Quiros, Jesus" userId="9d53007f-80b5-424a-baef-31d811de0396" providerId="ADAL" clId="{AC0C42EC-1194-45C5-866F-783949D593DB}" dt="2024-10-11T12:05:34.005" v="1234" actId="1038"/>
          <ac:spMkLst>
            <pc:docMk/>
            <pc:sldMk cId="2895430981" sldId="599"/>
            <ac:spMk id="20" creationId="{F6122E61-C346-7791-A04E-DCF539897581}"/>
          </ac:spMkLst>
        </pc:spChg>
        <pc:spChg chg="mod topLvl">
          <ac:chgData name="Guerrero Quiros, Jesus" userId="9d53007f-80b5-424a-baef-31d811de0396" providerId="ADAL" clId="{AC0C42EC-1194-45C5-866F-783949D593DB}" dt="2024-10-11T12:05:34.005" v="1234" actId="1038"/>
          <ac:spMkLst>
            <pc:docMk/>
            <pc:sldMk cId="2895430981" sldId="599"/>
            <ac:spMk id="21" creationId="{E0017580-9540-BF8D-1614-37F50CBBD822}"/>
          </ac:spMkLst>
        </pc:spChg>
      </pc:sldChg>
      <pc:sldChg chg="addSp modSp mod">
        <pc:chgData name="Guerrero Quiros, Jesus" userId="9d53007f-80b5-424a-baef-31d811de0396" providerId="ADAL" clId="{AC0C42EC-1194-45C5-866F-783949D593DB}" dt="2024-11-09T23:51:44.231" v="11281" actId="208"/>
        <pc:sldMkLst>
          <pc:docMk/>
          <pc:sldMk cId="2649780473" sldId="600"/>
        </pc:sldMkLst>
        <pc:spChg chg="add mod">
          <ac:chgData name="Guerrero Quiros, Jesus" userId="9d53007f-80b5-424a-baef-31d811de0396" providerId="ADAL" clId="{AC0C42EC-1194-45C5-866F-783949D593DB}" dt="2024-10-14T06:57:04.869" v="1286" actId="14100"/>
          <ac:spMkLst>
            <pc:docMk/>
            <pc:sldMk cId="2649780473" sldId="600"/>
            <ac:spMk id="4" creationId="{22716E5E-D5A1-9165-1AE5-232B71F9C745}"/>
          </ac:spMkLst>
        </pc:spChg>
        <pc:spChg chg="mod">
          <ac:chgData name="Guerrero Quiros, Jesus" userId="9d53007f-80b5-424a-baef-31d811de0396" providerId="ADAL" clId="{AC0C42EC-1194-45C5-866F-783949D593DB}" dt="2024-10-14T07:09:17.136" v="1416" actId="20577"/>
          <ac:spMkLst>
            <pc:docMk/>
            <pc:sldMk cId="2649780473" sldId="600"/>
            <ac:spMk id="8" creationId="{00000000-0000-0000-0000-000000000000}"/>
          </ac:spMkLst>
        </pc:spChg>
        <pc:graphicFrameChg chg="mod modGraphic">
          <ac:chgData name="Guerrero Quiros, Jesus" userId="9d53007f-80b5-424a-baef-31d811de0396" providerId="ADAL" clId="{AC0C42EC-1194-45C5-866F-783949D593DB}" dt="2024-11-09T23:51:44.231" v="11281" actId="208"/>
          <ac:graphicFrameMkLst>
            <pc:docMk/>
            <pc:sldMk cId="2649780473" sldId="600"/>
            <ac:graphicFrameMk id="3" creationId="{8E86080F-FCE7-9AA1-9E26-B27B2EBC5987}"/>
          </ac:graphicFrameMkLst>
        </pc:graphicFrameChg>
      </pc:sldChg>
      <pc:sldChg chg="addSp modSp mod">
        <pc:chgData name="Guerrero Quiros, Jesus" userId="9d53007f-80b5-424a-baef-31d811de0396" providerId="ADAL" clId="{AC0C42EC-1194-45C5-866F-783949D593DB}" dt="2024-11-09T23:52:08.162" v="11283" actId="207"/>
        <pc:sldMkLst>
          <pc:docMk/>
          <pc:sldMk cId="2049436173" sldId="618"/>
        </pc:sldMkLst>
        <pc:spChg chg="add mod">
          <ac:chgData name="Guerrero Quiros, Jesus" userId="9d53007f-80b5-424a-baef-31d811de0396" providerId="ADAL" clId="{AC0C42EC-1194-45C5-866F-783949D593DB}" dt="2024-10-25T09:44:39.703" v="1503" actId="14100"/>
          <ac:spMkLst>
            <pc:docMk/>
            <pc:sldMk cId="2049436173" sldId="618"/>
            <ac:spMk id="4" creationId="{594E175A-825A-DCA5-08D0-396897F4587E}"/>
          </ac:spMkLst>
        </pc:spChg>
        <pc:spChg chg="mod">
          <ac:chgData name="Guerrero Quiros, Jesus" userId="9d53007f-80b5-424a-baef-31d811de0396" providerId="ADAL" clId="{AC0C42EC-1194-45C5-866F-783949D593DB}" dt="2024-10-25T10:07:05.008" v="1551" actId="20577"/>
          <ac:spMkLst>
            <pc:docMk/>
            <pc:sldMk cId="2049436173" sldId="618"/>
            <ac:spMk id="8" creationId="{00000000-0000-0000-0000-000000000000}"/>
          </ac:spMkLst>
        </pc:spChg>
        <pc:graphicFrameChg chg="mod modGraphic">
          <ac:chgData name="Guerrero Quiros, Jesus" userId="9d53007f-80b5-424a-baef-31d811de0396" providerId="ADAL" clId="{AC0C42EC-1194-45C5-866F-783949D593DB}" dt="2024-11-09T23:52:08.162" v="11283" actId="207"/>
          <ac:graphicFrameMkLst>
            <pc:docMk/>
            <pc:sldMk cId="2049436173" sldId="618"/>
            <ac:graphicFrameMk id="3" creationId="{3EBA6F98-A42A-74AF-DE06-BD99E5233283}"/>
          </ac:graphicFrameMkLst>
        </pc:graphicFrameChg>
      </pc:sldChg>
      <pc:sldChg chg="addSp modSp mod">
        <pc:chgData name="Guerrero Quiros, Jesus" userId="9d53007f-80b5-424a-baef-31d811de0396" providerId="ADAL" clId="{AC0C42EC-1194-45C5-866F-783949D593DB}" dt="2024-11-09T23:52:42.476" v="11288" actId="208"/>
        <pc:sldMkLst>
          <pc:docMk/>
          <pc:sldMk cId="8093521" sldId="619"/>
        </pc:sldMkLst>
        <pc:spChg chg="add mod">
          <ac:chgData name="Guerrero Quiros, Jesus" userId="9d53007f-80b5-424a-baef-31d811de0396" providerId="ADAL" clId="{AC0C42EC-1194-45C5-866F-783949D593DB}" dt="2024-10-25T10:29:28.082" v="1622" actId="20577"/>
          <ac:spMkLst>
            <pc:docMk/>
            <pc:sldMk cId="8093521" sldId="619"/>
            <ac:spMk id="4" creationId="{DAE21E3C-94E9-B05B-0A94-280158F61469}"/>
          </ac:spMkLst>
        </pc:spChg>
        <pc:spChg chg="mod">
          <ac:chgData name="Guerrero Quiros, Jesus" userId="9d53007f-80b5-424a-baef-31d811de0396" providerId="ADAL" clId="{AC0C42EC-1194-45C5-866F-783949D593DB}" dt="2024-10-25T10:30:25.196" v="1645" actId="1076"/>
          <ac:spMkLst>
            <pc:docMk/>
            <pc:sldMk cId="8093521" sldId="619"/>
            <ac:spMk id="8" creationId="{00000000-0000-0000-0000-000000000000}"/>
          </ac:spMkLst>
        </pc:spChg>
        <pc:graphicFrameChg chg="mod modGraphic">
          <ac:chgData name="Guerrero Quiros, Jesus" userId="9d53007f-80b5-424a-baef-31d811de0396" providerId="ADAL" clId="{AC0C42EC-1194-45C5-866F-783949D593DB}" dt="2024-11-09T23:52:42.476" v="11288" actId="208"/>
          <ac:graphicFrameMkLst>
            <pc:docMk/>
            <pc:sldMk cId="8093521" sldId="619"/>
            <ac:graphicFrameMk id="3" creationId="{86A0C01A-556F-88D3-D2E4-98EEADDA5C12}"/>
          </ac:graphicFrameMkLst>
        </pc:graphicFrameChg>
      </pc:sldChg>
      <pc:sldChg chg="addSp modSp del mod">
        <pc:chgData name="Guerrero Quiros, Jesus" userId="9d53007f-80b5-424a-baef-31d811de0396" providerId="ADAL" clId="{AC0C42EC-1194-45C5-866F-783949D593DB}" dt="2024-10-28T07:58:33.400" v="2034" actId="47"/>
        <pc:sldMkLst>
          <pc:docMk/>
          <pc:sldMk cId="1173352176" sldId="620"/>
        </pc:sldMkLst>
      </pc:sldChg>
      <pc:sldChg chg="addSp delSp modSp del mod">
        <pc:chgData name="Guerrero Quiros, Jesus" userId="9d53007f-80b5-424a-baef-31d811de0396" providerId="ADAL" clId="{AC0C42EC-1194-45C5-866F-783949D593DB}" dt="2024-11-08T16:45:16.835" v="2721" actId="47"/>
        <pc:sldMkLst>
          <pc:docMk/>
          <pc:sldMk cId="3201792029" sldId="621"/>
        </pc:sldMkLst>
      </pc:sldChg>
      <pc:sldChg chg="del">
        <pc:chgData name="Guerrero Quiros, Jesus" userId="9d53007f-80b5-424a-baef-31d811de0396" providerId="ADAL" clId="{AC0C42EC-1194-45C5-866F-783949D593DB}" dt="2024-11-08T17:39:07.967" v="4359" actId="47"/>
        <pc:sldMkLst>
          <pc:docMk/>
          <pc:sldMk cId="2827739247" sldId="622"/>
        </pc:sldMkLst>
      </pc:sldChg>
      <pc:sldChg chg="del">
        <pc:chgData name="Guerrero Quiros, Jesus" userId="9d53007f-80b5-424a-baef-31d811de0396" providerId="ADAL" clId="{AC0C42EC-1194-45C5-866F-783949D593DB}" dt="2024-11-09T11:34:33.539" v="5159" actId="47"/>
        <pc:sldMkLst>
          <pc:docMk/>
          <pc:sldMk cId="2897691459" sldId="623"/>
        </pc:sldMkLst>
      </pc:sldChg>
      <pc:sldChg chg="del">
        <pc:chgData name="Guerrero Quiros, Jesus" userId="9d53007f-80b5-424a-baef-31d811de0396" providerId="ADAL" clId="{AC0C42EC-1194-45C5-866F-783949D593DB}" dt="2024-11-09T21:32:23.718" v="5542" actId="47"/>
        <pc:sldMkLst>
          <pc:docMk/>
          <pc:sldMk cId="1640366717" sldId="624"/>
        </pc:sldMkLst>
      </pc:sldChg>
      <pc:sldChg chg="del">
        <pc:chgData name="Guerrero Quiros, Jesus" userId="9d53007f-80b5-424a-baef-31d811de0396" providerId="ADAL" clId="{AC0C42EC-1194-45C5-866F-783949D593DB}" dt="2024-11-09T22:22:16.258" v="6640" actId="47"/>
        <pc:sldMkLst>
          <pc:docMk/>
          <pc:sldMk cId="3853023264" sldId="625"/>
        </pc:sldMkLst>
      </pc:sldChg>
      <pc:sldChg chg="del">
        <pc:chgData name="Guerrero Quiros, Jesus" userId="9d53007f-80b5-424a-baef-31d811de0396" providerId="ADAL" clId="{AC0C42EC-1194-45C5-866F-783949D593DB}" dt="2024-11-09T22:55:58.392" v="8174" actId="47"/>
        <pc:sldMkLst>
          <pc:docMk/>
          <pc:sldMk cId="3891128358" sldId="626"/>
        </pc:sldMkLst>
      </pc:sldChg>
      <pc:sldChg chg="del">
        <pc:chgData name="Guerrero Quiros, Jesus" userId="9d53007f-80b5-424a-baef-31d811de0396" providerId="ADAL" clId="{AC0C42EC-1194-45C5-866F-783949D593DB}" dt="2024-11-09T22:55:59.273" v="8175" actId="47"/>
        <pc:sldMkLst>
          <pc:docMk/>
          <pc:sldMk cId="4217373706" sldId="629"/>
        </pc:sldMkLst>
      </pc:sldChg>
      <pc:sldChg chg="del">
        <pc:chgData name="Guerrero Quiros, Jesus" userId="9d53007f-80b5-424a-baef-31d811de0396" providerId="ADAL" clId="{AC0C42EC-1194-45C5-866F-783949D593DB}" dt="2024-11-10T12:41:36.137" v="12981" actId="47"/>
        <pc:sldMkLst>
          <pc:docMk/>
          <pc:sldMk cId="4224205231" sldId="630"/>
        </pc:sldMkLst>
      </pc:sldChg>
      <pc:sldChg chg="del">
        <pc:chgData name="Guerrero Quiros, Jesus" userId="9d53007f-80b5-424a-baef-31d811de0396" providerId="ADAL" clId="{AC0C42EC-1194-45C5-866F-783949D593DB}" dt="2024-11-10T12:41:37.488" v="12982" actId="47"/>
        <pc:sldMkLst>
          <pc:docMk/>
          <pc:sldMk cId="1005079796" sldId="631"/>
        </pc:sldMkLst>
      </pc:sldChg>
      <pc:sldChg chg="del">
        <pc:chgData name="Guerrero Quiros, Jesus" userId="9d53007f-80b5-424a-baef-31d811de0396" providerId="ADAL" clId="{AC0C42EC-1194-45C5-866F-783949D593DB}" dt="2024-11-10T13:03:52.794" v="13573" actId="47"/>
        <pc:sldMkLst>
          <pc:docMk/>
          <pc:sldMk cId="2185714842" sldId="632"/>
        </pc:sldMkLst>
      </pc:sldChg>
      <pc:sldChg chg="del">
        <pc:chgData name="Guerrero Quiros, Jesus" userId="9d53007f-80b5-424a-baef-31d811de0396" providerId="ADAL" clId="{AC0C42EC-1194-45C5-866F-783949D593DB}" dt="2024-11-10T13:03:58.527" v="13574" actId="47"/>
        <pc:sldMkLst>
          <pc:docMk/>
          <pc:sldMk cId="3820936496" sldId="633"/>
        </pc:sldMkLst>
      </pc:sldChg>
      <pc:sldChg chg="del">
        <pc:chgData name="Guerrero Quiros, Jesus" userId="9d53007f-80b5-424a-baef-31d811de0396" providerId="ADAL" clId="{AC0C42EC-1194-45C5-866F-783949D593DB}" dt="2024-11-10T15:13:55.162" v="14796" actId="47"/>
        <pc:sldMkLst>
          <pc:docMk/>
          <pc:sldMk cId="4237584382" sldId="634"/>
        </pc:sldMkLst>
      </pc:sldChg>
      <pc:sldChg chg="del">
        <pc:chgData name="Guerrero Quiros, Jesus" userId="9d53007f-80b5-424a-baef-31d811de0396" providerId="ADAL" clId="{AC0C42EC-1194-45C5-866F-783949D593DB}" dt="2024-11-10T15:39:11.011" v="15540" actId="47"/>
        <pc:sldMkLst>
          <pc:docMk/>
          <pc:sldMk cId="189996459" sldId="635"/>
        </pc:sldMkLst>
      </pc:sldChg>
      <pc:sldChg chg="del">
        <pc:chgData name="Guerrero Quiros, Jesus" userId="9d53007f-80b5-424a-baef-31d811de0396" providerId="ADAL" clId="{AC0C42EC-1194-45C5-866F-783949D593DB}" dt="2024-11-11T08:20:16.565" v="16139" actId="47"/>
        <pc:sldMkLst>
          <pc:docMk/>
          <pc:sldMk cId="4154907406" sldId="636"/>
        </pc:sldMkLst>
      </pc:sldChg>
      <pc:sldChg chg="addSp delSp modSp mod">
        <pc:chgData name="Guerrero Quiros, Jesus" userId="9d53007f-80b5-424a-baef-31d811de0396" providerId="ADAL" clId="{AC0C42EC-1194-45C5-866F-783949D593DB}" dt="2024-11-11T12:22:45.150" v="16817" actId="1076"/>
        <pc:sldMkLst>
          <pc:docMk/>
          <pc:sldMk cId="2608483034" sldId="637"/>
        </pc:sldMkLst>
        <pc:spChg chg="add mod">
          <ac:chgData name="Guerrero Quiros, Jesus" userId="9d53007f-80b5-424a-baef-31d811de0396" providerId="ADAL" clId="{AC0C42EC-1194-45C5-866F-783949D593DB}" dt="2024-11-11T08:21:26.236" v="16233" actId="14100"/>
          <ac:spMkLst>
            <pc:docMk/>
            <pc:sldMk cId="2608483034" sldId="637"/>
            <ac:spMk id="3" creationId="{5400941A-2631-8885-C9FB-AA233D75B9B5}"/>
          </ac:spMkLst>
        </pc:spChg>
        <pc:spChg chg="add mod">
          <ac:chgData name="Guerrero Quiros, Jesus" userId="9d53007f-80b5-424a-baef-31d811de0396" providerId="ADAL" clId="{AC0C42EC-1194-45C5-866F-783949D593DB}" dt="2024-11-11T12:22:19.466" v="16810" actId="255"/>
          <ac:spMkLst>
            <pc:docMk/>
            <pc:sldMk cId="2608483034" sldId="637"/>
            <ac:spMk id="4" creationId="{B762E1B1-C93C-C567-FBA5-BDCE9EB3868F}"/>
          </ac:spMkLst>
        </pc:spChg>
        <pc:spChg chg="mod">
          <ac:chgData name="Guerrero Quiros, Jesus" userId="9d53007f-80b5-424a-baef-31d811de0396" providerId="ADAL" clId="{AC0C42EC-1194-45C5-866F-783949D593DB}" dt="2024-11-11T12:22:39.452" v="16815" actId="1076"/>
          <ac:spMkLst>
            <pc:docMk/>
            <pc:sldMk cId="2608483034" sldId="637"/>
            <ac:spMk id="10" creationId="{39C000CC-D701-4F2F-A512-0A9AA93CCD5D}"/>
          </ac:spMkLst>
        </pc:spChg>
        <pc:spChg chg="mod">
          <ac:chgData name="Guerrero Quiros, Jesus" userId="9d53007f-80b5-424a-baef-31d811de0396" providerId="ADAL" clId="{AC0C42EC-1194-45C5-866F-783949D593DB}" dt="2024-11-11T12:22:41.924" v="16816" actId="1076"/>
          <ac:spMkLst>
            <pc:docMk/>
            <pc:sldMk cId="2608483034" sldId="637"/>
            <ac:spMk id="14" creationId="{E3965EC9-B323-4F53-BF58-8F0D30E682C8}"/>
          </ac:spMkLst>
        </pc:spChg>
        <pc:spChg chg="mod">
          <ac:chgData name="Guerrero Quiros, Jesus" userId="9d53007f-80b5-424a-baef-31d811de0396" providerId="ADAL" clId="{AC0C42EC-1194-45C5-866F-783949D593DB}" dt="2024-11-11T12:22:45.150" v="16817" actId="1076"/>
          <ac:spMkLst>
            <pc:docMk/>
            <pc:sldMk cId="2608483034" sldId="637"/>
            <ac:spMk id="20" creationId="{05B032FF-3E75-4597-B31E-0746071ABF0D}"/>
          </ac:spMkLst>
        </pc:spChg>
      </pc:sldChg>
      <pc:sldChg chg="del">
        <pc:chgData name="Guerrero Quiros, Jesus" userId="9d53007f-80b5-424a-baef-31d811de0396" providerId="ADAL" clId="{AC0C42EC-1194-45C5-866F-783949D593DB}" dt="2024-11-11T12:23:00.003" v="16818" actId="47"/>
        <pc:sldMkLst>
          <pc:docMk/>
          <pc:sldMk cId="3406015192" sldId="638"/>
        </pc:sldMkLst>
      </pc:sldChg>
      <pc:sldChg chg="del">
        <pc:chgData name="Guerrero Quiros, Jesus" userId="9d53007f-80b5-424a-baef-31d811de0396" providerId="ADAL" clId="{AC0C42EC-1194-45C5-866F-783949D593DB}" dt="2024-11-11T12:15:34.939" v="16736" actId="47"/>
        <pc:sldMkLst>
          <pc:docMk/>
          <pc:sldMk cId="3710056874" sldId="639"/>
        </pc:sldMkLst>
      </pc:sldChg>
      <pc:sldChg chg="del">
        <pc:chgData name="Guerrero Quiros, Jesus" userId="9d53007f-80b5-424a-baef-31d811de0396" providerId="ADAL" clId="{AC0C42EC-1194-45C5-866F-783949D593DB}" dt="2024-11-08T17:03:20.965" v="3426" actId="47"/>
        <pc:sldMkLst>
          <pc:docMk/>
          <pc:sldMk cId="2518957465" sldId="641"/>
        </pc:sldMkLst>
      </pc:sldChg>
      <pc:sldChg chg="del">
        <pc:chgData name="Guerrero Quiros, Jesus" userId="9d53007f-80b5-424a-baef-31d811de0396" providerId="ADAL" clId="{AC0C42EC-1194-45C5-866F-783949D593DB}" dt="2024-11-09T21:49:44.062" v="5610" actId="47"/>
        <pc:sldMkLst>
          <pc:docMk/>
          <pc:sldMk cId="2281041948" sldId="668"/>
        </pc:sldMkLst>
      </pc:sldChg>
      <pc:sldChg chg="del">
        <pc:chgData name="Guerrero Quiros, Jesus" userId="9d53007f-80b5-424a-baef-31d811de0396" providerId="ADAL" clId="{AC0C42EC-1194-45C5-866F-783949D593DB}" dt="2024-11-09T22:56:00.923" v="8176" actId="47"/>
        <pc:sldMkLst>
          <pc:docMk/>
          <pc:sldMk cId="653096178" sldId="669"/>
        </pc:sldMkLst>
      </pc:sldChg>
      <pc:sldChg chg="del">
        <pc:chgData name="Guerrero Quiros, Jesus" userId="9d53007f-80b5-424a-baef-31d811de0396" providerId="ADAL" clId="{AC0C42EC-1194-45C5-866F-783949D593DB}" dt="2024-11-10T15:59:51.186" v="15796" actId="47"/>
        <pc:sldMkLst>
          <pc:docMk/>
          <pc:sldMk cId="3301601497" sldId="670"/>
        </pc:sldMkLst>
      </pc:sldChg>
      <pc:sldChg chg="new del">
        <pc:chgData name="Guerrero Quiros, Jesus" userId="9d53007f-80b5-424a-baef-31d811de0396" providerId="ADAL" clId="{AC0C42EC-1194-45C5-866F-783949D593DB}" dt="2024-10-11T08:11:11.578" v="55" actId="47"/>
        <pc:sldMkLst>
          <pc:docMk/>
          <pc:sldMk cId="3996827688" sldId="672"/>
        </pc:sldMkLst>
      </pc:sldChg>
      <pc:sldChg chg="addSp delSp modSp add mod">
        <pc:chgData name="Guerrero Quiros, Jesus" userId="9d53007f-80b5-424a-baef-31d811de0396" providerId="ADAL" clId="{AC0C42EC-1194-45C5-866F-783949D593DB}" dt="2024-10-11T09:58:06.509" v="614" actId="167"/>
        <pc:sldMkLst>
          <pc:docMk/>
          <pc:sldMk cId="4237630713" sldId="672"/>
        </pc:sldMkLst>
        <pc:spChg chg="mod">
          <ac:chgData name="Guerrero Quiros, Jesus" userId="9d53007f-80b5-424a-baef-31d811de0396" providerId="ADAL" clId="{AC0C42EC-1194-45C5-866F-783949D593DB}" dt="2024-10-11T08:11:29.307" v="91" actId="20577"/>
          <ac:spMkLst>
            <pc:docMk/>
            <pc:sldMk cId="4237630713" sldId="672"/>
            <ac:spMk id="2" creationId="{00000000-0000-0000-0000-000000000000}"/>
          </ac:spMkLst>
        </pc:spChg>
        <pc:spChg chg="add mod ord">
          <ac:chgData name="Guerrero Quiros, Jesus" userId="9d53007f-80b5-424a-baef-31d811de0396" providerId="ADAL" clId="{AC0C42EC-1194-45C5-866F-783949D593DB}" dt="2024-10-11T09:49:08.609" v="339" actId="166"/>
          <ac:spMkLst>
            <pc:docMk/>
            <pc:sldMk cId="4237630713" sldId="672"/>
            <ac:spMk id="3" creationId="{BD62F9AB-61EA-BFD9-9B3B-5CC6D742B44B}"/>
          </ac:spMkLst>
        </pc:spChg>
        <pc:spChg chg="add mod">
          <ac:chgData name="Guerrero Quiros, Jesus" userId="9d53007f-80b5-424a-baef-31d811de0396" providerId="ADAL" clId="{AC0C42EC-1194-45C5-866F-783949D593DB}" dt="2024-10-11T09:47:48.906" v="314" actId="14100"/>
          <ac:spMkLst>
            <pc:docMk/>
            <pc:sldMk cId="4237630713" sldId="672"/>
            <ac:spMk id="4" creationId="{4E1E5335-73F1-3905-5825-92E06A1F2D35}"/>
          </ac:spMkLst>
        </pc:spChg>
        <pc:spChg chg="add mod">
          <ac:chgData name="Guerrero Quiros, Jesus" userId="9d53007f-80b5-424a-baef-31d811de0396" providerId="ADAL" clId="{AC0C42EC-1194-45C5-866F-783949D593DB}" dt="2024-10-11T09:47:55.301" v="320" actId="14100"/>
          <ac:spMkLst>
            <pc:docMk/>
            <pc:sldMk cId="4237630713" sldId="672"/>
            <ac:spMk id="7" creationId="{DCA2725D-D496-4FA9-3932-E3592EFC0034}"/>
          </ac:spMkLst>
        </pc:spChg>
        <pc:spChg chg="add mod">
          <ac:chgData name="Guerrero Quiros, Jesus" userId="9d53007f-80b5-424a-baef-31d811de0396" providerId="ADAL" clId="{AC0C42EC-1194-45C5-866F-783949D593DB}" dt="2024-10-11T09:48:05.399" v="323" actId="1076"/>
          <ac:spMkLst>
            <pc:docMk/>
            <pc:sldMk cId="4237630713" sldId="672"/>
            <ac:spMk id="8" creationId="{68F4AFBF-5890-894B-30E9-3B25703D07D2}"/>
          </ac:spMkLst>
        </pc:spChg>
        <pc:spChg chg="add mod">
          <ac:chgData name="Guerrero Quiros, Jesus" userId="9d53007f-80b5-424a-baef-31d811de0396" providerId="ADAL" clId="{AC0C42EC-1194-45C5-866F-783949D593DB}" dt="2024-10-11T09:56:30.129" v="539" actId="14100"/>
          <ac:spMkLst>
            <pc:docMk/>
            <pc:sldMk cId="4237630713" sldId="672"/>
            <ac:spMk id="17" creationId="{A7A78B9A-8F26-A50C-0946-D46E715C9AAD}"/>
          </ac:spMkLst>
        </pc:spChg>
        <pc:spChg chg="add mod">
          <ac:chgData name="Guerrero Quiros, Jesus" userId="9d53007f-80b5-424a-baef-31d811de0396" providerId="ADAL" clId="{AC0C42EC-1194-45C5-866F-783949D593DB}" dt="2024-10-11T09:53:14.361" v="499" actId="120"/>
          <ac:spMkLst>
            <pc:docMk/>
            <pc:sldMk cId="4237630713" sldId="672"/>
            <ac:spMk id="18" creationId="{E12A2BB3-2763-C39A-8EE5-44D30D3D95B3}"/>
          </ac:spMkLst>
        </pc:spChg>
        <pc:spChg chg="add mod">
          <ac:chgData name="Guerrero Quiros, Jesus" userId="9d53007f-80b5-424a-baef-31d811de0396" providerId="ADAL" clId="{AC0C42EC-1194-45C5-866F-783949D593DB}" dt="2024-10-11T09:56:32.610" v="540" actId="14100"/>
          <ac:spMkLst>
            <pc:docMk/>
            <pc:sldMk cId="4237630713" sldId="672"/>
            <ac:spMk id="19" creationId="{2FD921E3-0A81-61F8-020C-E44280FDB9F5}"/>
          </ac:spMkLst>
        </pc:spChg>
        <pc:spChg chg="add mod">
          <ac:chgData name="Guerrero Quiros, Jesus" userId="9d53007f-80b5-424a-baef-31d811de0396" providerId="ADAL" clId="{AC0C42EC-1194-45C5-866F-783949D593DB}" dt="2024-10-11T09:51:01.483" v="394" actId="14100"/>
          <ac:spMkLst>
            <pc:docMk/>
            <pc:sldMk cId="4237630713" sldId="672"/>
            <ac:spMk id="22" creationId="{B460105E-2692-65EB-FFBA-E34EC662EEDA}"/>
          </ac:spMkLst>
        </pc:spChg>
        <pc:spChg chg="add mod">
          <ac:chgData name="Guerrero Quiros, Jesus" userId="9d53007f-80b5-424a-baef-31d811de0396" providerId="ADAL" clId="{AC0C42EC-1194-45C5-866F-783949D593DB}" dt="2024-10-11T09:58:00.330" v="613" actId="1076"/>
          <ac:spMkLst>
            <pc:docMk/>
            <pc:sldMk cId="4237630713" sldId="672"/>
            <ac:spMk id="30" creationId="{158AE9CB-5E67-CC5A-5CFA-8089A463F22E}"/>
          </ac:spMkLst>
        </pc:spChg>
        <pc:spChg chg="add mod ord">
          <ac:chgData name="Guerrero Quiros, Jesus" userId="9d53007f-80b5-424a-baef-31d811de0396" providerId="ADAL" clId="{AC0C42EC-1194-45C5-866F-783949D593DB}" dt="2024-10-11T09:58:06.509" v="614" actId="167"/>
          <ac:spMkLst>
            <pc:docMk/>
            <pc:sldMk cId="4237630713" sldId="672"/>
            <ac:spMk id="32" creationId="{BDF62899-C1BE-17F4-1FC8-D2719B0B8DF7}"/>
          </ac:spMkLst>
        </pc:spChg>
        <pc:cxnChg chg="add mod">
          <ac:chgData name="Guerrero Quiros, Jesus" userId="9d53007f-80b5-424a-baef-31d811de0396" providerId="ADAL" clId="{AC0C42EC-1194-45C5-866F-783949D593DB}" dt="2024-10-11T09:49:02.831" v="338" actId="14100"/>
          <ac:cxnSpMkLst>
            <pc:docMk/>
            <pc:sldMk cId="4237630713" sldId="672"/>
            <ac:cxnSpMk id="10" creationId="{9DA2F590-EDB0-F307-6985-878C7D655062}"/>
          </ac:cxnSpMkLst>
        </pc:cxnChg>
        <pc:cxnChg chg="add mod">
          <ac:chgData name="Guerrero Quiros, Jesus" userId="9d53007f-80b5-424a-baef-31d811de0396" providerId="ADAL" clId="{AC0C42EC-1194-45C5-866F-783949D593DB}" dt="2024-10-11T09:49:29.352" v="349" actId="692"/>
          <ac:cxnSpMkLst>
            <pc:docMk/>
            <pc:sldMk cId="4237630713" sldId="672"/>
            <ac:cxnSpMk id="14" creationId="{F980479C-CE03-649E-F12A-FD234788C1F2}"/>
          </ac:cxnSpMkLst>
        </pc:cxnChg>
        <pc:cxnChg chg="add mod">
          <ac:chgData name="Guerrero Quiros, Jesus" userId="9d53007f-80b5-424a-baef-31d811de0396" providerId="ADAL" clId="{AC0C42EC-1194-45C5-866F-783949D593DB}" dt="2024-10-11T09:49:40.868" v="351" actId="1076"/>
          <ac:cxnSpMkLst>
            <pc:docMk/>
            <pc:sldMk cId="4237630713" sldId="672"/>
            <ac:cxnSpMk id="16" creationId="{010B2AC5-69C8-E345-30F1-7FCBDCD313D7}"/>
          </ac:cxnSpMkLst>
        </pc:cxnChg>
        <pc:cxnChg chg="add mod">
          <ac:chgData name="Guerrero Quiros, Jesus" userId="9d53007f-80b5-424a-baef-31d811de0396" providerId="ADAL" clId="{AC0C42EC-1194-45C5-866F-783949D593DB}" dt="2024-10-11T09:57:14.089" v="593" actId="14100"/>
          <ac:cxnSpMkLst>
            <pc:docMk/>
            <pc:sldMk cId="4237630713" sldId="672"/>
            <ac:cxnSpMk id="20" creationId="{5AD38BDE-2E1A-77DF-B376-C6B1BFECDE73}"/>
          </ac:cxnSpMkLst>
        </pc:cxnChg>
        <pc:cxnChg chg="add mod">
          <ac:chgData name="Guerrero Quiros, Jesus" userId="9d53007f-80b5-424a-baef-31d811de0396" providerId="ADAL" clId="{AC0C42EC-1194-45C5-866F-783949D593DB}" dt="2024-10-11T09:52:55.713" v="496" actId="1076"/>
          <ac:cxnSpMkLst>
            <pc:docMk/>
            <pc:sldMk cId="4237630713" sldId="672"/>
            <ac:cxnSpMk id="23" creationId="{BCC51F10-11CD-2AB8-98EB-A3AA0E9243D5}"/>
          </ac:cxnSpMkLst>
        </pc:cxnChg>
        <pc:cxnChg chg="add mod">
          <ac:chgData name="Guerrero Quiros, Jesus" userId="9d53007f-80b5-424a-baef-31d811de0396" providerId="ADAL" clId="{AC0C42EC-1194-45C5-866F-783949D593DB}" dt="2024-10-11T09:50:40.628" v="353" actId="1076"/>
          <ac:cxnSpMkLst>
            <pc:docMk/>
            <pc:sldMk cId="4237630713" sldId="672"/>
            <ac:cxnSpMk id="24" creationId="{FA4CC813-AB19-16DA-80B4-8A485BD7B90B}"/>
          </ac:cxnSpMkLst>
        </pc:cxnChg>
        <pc:cxnChg chg="add mod">
          <ac:chgData name="Guerrero Quiros, Jesus" userId="9d53007f-80b5-424a-baef-31d811de0396" providerId="ADAL" clId="{AC0C42EC-1194-45C5-866F-783949D593DB}" dt="2024-10-11T09:57:22.720" v="601" actId="1036"/>
          <ac:cxnSpMkLst>
            <pc:docMk/>
            <pc:sldMk cId="4237630713" sldId="672"/>
            <ac:cxnSpMk id="34" creationId="{59421078-AF1E-83E7-E7E7-267B78BC2B24}"/>
          </ac:cxnSpMkLst>
        </pc:cxnChg>
        <pc:cxnChg chg="add mod">
          <ac:chgData name="Guerrero Quiros, Jesus" userId="9d53007f-80b5-424a-baef-31d811de0396" providerId="ADAL" clId="{AC0C42EC-1194-45C5-866F-783949D593DB}" dt="2024-10-11T09:57:42.443" v="612" actId="1037"/>
          <ac:cxnSpMkLst>
            <pc:docMk/>
            <pc:sldMk cId="4237630713" sldId="672"/>
            <ac:cxnSpMk id="35" creationId="{991F5058-C04B-4F02-EB05-8E54ECAA3D5B}"/>
          </ac:cxnSpMkLst>
        </pc:cxnChg>
      </pc:sldChg>
      <pc:sldChg chg="addSp delSp modSp add mod">
        <pc:chgData name="Guerrero Quiros, Jesus" userId="9d53007f-80b5-424a-baef-31d811de0396" providerId="ADAL" clId="{AC0C42EC-1194-45C5-866F-783949D593DB}" dt="2024-11-05T12:45:37.058" v="2189" actId="1036"/>
        <pc:sldMkLst>
          <pc:docMk/>
          <pc:sldMk cId="1547164237" sldId="673"/>
        </pc:sldMkLst>
        <pc:spChg chg="mod">
          <ac:chgData name="Guerrero Quiros, Jesus" userId="9d53007f-80b5-424a-baef-31d811de0396" providerId="ADAL" clId="{AC0C42EC-1194-45C5-866F-783949D593DB}" dt="2024-11-05T12:45:37.058" v="2189" actId="1036"/>
          <ac:spMkLst>
            <pc:docMk/>
            <pc:sldMk cId="1547164237" sldId="673"/>
            <ac:spMk id="8" creationId="{00000000-0000-0000-0000-000000000000}"/>
          </ac:spMkLst>
        </pc:spChg>
        <pc:spChg chg="mod">
          <ac:chgData name="Guerrero Quiros, Jesus" userId="9d53007f-80b5-424a-baef-31d811de0396" providerId="ADAL" clId="{AC0C42EC-1194-45C5-866F-783949D593DB}" dt="2024-11-05T12:45:37.058" v="2189" actId="1036"/>
          <ac:spMkLst>
            <pc:docMk/>
            <pc:sldMk cId="1547164237" sldId="673"/>
            <ac:spMk id="13" creationId="{62AFD390-8BC9-422E-9C8D-56452AE8D56A}"/>
          </ac:spMkLst>
        </pc:spChg>
        <pc:spChg chg="add mod">
          <ac:chgData name="Guerrero Quiros, Jesus" userId="9d53007f-80b5-424a-baef-31d811de0396" providerId="ADAL" clId="{AC0C42EC-1194-45C5-866F-783949D593DB}" dt="2024-10-28T07:53:16.115" v="2013" actId="14100"/>
          <ac:spMkLst>
            <pc:docMk/>
            <pc:sldMk cId="1547164237" sldId="673"/>
            <ac:spMk id="16" creationId="{1E60E08C-7EF9-9B0E-9120-121B2A52DB52}"/>
          </ac:spMkLst>
        </pc:spChg>
        <pc:spChg chg="add mod">
          <ac:chgData name="Guerrero Quiros, Jesus" userId="9d53007f-80b5-424a-baef-31d811de0396" providerId="ADAL" clId="{AC0C42EC-1194-45C5-866F-783949D593DB}" dt="2024-10-28T07:52:06.517" v="1994" actId="1076"/>
          <ac:spMkLst>
            <pc:docMk/>
            <pc:sldMk cId="1547164237" sldId="673"/>
            <ac:spMk id="17" creationId="{AD7B7268-822E-ABA8-6678-3671DF55E5BC}"/>
          </ac:spMkLst>
        </pc:spChg>
        <pc:spChg chg="add mod">
          <ac:chgData name="Guerrero Quiros, Jesus" userId="9d53007f-80b5-424a-baef-31d811de0396" providerId="ADAL" clId="{AC0C42EC-1194-45C5-866F-783949D593DB}" dt="2024-10-28T07:53:08.474" v="2012" actId="404"/>
          <ac:spMkLst>
            <pc:docMk/>
            <pc:sldMk cId="1547164237" sldId="673"/>
            <ac:spMk id="19" creationId="{2B22B69B-C41D-C77F-DBAF-D015BA9B5CBA}"/>
          </ac:spMkLst>
        </pc:spChg>
        <pc:spChg chg="add mod">
          <ac:chgData name="Guerrero Quiros, Jesus" userId="9d53007f-80b5-424a-baef-31d811de0396" providerId="ADAL" clId="{AC0C42EC-1194-45C5-866F-783949D593DB}" dt="2024-10-28T07:53:08.474" v="2012" actId="404"/>
          <ac:spMkLst>
            <pc:docMk/>
            <pc:sldMk cId="1547164237" sldId="673"/>
            <ac:spMk id="20" creationId="{2F42C8E1-4017-64D6-F6F9-3D123F6F9BFC}"/>
          </ac:spMkLst>
        </pc:spChg>
        <pc:spChg chg="add mod">
          <ac:chgData name="Guerrero Quiros, Jesus" userId="9d53007f-80b5-424a-baef-31d811de0396" providerId="ADAL" clId="{AC0C42EC-1194-45C5-866F-783949D593DB}" dt="2024-10-28T07:53:08.474" v="2012" actId="404"/>
          <ac:spMkLst>
            <pc:docMk/>
            <pc:sldMk cId="1547164237" sldId="673"/>
            <ac:spMk id="21" creationId="{3F01445E-EED0-535B-8CF8-8EE8ADA8D598}"/>
          </ac:spMkLst>
        </pc:spChg>
        <pc:spChg chg="add mod">
          <ac:chgData name="Guerrero Quiros, Jesus" userId="9d53007f-80b5-424a-baef-31d811de0396" providerId="ADAL" clId="{AC0C42EC-1194-45C5-866F-783949D593DB}" dt="2024-10-28T07:54:56.480" v="2026" actId="208"/>
          <ac:spMkLst>
            <pc:docMk/>
            <pc:sldMk cId="1547164237" sldId="673"/>
            <ac:spMk id="22" creationId="{A29ED199-AA78-E253-4A42-62ADFE4D4477}"/>
          </ac:spMkLst>
        </pc:spChg>
        <pc:spChg chg="add mod">
          <ac:chgData name="Guerrero Quiros, Jesus" userId="9d53007f-80b5-424a-baef-31d811de0396" providerId="ADAL" clId="{AC0C42EC-1194-45C5-866F-783949D593DB}" dt="2024-10-28T07:54:51.941" v="2025" actId="207"/>
          <ac:spMkLst>
            <pc:docMk/>
            <pc:sldMk cId="1547164237" sldId="673"/>
            <ac:spMk id="23" creationId="{0CFCAD66-3351-9142-3D39-0D85CD855858}"/>
          </ac:spMkLst>
        </pc:spChg>
        <pc:spChg chg="add mod">
          <ac:chgData name="Guerrero Quiros, Jesus" userId="9d53007f-80b5-424a-baef-31d811de0396" providerId="ADAL" clId="{AC0C42EC-1194-45C5-866F-783949D593DB}" dt="2024-10-28T07:55:16.749" v="2029" actId="20577"/>
          <ac:spMkLst>
            <pc:docMk/>
            <pc:sldMk cId="1547164237" sldId="673"/>
            <ac:spMk id="24" creationId="{C0693647-72F5-0E0E-0ED8-6B0C49C0D8DA}"/>
          </ac:spMkLst>
        </pc:spChg>
        <pc:spChg chg="add mod">
          <ac:chgData name="Guerrero Quiros, Jesus" userId="9d53007f-80b5-424a-baef-31d811de0396" providerId="ADAL" clId="{AC0C42EC-1194-45C5-866F-783949D593DB}" dt="2024-10-28T07:55:35.206" v="2032" actId="20577"/>
          <ac:spMkLst>
            <pc:docMk/>
            <pc:sldMk cId="1547164237" sldId="673"/>
            <ac:spMk id="25" creationId="{C1C473CD-6321-0700-C22A-0F761E108585}"/>
          </ac:spMkLst>
        </pc:spChg>
        <pc:spChg chg="add mod">
          <ac:chgData name="Guerrero Quiros, Jesus" userId="9d53007f-80b5-424a-baef-31d811de0396" providerId="ADAL" clId="{AC0C42EC-1194-45C5-866F-783949D593DB}" dt="2024-10-28T07:55:52.115" v="2033"/>
          <ac:spMkLst>
            <pc:docMk/>
            <pc:sldMk cId="1547164237" sldId="673"/>
            <ac:spMk id="26" creationId="{3CA25B9A-9912-9421-FEC0-A36E6ADF134A}"/>
          </ac:spMkLst>
        </pc:spChg>
      </pc:sldChg>
      <pc:sldChg chg="modSp add mod">
        <pc:chgData name="Guerrero Quiros, Jesus" userId="9d53007f-80b5-424a-baef-31d811de0396" providerId="ADAL" clId="{AC0C42EC-1194-45C5-866F-783949D593DB}" dt="2024-11-09T11:32:57.241" v="5157" actId="1076"/>
        <pc:sldMkLst>
          <pc:docMk/>
          <pc:sldMk cId="2721527825" sldId="674"/>
        </pc:sldMkLst>
        <pc:spChg chg="mod">
          <ac:chgData name="Guerrero Quiros, Jesus" userId="9d53007f-80b5-424a-baef-31d811de0396" providerId="ADAL" clId="{AC0C42EC-1194-45C5-866F-783949D593DB}" dt="2024-11-08T16:47:43.625" v="2876" actId="1035"/>
          <ac:spMkLst>
            <pc:docMk/>
            <pc:sldMk cId="2721527825" sldId="674"/>
            <ac:spMk id="13" creationId="{7674FFE1-466B-3E61-9D8B-0DBDBF279D94}"/>
          </ac:spMkLst>
        </pc:spChg>
        <pc:spChg chg="mod">
          <ac:chgData name="Guerrero Quiros, Jesus" userId="9d53007f-80b5-424a-baef-31d811de0396" providerId="ADAL" clId="{AC0C42EC-1194-45C5-866F-783949D593DB}" dt="2024-11-08T16:47:43.625" v="2876" actId="1035"/>
          <ac:spMkLst>
            <pc:docMk/>
            <pc:sldMk cId="2721527825" sldId="674"/>
            <ac:spMk id="14" creationId="{DEBEDDEE-0661-F4EE-5FE3-FDCCE6BDCB69}"/>
          </ac:spMkLst>
        </pc:spChg>
        <pc:spChg chg="mod">
          <ac:chgData name="Guerrero Quiros, Jesus" userId="9d53007f-80b5-424a-baef-31d811de0396" providerId="ADAL" clId="{AC0C42EC-1194-45C5-866F-783949D593DB}" dt="2024-11-09T11:32:57.241" v="5157" actId="1076"/>
          <ac:spMkLst>
            <pc:docMk/>
            <pc:sldMk cId="2721527825" sldId="674"/>
            <ac:spMk id="16" creationId="{1AA89579-541E-1901-71A4-F1EED93363B4}"/>
          </ac:spMkLst>
        </pc:spChg>
        <pc:spChg chg="mod">
          <ac:chgData name="Guerrero Quiros, Jesus" userId="9d53007f-80b5-424a-baef-31d811de0396" providerId="ADAL" clId="{AC0C42EC-1194-45C5-866F-783949D593DB}" dt="2024-11-08T16:45:06.672" v="2719" actId="14100"/>
          <ac:spMkLst>
            <pc:docMk/>
            <pc:sldMk cId="2721527825" sldId="674"/>
            <ac:spMk id="20" creationId="{25CB128A-88FB-3003-1041-684E51C67833}"/>
          </ac:spMkLst>
        </pc:spChg>
        <pc:spChg chg="mod">
          <ac:chgData name="Guerrero Quiros, Jesus" userId="9d53007f-80b5-424a-baef-31d811de0396" providerId="ADAL" clId="{AC0C42EC-1194-45C5-866F-783949D593DB}" dt="2024-11-08T16:45:10.463" v="2720" actId="14100"/>
          <ac:spMkLst>
            <pc:docMk/>
            <pc:sldMk cId="2721527825" sldId="674"/>
            <ac:spMk id="21" creationId="{C0C4388D-18FB-5C7F-7E50-82E731841E2F}"/>
          </ac:spMkLst>
        </pc:spChg>
        <pc:spChg chg="mod">
          <ac:chgData name="Guerrero Quiros, Jesus" userId="9d53007f-80b5-424a-baef-31d811de0396" providerId="ADAL" clId="{AC0C42EC-1194-45C5-866F-783949D593DB}" dt="2024-11-08T16:44:59.235" v="2718" actId="20577"/>
          <ac:spMkLst>
            <pc:docMk/>
            <pc:sldMk cId="2721527825" sldId="674"/>
            <ac:spMk id="22" creationId="{05CB6F97-E98D-9F1F-1620-CCA5A1D71F42}"/>
          </ac:spMkLst>
        </pc:spChg>
      </pc:sldChg>
      <pc:sldChg chg="delSp modSp add mod">
        <pc:chgData name="Guerrero Quiros, Jesus" userId="9d53007f-80b5-424a-baef-31d811de0396" providerId="ADAL" clId="{AC0C42EC-1194-45C5-866F-783949D593DB}" dt="2024-11-08T16:54:18.904" v="3110" actId="20577"/>
        <pc:sldMkLst>
          <pc:docMk/>
          <pc:sldMk cId="60551586" sldId="675"/>
        </pc:sldMkLst>
        <pc:spChg chg="mod">
          <ac:chgData name="Guerrero Quiros, Jesus" userId="9d53007f-80b5-424a-baef-31d811de0396" providerId="ADAL" clId="{AC0C42EC-1194-45C5-866F-783949D593DB}" dt="2024-11-08T16:48:19.211" v="2959" actId="14100"/>
          <ac:spMkLst>
            <pc:docMk/>
            <pc:sldMk cId="60551586" sldId="675"/>
            <ac:spMk id="3" creationId="{1B849772-7041-B070-5EC4-C80A38708D3C}"/>
          </ac:spMkLst>
        </pc:spChg>
        <pc:spChg chg="mod">
          <ac:chgData name="Guerrero Quiros, Jesus" userId="9d53007f-80b5-424a-baef-31d811de0396" providerId="ADAL" clId="{AC0C42EC-1194-45C5-866F-783949D593DB}" dt="2024-11-08T16:54:18.904" v="3110" actId="20577"/>
          <ac:spMkLst>
            <pc:docMk/>
            <pc:sldMk cId="60551586" sldId="675"/>
            <ac:spMk id="5" creationId="{7A0A1D92-F5D9-CC0A-A7E4-54B7EC98DBEC}"/>
          </ac:spMkLst>
        </pc:spChg>
        <pc:spChg chg="mod">
          <ac:chgData name="Guerrero Quiros, Jesus" userId="9d53007f-80b5-424a-baef-31d811de0396" providerId="ADAL" clId="{AC0C42EC-1194-45C5-866F-783949D593DB}" dt="2024-11-08T16:47:07.802" v="2874" actId="20577"/>
          <ac:spMkLst>
            <pc:docMk/>
            <pc:sldMk cId="60551586" sldId="675"/>
            <ac:spMk id="8" creationId="{680F8DED-0AD9-FB63-2C5E-06D1406A56AB}"/>
          </ac:spMkLst>
        </pc:spChg>
        <pc:spChg chg="mod">
          <ac:chgData name="Guerrero Quiros, Jesus" userId="9d53007f-80b5-424a-baef-31d811de0396" providerId="ADAL" clId="{AC0C42EC-1194-45C5-866F-783949D593DB}" dt="2024-11-08T16:46:30.750" v="2850" actId="14100"/>
          <ac:spMkLst>
            <pc:docMk/>
            <pc:sldMk cId="60551586" sldId="675"/>
            <ac:spMk id="9" creationId="{462481C8-A705-D63A-C905-C4B14B222E53}"/>
          </ac:spMkLst>
        </pc:spChg>
        <pc:spChg chg="mod">
          <ac:chgData name="Guerrero Quiros, Jesus" userId="9d53007f-80b5-424a-baef-31d811de0396" providerId="ADAL" clId="{AC0C42EC-1194-45C5-866F-783949D593DB}" dt="2024-11-08T16:45:51.718" v="2785" actId="14100"/>
          <ac:spMkLst>
            <pc:docMk/>
            <pc:sldMk cId="60551586" sldId="675"/>
            <ac:spMk id="10" creationId="{6BE1BE96-8E90-ADFF-BFB6-D53033BF04E8}"/>
          </ac:spMkLst>
        </pc:spChg>
        <pc:spChg chg="mod">
          <ac:chgData name="Guerrero Quiros, Jesus" userId="9d53007f-80b5-424a-baef-31d811de0396" providerId="ADAL" clId="{AC0C42EC-1194-45C5-866F-783949D593DB}" dt="2024-11-08T16:46:32.231" v="2851" actId="20577"/>
          <ac:spMkLst>
            <pc:docMk/>
            <pc:sldMk cId="60551586" sldId="675"/>
            <ac:spMk id="11" creationId="{4E3638A5-BC33-1A2B-D666-70A6810D3304}"/>
          </ac:spMkLst>
        </pc:spChg>
        <pc:spChg chg="mod">
          <ac:chgData name="Guerrero Quiros, Jesus" userId="9d53007f-80b5-424a-baef-31d811de0396" providerId="ADAL" clId="{AC0C42EC-1194-45C5-866F-783949D593DB}" dt="2024-11-08T16:48:15.728" v="2958" actId="14100"/>
          <ac:spMkLst>
            <pc:docMk/>
            <pc:sldMk cId="60551586" sldId="675"/>
            <ac:spMk id="12" creationId="{C62D82F5-6DD6-5680-6C45-BC3DA5272176}"/>
          </ac:spMkLst>
        </pc:spChg>
        <pc:spChg chg="mod">
          <ac:chgData name="Guerrero Quiros, Jesus" userId="9d53007f-80b5-424a-baef-31d811de0396" providerId="ADAL" clId="{AC0C42EC-1194-45C5-866F-783949D593DB}" dt="2024-11-08T16:49:10.385" v="3095" actId="14100"/>
          <ac:spMkLst>
            <pc:docMk/>
            <pc:sldMk cId="60551586" sldId="675"/>
            <ac:spMk id="13" creationId="{7674FFE1-466B-3E61-9D8B-0DBDBF279D94}"/>
          </ac:spMkLst>
        </pc:spChg>
        <pc:spChg chg="mod">
          <ac:chgData name="Guerrero Quiros, Jesus" userId="9d53007f-80b5-424a-baef-31d811de0396" providerId="ADAL" clId="{AC0C42EC-1194-45C5-866F-783949D593DB}" dt="2024-11-08T16:48:54.249" v="3040" actId="14100"/>
          <ac:spMkLst>
            <pc:docMk/>
            <pc:sldMk cId="60551586" sldId="675"/>
            <ac:spMk id="14" creationId="{DEBEDDEE-0661-F4EE-5FE3-FDCCE6BDCB69}"/>
          </ac:spMkLst>
        </pc:spChg>
        <pc:spChg chg="mod">
          <ac:chgData name="Guerrero Quiros, Jesus" userId="9d53007f-80b5-424a-baef-31d811de0396" providerId="ADAL" clId="{AC0C42EC-1194-45C5-866F-783949D593DB}" dt="2024-11-08T16:49:07.360" v="3094" actId="14100"/>
          <ac:spMkLst>
            <pc:docMk/>
            <pc:sldMk cId="60551586" sldId="675"/>
            <ac:spMk id="16" creationId="{1AA89579-541E-1901-71A4-F1EED93363B4}"/>
          </ac:spMkLst>
        </pc:spChg>
      </pc:sldChg>
      <pc:sldChg chg="addSp delSp modSp add mod">
        <pc:chgData name="Guerrero Quiros, Jesus" userId="9d53007f-80b5-424a-baef-31d811de0396" providerId="ADAL" clId="{AC0C42EC-1194-45C5-866F-783949D593DB}" dt="2024-11-08T17:03:13.453" v="3425" actId="20577"/>
        <pc:sldMkLst>
          <pc:docMk/>
          <pc:sldMk cId="797688592" sldId="676"/>
        </pc:sldMkLst>
        <pc:spChg chg="mod">
          <ac:chgData name="Guerrero Quiros, Jesus" userId="9d53007f-80b5-424a-baef-31d811de0396" providerId="ADAL" clId="{AC0C42EC-1194-45C5-866F-783949D593DB}" dt="2024-11-08T16:54:31.280" v="3124" actId="20577"/>
          <ac:spMkLst>
            <pc:docMk/>
            <pc:sldMk cId="797688592" sldId="676"/>
            <ac:spMk id="5" creationId="{7A0A1D92-F5D9-CC0A-A7E4-54B7EC98DBEC}"/>
          </ac:spMkLst>
        </pc:spChg>
        <pc:spChg chg="add mod">
          <ac:chgData name="Guerrero Quiros, Jesus" userId="9d53007f-80b5-424a-baef-31d811de0396" providerId="ADAL" clId="{AC0C42EC-1194-45C5-866F-783949D593DB}" dt="2024-11-08T17:00:35.870" v="3217" actId="1076"/>
          <ac:spMkLst>
            <pc:docMk/>
            <pc:sldMk cId="797688592" sldId="676"/>
            <ac:spMk id="17" creationId="{E1A5A932-9816-F126-F2CD-43FCF2E86D45}"/>
          </ac:spMkLst>
        </pc:spChg>
        <pc:spChg chg="add mod">
          <ac:chgData name="Guerrero Quiros, Jesus" userId="9d53007f-80b5-424a-baef-31d811de0396" providerId="ADAL" clId="{AC0C42EC-1194-45C5-866F-783949D593DB}" dt="2024-11-08T17:00:35.870" v="3217" actId="1076"/>
          <ac:spMkLst>
            <pc:docMk/>
            <pc:sldMk cId="797688592" sldId="676"/>
            <ac:spMk id="18" creationId="{0E4EEE9A-6105-BC1B-8B4A-D9BD9B3F5C30}"/>
          </ac:spMkLst>
        </pc:spChg>
        <pc:spChg chg="add mod">
          <ac:chgData name="Guerrero Quiros, Jesus" userId="9d53007f-80b5-424a-baef-31d811de0396" providerId="ADAL" clId="{AC0C42EC-1194-45C5-866F-783949D593DB}" dt="2024-11-08T17:00:35.870" v="3217" actId="1076"/>
          <ac:spMkLst>
            <pc:docMk/>
            <pc:sldMk cId="797688592" sldId="676"/>
            <ac:spMk id="19" creationId="{47F1E3E1-9A87-451D-41BF-B4F342ABB57D}"/>
          </ac:spMkLst>
        </pc:spChg>
        <pc:spChg chg="add mod">
          <ac:chgData name="Guerrero Quiros, Jesus" userId="9d53007f-80b5-424a-baef-31d811de0396" providerId="ADAL" clId="{AC0C42EC-1194-45C5-866F-783949D593DB}" dt="2024-11-08T17:01:42.870" v="3301" actId="208"/>
          <ac:spMkLst>
            <pc:docMk/>
            <pc:sldMk cId="797688592" sldId="676"/>
            <ac:spMk id="20" creationId="{3F2FF0D8-66DE-8395-BABB-81B16E664068}"/>
          </ac:spMkLst>
        </pc:spChg>
        <pc:spChg chg="add mod">
          <ac:chgData name="Guerrero Quiros, Jesus" userId="9d53007f-80b5-424a-baef-31d811de0396" providerId="ADAL" clId="{AC0C42EC-1194-45C5-866F-783949D593DB}" dt="2024-11-08T17:01:34.647" v="3300" actId="207"/>
          <ac:spMkLst>
            <pc:docMk/>
            <pc:sldMk cId="797688592" sldId="676"/>
            <ac:spMk id="21" creationId="{6F476C10-1F5C-2D84-9A82-3BB1B62D148D}"/>
          </ac:spMkLst>
        </pc:spChg>
        <pc:spChg chg="add mod">
          <ac:chgData name="Guerrero Quiros, Jesus" userId="9d53007f-80b5-424a-baef-31d811de0396" providerId="ADAL" clId="{AC0C42EC-1194-45C5-866F-783949D593DB}" dt="2024-11-08T17:01:24.277" v="3299" actId="120"/>
          <ac:spMkLst>
            <pc:docMk/>
            <pc:sldMk cId="797688592" sldId="676"/>
            <ac:spMk id="22" creationId="{A847F53F-8BF2-7DDB-8FDD-27E91B3339ED}"/>
          </ac:spMkLst>
        </pc:spChg>
        <pc:spChg chg="add mod">
          <ac:chgData name="Guerrero Quiros, Jesus" userId="9d53007f-80b5-424a-baef-31d811de0396" providerId="ADAL" clId="{AC0C42EC-1194-45C5-866F-783949D593DB}" dt="2024-11-08T17:02:41.025" v="3328" actId="208"/>
          <ac:spMkLst>
            <pc:docMk/>
            <pc:sldMk cId="797688592" sldId="676"/>
            <ac:spMk id="23" creationId="{E9E26873-FA8F-CB89-E960-5B0273F8804E}"/>
          </ac:spMkLst>
        </pc:spChg>
        <pc:spChg chg="add mod">
          <ac:chgData name="Guerrero Quiros, Jesus" userId="9d53007f-80b5-424a-baef-31d811de0396" providerId="ADAL" clId="{AC0C42EC-1194-45C5-866F-783949D593DB}" dt="2024-11-08T17:02:36.738" v="3327" actId="207"/>
          <ac:spMkLst>
            <pc:docMk/>
            <pc:sldMk cId="797688592" sldId="676"/>
            <ac:spMk id="24" creationId="{685B6FB3-47D7-8B90-3039-3703D4AFB406}"/>
          </ac:spMkLst>
        </pc:spChg>
        <pc:spChg chg="add mod">
          <ac:chgData name="Guerrero Quiros, Jesus" userId="9d53007f-80b5-424a-baef-31d811de0396" providerId="ADAL" clId="{AC0C42EC-1194-45C5-866F-783949D593DB}" dt="2024-11-08T17:03:13.453" v="3425" actId="20577"/>
          <ac:spMkLst>
            <pc:docMk/>
            <pc:sldMk cId="797688592" sldId="676"/>
            <ac:spMk id="25" creationId="{6F377743-49A1-F9A7-F83D-D4A905717ADE}"/>
          </ac:spMkLst>
        </pc:spChg>
      </pc:sldChg>
      <pc:sldChg chg="addSp delSp modSp add mod">
        <pc:chgData name="Guerrero Quiros, Jesus" userId="9d53007f-80b5-424a-baef-31d811de0396" providerId="ADAL" clId="{AC0C42EC-1194-45C5-866F-783949D593DB}" dt="2024-11-09T11:59:50.581" v="5374" actId="20577"/>
        <pc:sldMkLst>
          <pc:docMk/>
          <pc:sldMk cId="1389906554" sldId="677"/>
        </pc:sldMkLst>
        <pc:spChg chg="mod">
          <ac:chgData name="Guerrero Quiros, Jesus" userId="9d53007f-80b5-424a-baef-31d811de0396" providerId="ADAL" clId="{AC0C42EC-1194-45C5-866F-783949D593DB}" dt="2024-11-08T17:09:31.158" v="3433" actId="20577"/>
          <ac:spMkLst>
            <pc:docMk/>
            <pc:sldMk cId="1389906554" sldId="677"/>
            <ac:spMk id="4" creationId="{D77E1D12-11CF-3CF9-406B-4A4893650F06}"/>
          </ac:spMkLst>
        </pc:spChg>
        <pc:spChg chg="mod">
          <ac:chgData name="Guerrero Quiros, Jesus" userId="9d53007f-80b5-424a-baef-31d811de0396" providerId="ADAL" clId="{AC0C42EC-1194-45C5-866F-783949D593DB}" dt="2024-11-08T17:12:17.081" v="3598" actId="20577"/>
          <ac:spMkLst>
            <pc:docMk/>
            <pc:sldMk cId="1389906554" sldId="677"/>
            <ac:spMk id="5" creationId="{7A0A1D92-F5D9-CC0A-A7E4-54B7EC98DBEC}"/>
          </ac:spMkLst>
        </pc:spChg>
        <pc:spChg chg="add mod">
          <ac:chgData name="Guerrero Quiros, Jesus" userId="9d53007f-80b5-424a-baef-31d811de0396" providerId="ADAL" clId="{AC0C42EC-1194-45C5-866F-783949D593DB}" dt="2024-11-08T17:32:19.755" v="4072" actId="1035"/>
          <ac:spMkLst>
            <pc:docMk/>
            <pc:sldMk cId="1389906554" sldId="677"/>
            <ac:spMk id="8" creationId="{4FB0D1C3-F331-533A-1C00-02507C1A00C5}"/>
          </ac:spMkLst>
        </pc:spChg>
        <pc:spChg chg="add mod">
          <ac:chgData name="Guerrero Quiros, Jesus" userId="9d53007f-80b5-424a-baef-31d811de0396" providerId="ADAL" clId="{AC0C42EC-1194-45C5-866F-783949D593DB}" dt="2024-11-09T11:59:50.581" v="5374" actId="20577"/>
          <ac:spMkLst>
            <pc:docMk/>
            <pc:sldMk cId="1389906554" sldId="677"/>
            <ac:spMk id="11" creationId="{C3FB2762-A143-6AFC-CAE6-FA1CEC574936}"/>
          </ac:spMkLst>
        </pc:spChg>
        <pc:spChg chg="add mod">
          <ac:chgData name="Guerrero Quiros, Jesus" userId="9d53007f-80b5-424a-baef-31d811de0396" providerId="ADAL" clId="{AC0C42EC-1194-45C5-866F-783949D593DB}" dt="2024-11-08T17:32:24.987" v="4079" actId="1035"/>
          <ac:spMkLst>
            <pc:docMk/>
            <pc:sldMk cId="1389906554" sldId="677"/>
            <ac:spMk id="12" creationId="{FE283534-C48A-9C14-4416-CA4CF939C9E2}"/>
          </ac:spMkLst>
        </pc:spChg>
        <pc:spChg chg="add del mod">
          <ac:chgData name="Guerrero Quiros, Jesus" userId="9d53007f-80b5-424a-baef-31d811de0396" providerId="ADAL" clId="{AC0C42EC-1194-45C5-866F-783949D593DB}" dt="2024-11-08T17:32:19.755" v="4072" actId="1035"/>
          <ac:spMkLst>
            <pc:docMk/>
            <pc:sldMk cId="1389906554" sldId="677"/>
            <ac:spMk id="17" creationId="{E1A5A932-9816-F126-F2CD-43FCF2E86D45}"/>
          </ac:spMkLst>
        </pc:spChg>
        <pc:spChg chg="add mod">
          <ac:chgData name="Guerrero Quiros, Jesus" userId="9d53007f-80b5-424a-baef-31d811de0396" providerId="ADAL" clId="{AC0C42EC-1194-45C5-866F-783949D593DB}" dt="2024-11-08T17:32:02.461" v="4059" actId="207"/>
          <ac:spMkLst>
            <pc:docMk/>
            <pc:sldMk cId="1389906554" sldId="677"/>
            <ac:spMk id="26" creationId="{591D89AE-1BB5-F85B-5E66-48D23D30E5E4}"/>
          </ac:spMkLst>
        </pc:spChg>
        <pc:spChg chg="add mod">
          <ac:chgData name="Guerrero Quiros, Jesus" userId="9d53007f-80b5-424a-baef-31d811de0396" providerId="ADAL" clId="{AC0C42EC-1194-45C5-866F-783949D593DB}" dt="2024-11-08T17:32:06.367" v="4060" actId="208"/>
          <ac:spMkLst>
            <pc:docMk/>
            <pc:sldMk cId="1389906554" sldId="677"/>
            <ac:spMk id="27" creationId="{8F9009CE-E491-0A49-96BE-B4CF1294F1FE}"/>
          </ac:spMkLst>
        </pc:spChg>
        <pc:cxnChg chg="add mod">
          <ac:chgData name="Guerrero Quiros, Jesus" userId="9d53007f-80b5-424a-baef-31d811de0396" providerId="ADAL" clId="{AC0C42EC-1194-45C5-866F-783949D593DB}" dt="2024-11-08T17:32:19.755" v="4072" actId="1035"/>
          <ac:cxnSpMkLst>
            <pc:docMk/>
            <pc:sldMk cId="1389906554" sldId="677"/>
            <ac:cxnSpMk id="10" creationId="{8AD9D472-8E91-11A2-6A24-E48CD5CE3964}"/>
          </ac:cxnSpMkLst>
        </pc:cxnChg>
        <pc:cxnChg chg="add mod">
          <ac:chgData name="Guerrero Quiros, Jesus" userId="9d53007f-80b5-424a-baef-31d811de0396" providerId="ADAL" clId="{AC0C42EC-1194-45C5-866F-783949D593DB}" dt="2024-11-08T17:32:24.987" v="4079" actId="1035"/>
          <ac:cxnSpMkLst>
            <pc:docMk/>
            <pc:sldMk cId="1389906554" sldId="677"/>
            <ac:cxnSpMk id="13" creationId="{6DBE0136-C95F-1DBA-DFD9-1A91C084AC60}"/>
          </ac:cxnSpMkLst>
        </pc:cxnChg>
        <pc:cxnChg chg="add mod">
          <ac:chgData name="Guerrero Quiros, Jesus" userId="9d53007f-80b5-424a-baef-31d811de0396" providerId="ADAL" clId="{AC0C42EC-1194-45C5-866F-783949D593DB}" dt="2024-11-08T17:32:08.749" v="4061" actId="208"/>
          <ac:cxnSpMkLst>
            <pc:docMk/>
            <pc:sldMk cId="1389906554" sldId="677"/>
            <ac:cxnSpMk id="29" creationId="{3129FF84-CA26-814B-0D1E-8564BEB2903F}"/>
          </ac:cxnSpMkLst>
        </pc:cxnChg>
      </pc:sldChg>
      <pc:sldChg chg="addSp delSp modSp add mod">
        <pc:chgData name="Guerrero Quiros, Jesus" userId="9d53007f-80b5-424a-baef-31d811de0396" providerId="ADAL" clId="{AC0C42EC-1194-45C5-866F-783949D593DB}" dt="2024-11-10T10:34:34.961" v="11326"/>
        <pc:sldMkLst>
          <pc:docMk/>
          <pc:sldMk cId="1988913531" sldId="678"/>
        </pc:sldMkLst>
        <pc:spChg chg="mod">
          <ac:chgData name="Guerrero Quiros, Jesus" userId="9d53007f-80b5-424a-baef-31d811de0396" providerId="ADAL" clId="{AC0C42EC-1194-45C5-866F-783949D593DB}" dt="2024-11-08T17:32:43.800" v="4089" actId="20577"/>
          <ac:spMkLst>
            <pc:docMk/>
            <pc:sldMk cId="1988913531" sldId="678"/>
            <ac:spMk id="4" creationId="{D77E1D12-11CF-3CF9-406B-4A4893650F06}"/>
          </ac:spMkLst>
        </pc:spChg>
        <pc:graphicFrameChg chg="add mod modGraphic">
          <ac:chgData name="Guerrero Quiros, Jesus" userId="9d53007f-80b5-424a-baef-31d811de0396" providerId="ADAL" clId="{AC0C42EC-1194-45C5-866F-783949D593DB}" dt="2024-11-10T10:34:34.961" v="11326"/>
          <ac:graphicFrameMkLst>
            <pc:docMk/>
            <pc:sldMk cId="1988913531" sldId="678"/>
            <ac:graphicFrameMk id="3" creationId="{3352C7ED-7ED3-5C59-5DE7-3CC474CC9FD4}"/>
          </ac:graphicFrameMkLst>
        </pc:graphicFrameChg>
      </pc:sldChg>
      <pc:sldChg chg="add del">
        <pc:chgData name="Guerrero Quiros, Jesus" userId="9d53007f-80b5-424a-baef-31d811de0396" providerId="ADAL" clId="{AC0C42EC-1194-45C5-866F-783949D593DB}" dt="2024-11-09T11:34:32.392" v="5158" actId="47"/>
        <pc:sldMkLst>
          <pc:docMk/>
          <pc:sldMk cId="3475938435" sldId="679"/>
        </pc:sldMkLst>
      </pc:sldChg>
      <pc:sldChg chg="addSp delSp modSp add mod">
        <pc:chgData name="Guerrero Quiros, Jesus" userId="9d53007f-80b5-424a-baef-31d811de0396" providerId="ADAL" clId="{AC0C42EC-1194-45C5-866F-783949D593DB}" dt="2024-11-10T10:37:15.372" v="11346" actId="1035"/>
        <pc:sldMkLst>
          <pc:docMk/>
          <pc:sldMk cId="2201340572" sldId="680"/>
        </pc:sldMkLst>
        <pc:spChg chg="add mod">
          <ac:chgData name="Guerrero Quiros, Jesus" userId="9d53007f-80b5-424a-baef-31d811de0396" providerId="ADAL" clId="{AC0C42EC-1194-45C5-866F-783949D593DB}" dt="2024-11-09T10:55:57.109" v="4533" actId="20577"/>
          <ac:spMkLst>
            <pc:docMk/>
            <pc:sldMk cId="2201340572" sldId="680"/>
            <ac:spMk id="4" creationId="{AC18F97E-1AF8-32AC-31FA-B8D1B539E12F}"/>
          </ac:spMkLst>
        </pc:spChg>
        <pc:spChg chg="add mod">
          <ac:chgData name="Guerrero Quiros, Jesus" userId="9d53007f-80b5-424a-baef-31d811de0396" providerId="ADAL" clId="{AC0C42EC-1194-45C5-866F-783949D593DB}" dt="2024-11-10T10:37:15.372" v="11346" actId="1035"/>
          <ac:spMkLst>
            <pc:docMk/>
            <pc:sldMk cId="2201340572" sldId="680"/>
            <ac:spMk id="5" creationId="{17D8A5A3-574F-4716-5726-EBC9BB396622}"/>
          </ac:spMkLst>
        </pc:spChg>
        <pc:spChg chg="mod">
          <ac:chgData name="Guerrero Quiros, Jesus" userId="9d53007f-80b5-424a-baef-31d811de0396" providerId="ADAL" clId="{AC0C42EC-1194-45C5-866F-783949D593DB}" dt="2024-11-10T10:37:15.372" v="11346" actId="1035"/>
          <ac:spMkLst>
            <pc:docMk/>
            <pc:sldMk cId="2201340572" sldId="680"/>
            <ac:spMk id="12" creationId="{01E8C74A-8B63-43E3-A570-64D1CB5E96C1}"/>
          </ac:spMkLst>
        </pc:spChg>
        <pc:spChg chg="mod">
          <ac:chgData name="Guerrero Quiros, Jesus" userId="9d53007f-80b5-424a-baef-31d811de0396" providerId="ADAL" clId="{AC0C42EC-1194-45C5-866F-783949D593DB}" dt="2024-11-09T23:55:25.847" v="11321" actId="14100"/>
          <ac:spMkLst>
            <pc:docMk/>
            <pc:sldMk cId="2201340572" sldId="680"/>
            <ac:spMk id="13" creationId="{62AFD390-8BC9-422E-9C8D-56452AE8D56A}"/>
          </ac:spMkLst>
        </pc:spChg>
        <pc:spChg chg="mod">
          <ac:chgData name="Guerrero Quiros, Jesus" userId="9d53007f-80b5-424a-baef-31d811de0396" providerId="ADAL" clId="{AC0C42EC-1194-45C5-866F-783949D593DB}" dt="2024-11-10T10:37:15.372" v="11346" actId="1035"/>
          <ac:spMkLst>
            <pc:docMk/>
            <pc:sldMk cId="2201340572" sldId="680"/>
            <ac:spMk id="14" creationId="{A4067FFE-AD14-490B-B1DC-8F62BBA60813}"/>
          </ac:spMkLst>
        </pc:spChg>
        <pc:spChg chg="mod">
          <ac:chgData name="Guerrero Quiros, Jesus" userId="9d53007f-80b5-424a-baef-31d811de0396" providerId="ADAL" clId="{AC0C42EC-1194-45C5-866F-783949D593DB}" dt="2024-11-10T10:37:15.372" v="11346" actId="1035"/>
          <ac:spMkLst>
            <pc:docMk/>
            <pc:sldMk cId="2201340572" sldId="680"/>
            <ac:spMk id="16" creationId="{39265F8F-DD7F-4957-B824-0C5058432228}"/>
          </ac:spMkLst>
        </pc:spChg>
        <pc:spChg chg="mod">
          <ac:chgData name="Guerrero Quiros, Jesus" userId="9d53007f-80b5-424a-baef-31d811de0396" providerId="ADAL" clId="{AC0C42EC-1194-45C5-866F-783949D593DB}" dt="2024-11-10T10:37:15.372" v="11346" actId="1035"/>
          <ac:spMkLst>
            <pc:docMk/>
            <pc:sldMk cId="2201340572" sldId="680"/>
            <ac:spMk id="17" creationId="{EC8B70A1-9CF4-4819-AA85-11C12D11247E}"/>
          </ac:spMkLst>
        </pc:spChg>
        <pc:spChg chg="mod">
          <ac:chgData name="Guerrero Quiros, Jesus" userId="9d53007f-80b5-424a-baef-31d811de0396" providerId="ADAL" clId="{AC0C42EC-1194-45C5-866F-783949D593DB}" dt="2024-11-10T10:37:15.372" v="11346" actId="1035"/>
          <ac:spMkLst>
            <pc:docMk/>
            <pc:sldMk cId="2201340572" sldId="680"/>
            <ac:spMk id="19" creationId="{1E49B4B3-AFBD-4975-8D22-2C6D5D154BCE}"/>
          </ac:spMkLst>
        </pc:spChg>
      </pc:sldChg>
      <pc:sldChg chg="addSp delSp modSp add mod">
        <pc:chgData name="Guerrero Quiros, Jesus" userId="9d53007f-80b5-424a-baef-31d811de0396" providerId="ADAL" clId="{AC0C42EC-1194-45C5-866F-783949D593DB}" dt="2024-11-09T11:34:38.207" v="5161" actId="20577"/>
        <pc:sldMkLst>
          <pc:docMk/>
          <pc:sldMk cId="817385234" sldId="681"/>
        </pc:sldMkLst>
        <pc:spChg chg="add mod">
          <ac:chgData name="Guerrero Quiros, Jesus" userId="9d53007f-80b5-424a-baef-31d811de0396" providerId="ADAL" clId="{AC0C42EC-1194-45C5-866F-783949D593DB}" dt="2024-11-09T11:31:29.367" v="5108" actId="1076"/>
          <ac:spMkLst>
            <pc:docMk/>
            <pc:sldMk cId="817385234" sldId="681"/>
            <ac:spMk id="3" creationId="{51EB72B8-C195-9056-A50D-A8762313E6FC}"/>
          </ac:spMkLst>
        </pc:spChg>
        <pc:spChg chg="add mod">
          <ac:chgData name="Guerrero Quiros, Jesus" userId="9d53007f-80b5-424a-baef-31d811de0396" providerId="ADAL" clId="{AC0C42EC-1194-45C5-866F-783949D593DB}" dt="2024-11-09T11:31:29.367" v="5108" actId="1076"/>
          <ac:spMkLst>
            <pc:docMk/>
            <pc:sldMk cId="817385234" sldId="681"/>
            <ac:spMk id="7" creationId="{5DA62069-3196-A659-539F-92850F99749A}"/>
          </ac:spMkLst>
        </pc:spChg>
        <pc:spChg chg="add mod ord">
          <ac:chgData name="Guerrero Quiros, Jesus" userId="9d53007f-80b5-424a-baef-31d811de0396" providerId="ADAL" clId="{AC0C42EC-1194-45C5-866F-783949D593DB}" dt="2024-11-09T11:31:29.367" v="5108" actId="1076"/>
          <ac:spMkLst>
            <pc:docMk/>
            <pc:sldMk cId="817385234" sldId="681"/>
            <ac:spMk id="21" creationId="{04883A86-8745-C285-7572-5CF3E8CF77AF}"/>
          </ac:spMkLst>
        </pc:spChg>
        <pc:spChg chg="add mod">
          <ac:chgData name="Guerrero Quiros, Jesus" userId="9d53007f-80b5-424a-baef-31d811de0396" providerId="ADAL" clId="{AC0C42EC-1194-45C5-866F-783949D593DB}" dt="2024-11-09T11:31:29.367" v="5108" actId="1076"/>
          <ac:spMkLst>
            <pc:docMk/>
            <pc:sldMk cId="817385234" sldId="681"/>
            <ac:spMk id="22" creationId="{41C62144-A7C0-3168-5A4C-703AA47488D5}"/>
          </ac:spMkLst>
        </pc:spChg>
        <pc:spChg chg="add mod">
          <ac:chgData name="Guerrero Quiros, Jesus" userId="9d53007f-80b5-424a-baef-31d811de0396" providerId="ADAL" clId="{AC0C42EC-1194-45C5-866F-783949D593DB}" dt="2024-11-09T11:31:29.367" v="5108" actId="1076"/>
          <ac:spMkLst>
            <pc:docMk/>
            <pc:sldMk cId="817385234" sldId="681"/>
            <ac:spMk id="24" creationId="{D754EA6A-6CD4-B652-6645-0FB922472A12}"/>
          </ac:spMkLst>
        </pc:spChg>
        <pc:spChg chg="add mod">
          <ac:chgData name="Guerrero Quiros, Jesus" userId="9d53007f-80b5-424a-baef-31d811de0396" providerId="ADAL" clId="{AC0C42EC-1194-45C5-866F-783949D593DB}" dt="2024-11-09T11:31:29.367" v="5108" actId="1076"/>
          <ac:spMkLst>
            <pc:docMk/>
            <pc:sldMk cId="817385234" sldId="681"/>
            <ac:spMk id="25" creationId="{234CC8B2-2AF8-B87F-2832-382BCBAA1CB5}"/>
          </ac:spMkLst>
        </pc:spChg>
        <pc:spChg chg="add mod">
          <ac:chgData name="Guerrero Quiros, Jesus" userId="9d53007f-80b5-424a-baef-31d811de0396" providerId="ADAL" clId="{AC0C42EC-1194-45C5-866F-783949D593DB}" dt="2024-11-09T11:31:29.367" v="5108" actId="1076"/>
          <ac:spMkLst>
            <pc:docMk/>
            <pc:sldMk cId="817385234" sldId="681"/>
            <ac:spMk id="26" creationId="{C0784E09-B8FD-DB3A-FC52-E9032733C22E}"/>
          </ac:spMkLst>
        </pc:spChg>
        <pc:spChg chg="add mod">
          <ac:chgData name="Guerrero Quiros, Jesus" userId="9d53007f-80b5-424a-baef-31d811de0396" providerId="ADAL" clId="{AC0C42EC-1194-45C5-866F-783949D593DB}" dt="2024-11-09T11:31:29.367" v="5108" actId="1076"/>
          <ac:spMkLst>
            <pc:docMk/>
            <pc:sldMk cId="817385234" sldId="681"/>
            <ac:spMk id="29" creationId="{A53400DD-EB2B-8011-F20F-7EF22F801E67}"/>
          </ac:spMkLst>
        </pc:spChg>
        <pc:spChg chg="add mod">
          <ac:chgData name="Guerrero Quiros, Jesus" userId="9d53007f-80b5-424a-baef-31d811de0396" providerId="ADAL" clId="{AC0C42EC-1194-45C5-866F-783949D593DB}" dt="2024-11-09T11:31:29.367" v="5108" actId="1076"/>
          <ac:spMkLst>
            <pc:docMk/>
            <pc:sldMk cId="817385234" sldId="681"/>
            <ac:spMk id="30" creationId="{43372EC4-3E89-2099-B021-12ABE8F19CD4}"/>
          </ac:spMkLst>
        </pc:spChg>
        <pc:spChg chg="add mod">
          <ac:chgData name="Guerrero Quiros, Jesus" userId="9d53007f-80b5-424a-baef-31d811de0396" providerId="ADAL" clId="{AC0C42EC-1194-45C5-866F-783949D593DB}" dt="2024-11-09T11:31:29.367" v="5108" actId="1076"/>
          <ac:spMkLst>
            <pc:docMk/>
            <pc:sldMk cId="817385234" sldId="681"/>
            <ac:spMk id="31" creationId="{C7711C5A-6320-E05E-8B07-BBE58418EA08}"/>
          </ac:spMkLst>
        </pc:spChg>
        <pc:spChg chg="add mod">
          <ac:chgData name="Guerrero Quiros, Jesus" userId="9d53007f-80b5-424a-baef-31d811de0396" providerId="ADAL" clId="{AC0C42EC-1194-45C5-866F-783949D593DB}" dt="2024-11-09T11:31:29.367" v="5108" actId="1076"/>
          <ac:spMkLst>
            <pc:docMk/>
            <pc:sldMk cId="817385234" sldId="681"/>
            <ac:spMk id="32" creationId="{6C2F2BAB-B2B5-0FC6-2A73-FC54B174E714}"/>
          </ac:spMkLst>
        </pc:spChg>
        <pc:spChg chg="add mod">
          <ac:chgData name="Guerrero Quiros, Jesus" userId="9d53007f-80b5-424a-baef-31d811de0396" providerId="ADAL" clId="{AC0C42EC-1194-45C5-866F-783949D593DB}" dt="2024-11-09T11:31:29.367" v="5108" actId="1076"/>
          <ac:spMkLst>
            <pc:docMk/>
            <pc:sldMk cId="817385234" sldId="681"/>
            <ac:spMk id="34" creationId="{62BFC3C4-65C3-CBD2-C7FC-DEEC9D1D3288}"/>
          </ac:spMkLst>
        </pc:spChg>
        <pc:spChg chg="add mod">
          <ac:chgData name="Guerrero Quiros, Jesus" userId="9d53007f-80b5-424a-baef-31d811de0396" providerId="ADAL" clId="{AC0C42EC-1194-45C5-866F-783949D593DB}" dt="2024-11-09T11:31:29.367" v="5108" actId="1076"/>
          <ac:spMkLst>
            <pc:docMk/>
            <pc:sldMk cId="817385234" sldId="681"/>
            <ac:spMk id="36" creationId="{68CB92DF-1348-AAC3-4C53-61668E89F497}"/>
          </ac:spMkLst>
        </pc:spChg>
        <pc:spChg chg="add mod">
          <ac:chgData name="Guerrero Quiros, Jesus" userId="9d53007f-80b5-424a-baef-31d811de0396" providerId="ADAL" clId="{AC0C42EC-1194-45C5-866F-783949D593DB}" dt="2024-11-09T11:31:29.367" v="5108" actId="1076"/>
          <ac:spMkLst>
            <pc:docMk/>
            <pc:sldMk cId="817385234" sldId="681"/>
            <ac:spMk id="37" creationId="{37DBE716-8842-39AD-206F-2A5C4D9FBE6D}"/>
          </ac:spMkLst>
        </pc:spChg>
        <pc:spChg chg="add mod">
          <ac:chgData name="Guerrero Quiros, Jesus" userId="9d53007f-80b5-424a-baef-31d811de0396" providerId="ADAL" clId="{AC0C42EC-1194-45C5-866F-783949D593DB}" dt="2024-11-09T11:31:29.367" v="5108" actId="1076"/>
          <ac:spMkLst>
            <pc:docMk/>
            <pc:sldMk cId="817385234" sldId="681"/>
            <ac:spMk id="38" creationId="{142A2884-0B9D-DDB6-F139-FC06C14BE7A2}"/>
          </ac:spMkLst>
        </pc:spChg>
        <pc:spChg chg="add mod">
          <ac:chgData name="Guerrero Quiros, Jesus" userId="9d53007f-80b5-424a-baef-31d811de0396" providerId="ADAL" clId="{AC0C42EC-1194-45C5-866F-783949D593DB}" dt="2024-11-09T11:31:29.367" v="5108" actId="1076"/>
          <ac:spMkLst>
            <pc:docMk/>
            <pc:sldMk cId="817385234" sldId="681"/>
            <ac:spMk id="40" creationId="{4B31FE70-AB34-5C69-195D-8F3209822A78}"/>
          </ac:spMkLst>
        </pc:spChg>
        <pc:spChg chg="add mod">
          <ac:chgData name="Guerrero Quiros, Jesus" userId="9d53007f-80b5-424a-baef-31d811de0396" providerId="ADAL" clId="{AC0C42EC-1194-45C5-866F-783949D593DB}" dt="2024-11-09T11:31:29.367" v="5108" actId="1076"/>
          <ac:spMkLst>
            <pc:docMk/>
            <pc:sldMk cId="817385234" sldId="681"/>
            <ac:spMk id="43" creationId="{098F8AB4-EAF5-204B-3581-0D354A662999}"/>
          </ac:spMkLst>
        </pc:spChg>
        <pc:spChg chg="add mod">
          <ac:chgData name="Guerrero Quiros, Jesus" userId="9d53007f-80b5-424a-baef-31d811de0396" providerId="ADAL" clId="{AC0C42EC-1194-45C5-866F-783949D593DB}" dt="2024-11-09T11:31:29.367" v="5108" actId="1076"/>
          <ac:spMkLst>
            <pc:docMk/>
            <pc:sldMk cId="817385234" sldId="681"/>
            <ac:spMk id="44" creationId="{A83A9ED0-5DE3-068A-5DD3-139ADA2FB54F}"/>
          </ac:spMkLst>
        </pc:spChg>
        <pc:spChg chg="add mod">
          <ac:chgData name="Guerrero Quiros, Jesus" userId="9d53007f-80b5-424a-baef-31d811de0396" providerId="ADAL" clId="{AC0C42EC-1194-45C5-866F-783949D593DB}" dt="2024-11-09T11:31:29.367" v="5108" actId="1076"/>
          <ac:spMkLst>
            <pc:docMk/>
            <pc:sldMk cId="817385234" sldId="681"/>
            <ac:spMk id="45" creationId="{618C8916-4019-A8DA-F958-AE5172A8F5C6}"/>
          </ac:spMkLst>
        </pc:spChg>
        <pc:spChg chg="add mod">
          <ac:chgData name="Guerrero Quiros, Jesus" userId="9d53007f-80b5-424a-baef-31d811de0396" providerId="ADAL" clId="{AC0C42EC-1194-45C5-866F-783949D593DB}" dt="2024-11-09T11:31:29.367" v="5108" actId="1076"/>
          <ac:spMkLst>
            <pc:docMk/>
            <pc:sldMk cId="817385234" sldId="681"/>
            <ac:spMk id="47" creationId="{26CAE4D4-5CEA-05A5-D6E7-15874562AAEE}"/>
          </ac:spMkLst>
        </pc:spChg>
        <pc:spChg chg="add mod">
          <ac:chgData name="Guerrero Quiros, Jesus" userId="9d53007f-80b5-424a-baef-31d811de0396" providerId="ADAL" clId="{AC0C42EC-1194-45C5-866F-783949D593DB}" dt="2024-11-09T11:31:29.367" v="5108" actId="1076"/>
          <ac:spMkLst>
            <pc:docMk/>
            <pc:sldMk cId="817385234" sldId="681"/>
            <ac:spMk id="49" creationId="{6F024D1C-344A-71A5-488A-CC216B193774}"/>
          </ac:spMkLst>
        </pc:spChg>
        <pc:spChg chg="add mod">
          <ac:chgData name="Guerrero Quiros, Jesus" userId="9d53007f-80b5-424a-baef-31d811de0396" providerId="ADAL" clId="{AC0C42EC-1194-45C5-866F-783949D593DB}" dt="2024-11-09T11:34:38.207" v="5161" actId="20577"/>
          <ac:spMkLst>
            <pc:docMk/>
            <pc:sldMk cId="817385234" sldId="681"/>
            <ac:spMk id="50" creationId="{2B782823-C8E2-E494-416D-67821AFE186C}"/>
          </ac:spMkLst>
        </pc:spChg>
        <pc:spChg chg="add mod">
          <ac:chgData name="Guerrero Quiros, Jesus" userId="9d53007f-80b5-424a-baef-31d811de0396" providerId="ADAL" clId="{AC0C42EC-1194-45C5-866F-783949D593DB}" dt="2024-11-09T11:31:29.367" v="5108" actId="1076"/>
          <ac:spMkLst>
            <pc:docMk/>
            <pc:sldMk cId="817385234" sldId="681"/>
            <ac:spMk id="51" creationId="{E006A825-66BC-DEA5-0AC3-83543B68F239}"/>
          </ac:spMkLst>
        </pc:spChg>
        <pc:spChg chg="add mod">
          <ac:chgData name="Guerrero Quiros, Jesus" userId="9d53007f-80b5-424a-baef-31d811de0396" providerId="ADAL" clId="{AC0C42EC-1194-45C5-866F-783949D593DB}" dt="2024-11-09T11:31:29.367" v="5108" actId="1076"/>
          <ac:spMkLst>
            <pc:docMk/>
            <pc:sldMk cId="817385234" sldId="681"/>
            <ac:spMk id="53" creationId="{5B23AA70-5037-C749-8975-9663EDB8690D}"/>
          </ac:spMkLst>
        </pc:spChg>
        <pc:cxnChg chg="add mod">
          <ac:chgData name="Guerrero Quiros, Jesus" userId="9d53007f-80b5-424a-baef-31d811de0396" providerId="ADAL" clId="{AC0C42EC-1194-45C5-866F-783949D593DB}" dt="2024-11-09T11:31:29.367" v="5108" actId="1076"/>
          <ac:cxnSpMkLst>
            <pc:docMk/>
            <pc:sldMk cId="817385234" sldId="681"/>
            <ac:cxnSpMk id="8" creationId="{2E6D187F-0154-3193-D3F7-157CC9D3314E}"/>
          </ac:cxnSpMkLst>
        </pc:cxnChg>
        <pc:cxnChg chg="add mod">
          <ac:chgData name="Guerrero Quiros, Jesus" userId="9d53007f-80b5-424a-baef-31d811de0396" providerId="ADAL" clId="{AC0C42EC-1194-45C5-866F-783949D593DB}" dt="2024-11-09T11:31:29.367" v="5108" actId="1076"/>
          <ac:cxnSpMkLst>
            <pc:docMk/>
            <pc:sldMk cId="817385234" sldId="681"/>
            <ac:cxnSpMk id="27" creationId="{EA3DBA9B-3A9D-2089-8613-B6AE97A71A76}"/>
          </ac:cxnSpMkLst>
        </pc:cxnChg>
        <pc:cxnChg chg="add mod">
          <ac:chgData name="Guerrero Quiros, Jesus" userId="9d53007f-80b5-424a-baef-31d811de0396" providerId="ADAL" clId="{AC0C42EC-1194-45C5-866F-783949D593DB}" dt="2024-11-09T11:31:29.367" v="5108" actId="1076"/>
          <ac:cxnSpMkLst>
            <pc:docMk/>
            <pc:sldMk cId="817385234" sldId="681"/>
            <ac:cxnSpMk id="33" creationId="{A078EE51-7667-A5D1-4244-24A26525DAE2}"/>
          </ac:cxnSpMkLst>
        </pc:cxnChg>
        <pc:cxnChg chg="add mod">
          <ac:chgData name="Guerrero Quiros, Jesus" userId="9d53007f-80b5-424a-baef-31d811de0396" providerId="ADAL" clId="{AC0C42EC-1194-45C5-866F-783949D593DB}" dt="2024-11-09T11:31:29.367" v="5108" actId="1076"/>
          <ac:cxnSpMkLst>
            <pc:docMk/>
            <pc:sldMk cId="817385234" sldId="681"/>
            <ac:cxnSpMk id="39" creationId="{75B76369-6A2C-988C-0705-E6CC1CF20D9D}"/>
          </ac:cxnSpMkLst>
        </pc:cxnChg>
        <pc:cxnChg chg="add mod">
          <ac:chgData name="Guerrero Quiros, Jesus" userId="9d53007f-80b5-424a-baef-31d811de0396" providerId="ADAL" clId="{AC0C42EC-1194-45C5-866F-783949D593DB}" dt="2024-11-09T11:31:29.367" v="5108" actId="1076"/>
          <ac:cxnSpMkLst>
            <pc:docMk/>
            <pc:sldMk cId="817385234" sldId="681"/>
            <ac:cxnSpMk id="46" creationId="{5ABF9D9E-32A5-8A28-9ADB-6F3CF98FF65D}"/>
          </ac:cxnSpMkLst>
        </pc:cxnChg>
        <pc:cxnChg chg="add mod">
          <ac:chgData name="Guerrero Quiros, Jesus" userId="9d53007f-80b5-424a-baef-31d811de0396" providerId="ADAL" clId="{AC0C42EC-1194-45C5-866F-783949D593DB}" dt="2024-11-09T11:31:29.367" v="5108" actId="1076"/>
          <ac:cxnSpMkLst>
            <pc:docMk/>
            <pc:sldMk cId="817385234" sldId="681"/>
            <ac:cxnSpMk id="52" creationId="{547ECE5C-0B58-FA55-BC5F-A47D5283469E}"/>
          </ac:cxnSpMkLst>
        </pc:cxnChg>
      </pc:sldChg>
      <pc:sldChg chg="addSp delSp modSp add mod">
        <pc:chgData name="Guerrero Quiros, Jesus" userId="9d53007f-80b5-424a-baef-31d811de0396" providerId="ADAL" clId="{AC0C42EC-1194-45C5-866F-783949D593DB}" dt="2024-11-09T23:55:45.998" v="11322" actId="20577"/>
        <pc:sldMkLst>
          <pc:docMk/>
          <pc:sldMk cId="2571070911" sldId="682"/>
        </pc:sldMkLst>
        <pc:spChg chg="add mod">
          <ac:chgData name="Guerrero Quiros, Jesus" userId="9d53007f-80b5-424a-baef-31d811de0396" providerId="ADAL" clId="{AC0C42EC-1194-45C5-866F-783949D593DB}" dt="2024-11-09T11:35:19.130" v="5181" actId="14100"/>
          <ac:spMkLst>
            <pc:docMk/>
            <pc:sldMk cId="2571070911" sldId="682"/>
            <ac:spMk id="3" creationId="{4EB648F4-5431-759B-5A90-E4FA12CC72B6}"/>
          </ac:spMkLst>
        </pc:spChg>
        <pc:spChg chg="add mod">
          <ac:chgData name="Guerrero Quiros, Jesus" userId="9d53007f-80b5-424a-baef-31d811de0396" providerId="ADAL" clId="{AC0C42EC-1194-45C5-866F-783949D593DB}" dt="2024-11-09T21:31:25.234" v="5529" actId="1037"/>
          <ac:spMkLst>
            <pc:docMk/>
            <pc:sldMk cId="2571070911" sldId="682"/>
            <ac:spMk id="4" creationId="{85C2FE52-2D49-78CE-2595-91D51AE58992}"/>
          </ac:spMkLst>
        </pc:spChg>
        <pc:spChg chg="add mod">
          <ac:chgData name="Guerrero Quiros, Jesus" userId="9d53007f-80b5-424a-baef-31d811de0396" providerId="ADAL" clId="{AC0C42EC-1194-45C5-866F-783949D593DB}" dt="2024-11-09T11:59:38.705" v="5372" actId="1035"/>
          <ac:spMkLst>
            <pc:docMk/>
            <pc:sldMk cId="2571070911" sldId="682"/>
            <ac:spMk id="7" creationId="{991258D8-3C11-589D-9BB1-64BE260DE6C0}"/>
          </ac:spMkLst>
        </pc:spChg>
        <pc:spChg chg="add mod">
          <ac:chgData name="Guerrero Quiros, Jesus" userId="9d53007f-80b5-424a-baef-31d811de0396" providerId="ADAL" clId="{AC0C42EC-1194-45C5-866F-783949D593DB}" dt="2024-11-09T21:31:25.234" v="5529" actId="1037"/>
          <ac:spMkLst>
            <pc:docMk/>
            <pc:sldMk cId="2571070911" sldId="682"/>
            <ac:spMk id="9" creationId="{8A417283-C740-9149-BE70-4FE505FDD673}"/>
          </ac:spMkLst>
        </pc:spChg>
        <pc:spChg chg="add mod">
          <ac:chgData name="Guerrero Quiros, Jesus" userId="9d53007f-80b5-424a-baef-31d811de0396" providerId="ADAL" clId="{AC0C42EC-1194-45C5-866F-783949D593DB}" dt="2024-11-09T21:31:25.234" v="5529" actId="1037"/>
          <ac:spMkLst>
            <pc:docMk/>
            <pc:sldMk cId="2571070911" sldId="682"/>
            <ac:spMk id="12" creationId="{C4C34D4B-D165-985E-67D5-E8FDDDEBA8FB}"/>
          </ac:spMkLst>
        </pc:spChg>
        <pc:spChg chg="mod">
          <ac:chgData name="Guerrero Quiros, Jesus" userId="9d53007f-80b5-424a-baef-31d811de0396" providerId="ADAL" clId="{AC0C42EC-1194-45C5-866F-783949D593DB}" dt="2024-11-09T21:31:11.311" v="5472" actId="14100"/>
          <ac:spMkLst>
            <pc:docMk/>
            <pc:sldMk cId="2571070911" sldId="682"/>
            <ac:spMk id="13" creationId="{62AFD390-8BC9-422E-9C8D-56452AE8D56A}"/>
          </ac:spMkLst>
        </pc:spChg>
        <pc:spChg chg="add mod">
          <ac:chgData name="Guerrero Quiros, Jesus" userId="9d53007f-80b5-424a-baef-31d811de0396" providerId="ADAL" clId="{AC0C42EC-1194-45C5-866F-783949D593DB}" dt="2024-11-09T21:31:25.234" v="5529" actId="1037"/>
          <ac:spMkLst>
            <pc:docMk/>
            <pc:sldMk cId="2571070911" sldId="682"/>
            <ac:spMk id="14" creationId="{BB0D9E79-FA50-EF91-06ED-FA4C4501BB26}"/>
          </ac:spMkLst>
        </pc:spChg>
        <pc:spChg chg="add mod">
          <ac:chgData name="Guerrero Quiros, Jesus" userId="9d53007f-80b5-424a-baef-31d811de0396" providerId="ADAL" clId="{AC0C42EC-1194-45C5-866F-783949D593DB}" dt="2024-11-09T21:31:25.234" v="5529" actId="1037"/>
          <ac:spMkLst>
            <pc:docMk/>
            <pc:sldMk cId="2571070911" sldId="682"/>
            <ac:spMk id="16" creationId="{A1DFE999-4B57-455A-340A-87DA977C1E2F}"/>
          </ac:spMkLst>
        </pc:spChg>
        <pc:spChg chg="add mod">
          <ac:chgData name="Guerrero Quiros, Jesus" userId="9d53007f-80b5-424a-baef-31d811de0396" providerId="ADAL" clId="{AC0C42EC-1194-45C5-866F-783949D593DB}" dt="2024-11-09T21:31:25.234" v="5529" actId="1037"/>
          <ac:spMkLst>
            <pc:docMk/>
            <pc:sldMk cId="2571070911" sldId="682"/>
            <ac:spMk id="18" creationId="{D7715CF8-47BE-B838-4918-51C2B548F4AB}"/>
          </ac:spMkLst>
        </pc:spChg>
        <pc:spChg chg="add mod">
          <ac:chgData name="Guerrero Quiros, Jesus" userId="9d53007f-80b5-424a-baef-31d811de0396" providerId="ADAL" clId="{AC0C42EC-1194-45C5-866F-783949D593DB}" dt="2024-11-09T21:31:25.234" v="5529" actId="1037"/>
          <ac:spMkLst>
            <pc:docMk/>
            <pc:sldMk cId="2571070911" sldId="682"/>
            <ac:spMk id="21" creationId="{8044E609-4694-941C-7D90-ADC17EC5CD6A}"/>
          </ac:spMkLst>
        </pc:spChg>
        <pc:spChg chg="add mod">
          <ac:chgData name="Guerrero Quiros, Jesus" userId="9d53007f-80b5-424a-baef-31d811de0396" providerId="ADAL" clId="{AC0C42EC-1194-45C5-866F-783949D593DB}" dt="2024-11-09T21:31:44.639" v="5531" actId="1038"/>
          <ac:spMkLst>
            <pc:docMk/>
            <pc:sldMk cId="2571070911" sldId="682"/>
            <ac:spMk id="22" creationId="{D693AE32-B9F1-D094-B9F6-6955EF272A6D}"/>
          </ac:spMkLst>
        </pc:spChg>
        <pc:spChg chg="add mod">
          <ac:chgData name="Guerrero Quiros, Jesus" userId="9d53007f-80b5-424a-baef-31d811de0396" providerId="ADAL" clId="{AC0C42EC-1194-45C5-866F-783949D593DB}" dt="2024-11-09T23:55:45.998" v="11322" actId="20577"/>
          <ac:spMkLst>
            <pc:docMk/>
            <pc:sldMk cId="2571070911" sldId="682"/>
            <ac:spMk id="23" creationId="{3A3D65D0-A096-DC02-1E0D-1F30A8D34BFB}"/>
          </ac:spMkLst>
        </pc:spChg>
        <pc:spChg chg="add mod">
          <ac:chgData name="Guerrero Quiros, Jesus" userId="9d53007f-80b5-424a-baef-31d811de0396" providerId="ADAL" clId="{AC0C42EC-1194-45C5-866F-783949D593DB}" dt="2024-11-09T21:32:16.863" v="5541" actId="20577"/>
          <ac:spMkLst>
            <pc:docMk/>
            <pc:sldMk cId="2571070911" sldId="682"/>
            <ac:spMk id="27" creationId="{42AD5A6B-F748-5A94-38CB-69D2D8F7BF42}"/>
          </ac:spMkLst>
        </pc:spChg>
        <pc:picChg chg="add mod">
          <ac:chgData name="Guerrero Quiros, Jesus" userId="9d53007f-80b5-424a-baef-31d811de0396" providerId="ADAL" clId="{AC0C42EC-1194-45C5-866F-783949D593DB}" dt="2024-11-09T21:31:25.234" v="5529" actId="1037"/>
          <ac:picMkLst>
            <pc:docMk/>
            <pc:sldMk cId="2571070911" sldId="682"/>
            <ac:picMk id="11" creationId="{8F162699-09F5-D765-3862-0352C3FABBCF}"/>
          </ac:picMkLst>
        </pc:picChg>
        <pc:picChg chg="add mod">
          <ac:chgData name="Guerrero Quiros, Jesus" userId="9d53007f-80b5-424a-baef-31d811de0396" providerId="ADAL" clId="{AC0C42EC-1194-45C5-866F-783949D593DB}" dt="2024-11-09T21:31:25.234" v="5529" actId="1037"/>
          <ac:picMkLst>
            <pc:docMk/>
            <pc:sldMk cId="2571070911" sldId="682"/>
            <ac:picMk id="20" creationId="{6D9474C8-A2BF-16E1-791F-27740173A52E}"/>
          </ac:picMkLst>
        </pc:picChg>
        <pc:picChg chg="add mod">
          <ac:chgData name="Guerrero Quiros, Jesus" userId="9d53007f-80b5-424a-baef-31d811de0396" providerId="ADAL" clId="{AC0C42EC-1194-45C5-866F-783949D593DB}" dt="2024-11-09T21:31:56.993" v="5533" actId="1038"/>
          <ac:picMkLst>
            <pc:docMk/>
            <pc:sldMk cId="2571070911" sldId="682"/>
            <ac:picMk id="26" creationId="{8234AEA4-9022-B248-1F55-D2D415DCE563}"/>
          </ac:picMkLst>
        </pc:picChg>
      </pc:sldChg>
      <pc:sldChg chg="addSp delSp modSp add mod">
        <pc:chgData name="Guerrero Quiros, Jesus" userId="9d53007f-80b5-424a-baef-31d811de0396" providerId="ADAL" clId="{AC0C42EC-1194-45C5-866F-783949D593DB}" dt="2024-11-09T21:39:13.797" v="5609" actId="1035"/>
        <pc:sldMkLst>
          <pc:docMk/>
          <pc:sldMk cId="4260135940" sldId="683"/>
        </pc:sldMkLst>
        <pc:spChg chg="add mod">
          <ac:chgData name="Guerrero Quiros, Jesus" userId="9d53007f-80b5-424a-baef-31d811de0396" providerId="ADAL" clId="{AC0C42EC-1194-45C5-866F-783949D593DB}" dt="2024-11-09T21:33:40.373" v="5568" actId="14100"/>
          <ac:spMkLst>
            <pc:docMk/>
            <pc:sldMk cId="4260135940" sldId="683"/>
            <ac:spMk id="3" creationId="{8B0DBCE2-1234-4D8C-2E3F-FF08598902D2}"/>
          </ac:spMkLst>
        </pc:spChg>
        <pc:spChg chg="mod">
          <ac:chgData name="Guerrero Quiros, Jesus" userId="9d53007f-80b5-424a-baef-31d811de0396" providerId="ADAL" clId="{AC0C42EC-1194-45C5-866F-783949D593DB}" dt="2024-11-09T21:39:01.882" v="5595" actId="12"/>
          <ac:spMkLst>
            <pc:docMk/>
            <pc:sldMk cId="4260135940" sldId="683"/>
            <ac:spMk id="13" creationId="{62AFD390-8BC9-422E-9C8D-56452AE8D56A}"/>
          </ac:spMkLst>
        </pc:spChg>
        <pc:spChg chg="mod">
          <ac:chgData name="Guerrero Quiros, Jesus" userId="9d53007f-80b5-424a-baef-31d811de0396" providerId="ADAL" clId="{AC0C42EC-1194-45C5-866F-783949D593DB}" dt="2024-11-09T21:39:13.797" v="5609" actId="1035"/>
          <ac:spMkLst>
            <pc:docMk/>
            <pc:sldMk cId="4260135940" sldId="683"/>
            <ac:spMk id="14" creationId="{8B57BB76-DFF5-469B-AD73-300E925C0774}"/>
          </ac:spMkLst>
        </pc:spChg>
        <pc:spChg chg="mod">
          <ac:chgData name="Guerrero Quiros, Jesus" userId="9d53007f-80b5-424a-baef-31d811de0396" providerId="ADAL" clId="{AC0C42EC-1194-45C5-866F-783949D593DB}" dt="2024-11-09T21:39:13.797" v="5609" actId="1035"/>
          <ac:spMkLst>
            <pc:docMk/>
            <pc:sldMk cId="4260135940" sldId="683"/>
            <ac:spMk id="16" creationId="{C6FC1469-1394-49EC-B184-8D42324450F4}"/>
          </ac:spMkLst>
        </pc:spChg>
        <pc:spChg chg="mod">
          <ac:chgData name="Guerrero Quiros, Jesus" userId="9d53007f-80b5-424a-baef-31d811de0396" providerId="ADAL" clId="{AC0C42EC-1194-45C5-866F-783949D593DB}" dt="2024-11-09T21:39:13.797" v="5609" actId="1035"/>
          <ac:spMkLst>
            <pc:docMk/>
            <pc:sldMk cId="4260135940" sldId="683"/>
            <ac:spMk id="17" creationId="{2F920AA5-0D7A-4D74-ADBE-DCB1CDD2D510}"/>
          </ac:spMkLst>
        </pc:spChg>
        <pc:spChg chg="mod">
          <ac:chgData name="Guerrero Quiros, Jesus" userId="9d53007f-80b5-424a-baef-31d811de0396" providerId="ADAL" clId="{AC0C42EC-1194-45C5-866F-783949D593DB}" dt="2024-11-09T21:39:13.797" v="5609" actId="1035"/>
          <ac:spMkLst>
            <pc:docMk/>
            <pc:sldMk cId="4260135940" sldId="683"/>
            <ac:spMk id="18" creationId="{B024674D-1405-455B-BA46-FFBF0856E46D}"/>
          </ac:spMkLst>
        </pc:spChg>
        <pc:spChg chg="mod">
          <ac:chgData name="Guerrero Quiros, Jesus" userId="9d53007f-80b5-424a-baef-31d811de0396" providerId="ADAL" clId="{AC0C42EC-1194-45C5-866F-783949D593DB}" dt="2024-11-09T21:39:13.797" v="5609" actId="1035"/>
          <ac:spMkLst>
            <pc:docMk/>
            <pc:sldMk cId="4260135940" sldId="683"/>
            <ac:spMk id="21" creationId="{2D188E36-4B57-490A-BFF3-EA8FBF5E009E}"/>
          </ac:spMkLst>
        </pc:spChg>
        <pc:spChg chg="mod">
          <ac:chgData name="Guerrero Quiros, Jesus" userId="9d53007f-80b5-424a-baef-31d811de0396" providerId="ADAL" clId="{AC0C42EC-1194-45C5-866F-783949D593DB}" dt="2024-11-09T21:39:13.797" v="5609" actId="1035"/>
          <ac:spMkLst>
            <pc:docMk/>
            <pc:sldMk cId="4260135940" sldId="683"/>
            <ac:spMk id="22" creationId="{19A83140-44D4-4D7B-9FFA-3DE14DF3B65A}"/>
          </ac:spMkLst>
        </pc:spChg>
        <pc:spChg chg="mod">
          <ac:chgData name="Guerrero Quiros, Jesus" userId="9d53007f-80b5-424a-baef-31d811de0396" providerId="ADAL" clId="{AC0C42EC-1194-45C5-866F-783949D593DB}" dt="2024-11-09T21:39:13.797" v="5609" actId="1035"/>
          <ac:spMkLst>
            <pc:docMk/>
            <pc:sldMk cId="4260135940" sldId="683"/>
            <ac:spMk id="23" creationId="{BF167EA4-1684-47A4-8F98-D479E05DD31E}"/>
          </ac:spMkLst>
        </pc:spChg>
        <pc:spChg chg="mod">
          <ac:chgData name="Guerrero Quiros, Jesus" userId="9d53007f-80b5-424a-baef-31d811de0396" providerId="ADAL" clId="{AC0C42EC-1194-45C5-866F-783949D593DB}" dt="2024-11-09T21:39:13.797" v="5609" actId="1035"/>
          <ac:spMkLst>
            <pc:docMk/>
            <pc:sldMk cId="4260135940" sldId="683"/>
            <ac:spMk id="24" creationId="{51605C13-5A7A-439A-9F78-CF763F09C130}"/>
          </ac:spMkLst>
        </pc:spChg>
        <pc:spChg chg="mod">
          <ac:chgData name="Guerrero Quiros, Jesus" userId="9d53007f-80b5-424a-baef-31d811de0396" providerId="ADAL" clId="{AC0C42EC-1194-45C5-866F-783949D593DB}" dt="2024-11-09T21:39:13.797" v="5609" actId="1035"/>
          <ac:spMkLst>
            <pc:docMk/>
            <pc:sldMk cId="4260135940" sldId="683"/>
            <ac:spMk id="25" creationId="{1A5223CF-98CF-4307-981B-22F493AB2909}"/>
          </ac:spMkLst>
        </pc:spChg>
        <pc:spChg chg="mod">
          <ac:chgData name="Guerrero Quiros, Jesus" userId="9d53007f-80b5-424a-baef-31d811de0396" providerId="ADAL" clId="{AC0C42EC-1194-45C5-866F-783949D593DB}" dt="2024-11-09T21:39:13.797" v="5609" actId="1035"/>
          <ac:spMkLst>
            <pc:docMk/>
            <pc:sldMk cId="4260135940" sldId="683"/>
            <ac:spMk id="26" creationId="{1D2A4C17-FA0A-4C84-90A8-F0F69C370458}"/>
          </ac:spMkLst>
        </pc:spChg>
        <pc:spChg chg="mod">
          <ac:chgData name="Guerrero Quiros, Jesus" userId="9d53007f-80b5-424a-baef-31d811de0396" providerId="ADAL" clId="{AC0C42EC-1194-45C5-866F-783949D593DB}" dt="2024-11-09T21:39:13.797" v="5609" actId="1035"/>
          <ac:spMkLst>
            <pc:docMk/>
            <pc:sldMk cId="4260135940" sldId="683"/>
            <ac:spMk id="27" creationId="{872EE026-1BD7-4401-8095-EF703A8CA7BE}"/>
          </ac:spMkLst>
        </pc:spChg>
        <pc:spChg chg="mod">
          <ac:chgData name="Guerrero Quiros, Jesus" userId="9d53007f-80b5-424a-baef-31d811de0396" providerId="ADAL" clId="{AC0C42EC-1194-45C5-866F-783949D593DB}" dt="2024-11-09T21:39:13.797" v="5609" actId="1035"/>
          <ac:spMkLst>
            <pc:docMk/>
            <pc:sldMk cId="4260135940" sldId="683"/>
            <ac:spMk id="29" creationId="{BE75AAE6-6957-4866-8DB3-14CBD45176DC}"/>
          </ac:spMkLst>
        </pc:spChg>
      </pc:sldChg>
      <pc:sldChg chg="addSp delSp modSp add mod">
        <pc:chgData name="Guerrero Quiros, Jesus" userId="9d53007f-80b5-424a-baef-31d811de0396" providerId="ADAL" clId="{AC0C42EC-1194-45C5-866F-783949D593DB}" dt="2024-11-09T22:22:44.387" v="6642" actId="208"/>
        <pc:sldMkLst>
          <pc:docMk/>
          <pc:sldMk cId="284699068" sldId="684"/>
        </pc:sldMkLst>
        <pc:spChg chg="add mod">
          <ac:chgData name="Guerrero Quiros, Jesus" userId="9d53007f-80b5-424a-baef-31d811de0396" providerId="ADAL" clId="{AC0C42EC-1194-45C5-866F-783949D593DB}" dt="2024-11-09T21:50:40.660" v="5613"/>
          <ac:spMkLst>
            <pc:docMk/>
            <pc:sldMk cId="284699068" sldId="684"/>
            <ac:spMk id="3" creationId="{0C803437-D1C4-8B34-AAFD-E8F4F53E23F3}"/>
          </ac:spMkLst>
        </pc:spChg>
        <pc:spChg chg="add mod">
          <ac:chgData name="Guerrero Quiros, Jesus" userId="9d53007f-80b5-424a-baef-31d811de0396" providerId="ADAL" clId="{AC0C42EC-1194-45C5-866F-783949D593DB}" dt="2024-11-09T22:14:45.652" v="6348" actId="14100"/>
          <ac:spMkLst>
            <pc:docMk/>
            <pc:sldMk cId="284699068" sldId="684"/>
            <ac:spMk id="7" creationId="{3F0DD43B-B56D-25CB-BF1B-A956873BA813}"/>
          </ac:spMkLst>
        </pc:spChg>
        <pc:spChg chg="add mod">
          <ac:chgData name="Guerrero Quiros, Jesus" userId="9d53007f-80b5-424a-baef-31d811de0396" providerId="ADAL" clId="{AC0C42EC-1194-45C5-866F-783949D593DB}" dt="2024-11-09T22:04:04.597" v="6301" actId="14100"/>
          <ac:spMkLst>
            <pc:docMk/>
            <pc:sldMk cId="284699068" sldId="684"/>
            <ac:spMk id="12" creationId="{0004C614-A931-BB1E-9835-82DA2E1D0F4E}"/>
          </ac:spMkLst>
        </pc:spChg>
        <pc:spChg chg="add mod">
          <ac:chgData name="Guerrero Quiros, Jesus" userId="9d53007f-80b5-424a-baef-31d811de0396" providerId="ADAL" clId="{AC0C42EC-1194-45C5-866F-783949D593DB}" dt="2024-11-09T22:03:13.594" v="6292" actId="1076"/>
          <ac:spMkLst>
            <pc:docMk/>
            <pc:sldMk cId="284699068" sldId="684"/>
            <ac:spMk id="16" creationId="{4F2E8353-9C29-581D-6B02-9CFEEF7FDC16}"/>
          </ac:spMkLst>
        </pc:spChg>
        <pc:spChg chg="add mod">
          <ac:chgData name="Guerrero Quiros, Jesus" userId="9d53007f-80b5-424a-baef-31d811de0396" providerId="ADAL" clId="{AC0C42EC-1194-45C5-866F-783949D593DB}" dt="2024-11-09T22:22:44.387" v="6642" actId="208"/>
          <ac:spMkLst>
            <pc:docMk/>
            <pc:sldMk cId="284699068" sldId="684"/>
            <ac:spMk id="17" creationId="{B3E979ED-E54D-157E-9955-B0D869544672}"/>
          </ac:spMkLst>
        </pc:spChg>
        <pc:spChg chg="add mod">
          <ac:chgData name="Guerrero Quiros, Jesus" userId="9d53007f-80b5-424a-baef-31d811de0396" providerId="ADAL" clId="{AC0C42EC-1194-45C5-866F-783949D593DB}" dt="2024-11-09T22:22:44.387" v="6642" actId="208"/>
          <ac:spMkLst>
            <pc:docMk/>
            <pc:sldMk cId="284699068" sldId="684"/>
            <ac:spMk id="18" creationId="{7FAC2516-4CA2-35AB-1C12-C809E97F0405}"/>
          </ac:spMkLst>
        </pc:spChg>
        <pc:spChg chg="add mod">
          <ac:chgData name="Guerrero Quiros, Jesus" userId="9d53007f-80b5-424a-baef-31d811de0396" providerId="ADAL" clId="{AC0C42EC-1194-45C5-866F-783949D593DB}" dt="2024-11-09T22:21:30.705" v="6639" actId="20577"/>
          <ac:spMkLst>
            <pc:docMk/>
            <pc:sldMk cId="284699068" sldId="684"/>
            <ac:spMk id="22" creationId="{A8F5CB17-33F9-D61D-1F15-0C4AD46C18DB}"/>
          </ac:spMkLst>
        </pc:spChg>
        <pc:picChg chg="add mod ord">
          <ac:chgData name="Guerrero Quiros, Jesus" userId="9d53007f-80b5-424a-baef-31d811de0396" providerId="ADAL" clId="{AC0C42EC-1194-45C5-866F-783949D593DB}" dt="2024-11-09T22:03:13.594" v="6292" actId="1076"/>
          <ac:picMkLst>
            <pc:docMk/>
            <pc:sldMk cId="284699068" sldId="684"/>
            <ac:picMk id="5" creationId="{F7FB6F28-E41D-DB51-1E31-0C5EB9D83344}"/>
          </ac:picMkLst>
        </pc:picChg>
        <pc:picChg chg="add mod">
          <ac:chgData name="Guerrero Quiros, Jesus" userId="9d53007f-80b5-424a-baef-31d811de0396" providerId="ADAL" clId="{AC0C42EC-1194-45C5-866F-783949D593DB}" dt="2024-11-09T22:22:37.748" v="6641" actId="207"/>
          <ac:picMkLst>
            <pc:docMk/>
            <pc:sldMk cId="284699068" sldId="684"/>
            <ac:picMk id="21" creationId="{9239AFD1-83A9-381A-979E-7B3B52564C4A}"/>
          </ac:picMkLst>
        </pc:picChg>
      </pc:sldChg>
      <pc:sldChg chg="addSp delSp modSp add mod">
        <pc:chgData name="Guerrero Quiros, Jesus" userId="9d53007f-80b5-424a-baef-31d811de0396" providerId="ADAL" clId="{AC0C42EC-1194-45C5-866F-783949D593DB}" dt="2024-11-10T10:45:23.924" v="11352" actId="1036"/>
        <pc:sldMkLst>
          <pc:docMk/>
          <pc:sldMk cId="688820247" sldId="685"/>
        </pc:sldMkLst>
        <pc:spChg chg="add mod">
          <ac:chgData name="Guerrero Quiros, Jesus" userId="9d53007f-80b5-424a-baef-31d811de0396" providerId="ADAL" clId="{AC0C42EC-1194-45C5-866F-783949D593DB}" dt="2024-11-09T22:23:18.465" v="6689" actId="14100"/>
          <ac:spMkLst>
            <pc:docMk/>
            <pc:sldMk cId="688820247" sldId="685"/>
            <ac:spMk id="3" creationId="{240E4BEB-B94C-1D23-0029-4D1AE11B78AD}"/>
          </ac:spMkLst>
        </pc:spChg>
        <pc:spChg chg="add mod">
          <ac:chgData name="Guerrero Quiros, Jesus" userId="9d53007f-80b5-424a-baef-31d811de0396" providerId="ADAL" clId="{AC0C42EC-1194-45C5-866F-783949D593DB}" dt="2024-11-10T10:45:23.924" v="11352" actId="1036"/>
          <ac:spMkLst>
            <pc:docMk/>
            <pc:sldMk cId="688820247" sldId="685"/>
            <ac:spMk id="4" creationId="{F2EBBFD0-557D-5EC0-B228-46AAD85BAEE6}"/>
          </ac:spMkLst>
        </pc:spChg>
        <pc:spChg chg="add mod">
          <ac:chgData name="Guerrero Quiros, Jesus" userId="9d53007f-80b5-424a-baef-31d811de0396" providerId="ADAL" clId="{AC0C42EC-1194-45C5-866F-783949D593DB}" dt="2024-11-09T22:39:54.405" v="7203" actId="14100"/>
          <ac:spMkLst>
            <pc:docMk/>
            <pc:sldMk cId="688820247" sldId="685"/>
            <ac:spMk id="5" creationId="{0CBB0309-6DA1-8527-DDCF-41165D187E85}"/>
          </ac:spMkLst>
        </pc:spChg>
        <pc:spChg chg="add mod">
          <ac:chgData name="Guerrero Quiros, Jesus" userId="9d53007f-80b5-424a-baef-31d811de0396" providerId="ADAL" clId="{AC0C42EC-1194-45C5-866F-783949D593DB}" dt="2024-11-09T22:40:02.356" v="7209" actId="1035"/>
          <ac:spMkLst>
            <pc:docMk/>
            <pc:sldMk cId="688820247" sldId="685"/>
            <ac:spMk id="7" creationId="{8B8FAAFD-D4DB-7F71-7379-AA5801F0749D}"/>
          </ac:spMkLst>
        </pc:spChg>
        <pc:spChg chg="mod">
          <ac:chgData name="Guerrero Quiros, Jesus" userId="9d53007f-80b5-424a-baef-31d811de0396" providerId="ADAL" clId="{AC0C42EC-1194-45C5-866F-783949D593DB}" dt="2024-11-09T22:32:26.598" v="6845" actId="2710"/>
          <ac:spMkLst>
            <pc:docMk/>
            <pc:sldMk cId="688820247" sldId="685"/>
            <ac:spMk id="30" creationId="{AB9DE26F-DC7E-4569-9118-90461BDA080D}"/>
          </ac:spMkLst>
        </pc:spChg>
      </pc:sldChg>
      <pc:sldChg chg="modSp add mod">
        <pc:chgData name="Guerrero Quiros, Jesus" userId="9d53007f-80b5-424a-baef-31d811de0396" providerId="ADAL" clId="{AC0C42EC-1194-45C5-866F-783949D593DB}" dt="2024-11-09T22:48:05.523" v="7765" actId="20577"/>
        <pc:sldMkLst>
          <pc:docMk/>
          <pc:sldMk cId="3745130605" sldId="686"/>
        </pc:sldMkLst>
        <pc:spChg chg="mod">
          <ac:chgData name="Guerrero Quiros, Jesus" userId="9d53007f-80b5-424a-baef-31d811de0396" providerId="ADAL" clId="{AC0C42EC-1194-45C5-866F-783949D593DB}" dt="2024-11-09T22:45:59.616" v="7727" actId="1076"/>
          <ac:spMkLst>
            <pc:docMk/>
            <pc:sldMk cId="3745130605" sldId="686"/>
            <ac:spMk id="4" creationId="{F2EBBFD0-557D-5EC0-B228-46AAD85BAEE6}"/>
          </ac:spMkLst>
        </pc:spChg>
        <pc:spChg chg="mod">
          <ac:chgData name="Guerrero Quiros, Jesus" userId="9d53007f-80b5-424a-baef-31d811de0396" providerId="ADAL" clId="{AC0C42EC-1194-45C5-866F-783949D593DB}" dt="2024-11-09T22:45:57.540" v="7726" actId="14100"/>
          <ac:spMkLst>
            <pc:docMk/>
            <pc:sldMk cId="3745130605" sldId="686"/>
            <ac:spMk id="5" creationId="{0CBB0309-6DA1-8527-DDCF-41165D187E85}"/>
          </ac:spMkLst>
        </pc:spChg>
        <pc:spChg chg="mod">
          <ac:chgData name="Guerrero Quiros, Jesus" userId="9d53007f-80b5-424a-baef-31d811de0396" providerId="ADAL" clId="{AC0C42EC-1194-45C5-866F-783949D593DB}" dt="2024-11-09T22:48:05.523" v="7765" actId="20577"/>
          <ac:spMkLst>
            <pc:docMk/>
            <pc:sldMk cId="3745130605" sldId="686"/>
            <ac:spMk id="7" creationId="{8B8FAAFD-D4DB-7F71-7379-AA5801F0749D}"/>
          </ac:spMkLst>
        </pc:spChg>
        <pc:spChg chg="mod">
          <ac:chgData name="Guerrero Quiros, Jesus" userId="9d53007f-80b5-424a-baef-31d811de0396" providerId="ADAL" clId="{AC0C42EC-1194-45C5-866F-783949D593DB}" dt="2024-11-09T22:43:48.092" v="7355" actId="20577"/>
          <ac:spMkLst>
            <pc:docMk/>
            <pc:sldMk cId="3745130605" sldId="686"/>
            <ac:spMk id="30" creationId="{AB9DE26F-DC7E-4569-9118-90461BDA080D}"/>
          </ac:spMkLst>
        </pc:spChg>
      </pc:sldChg>
      <pc:sldChg chg="delSp modSp add mod">
        <pc:chgData name="Guerrero Quiros, Jesus" userId="9d53007f-80b5-424a-baef-31d811de0396" providerId="ADAL" clId="{AC0C42EC-1194-45C5-866F-783949D593DB}" dt="2024-11-09T22:55:36.131" v="8173" actId="113"/>
        <pc:sldMkLst>
          <pc:docMk/>
          <pc:sldMk cId="4211314323" sldId="687"/>
        </pc:sldMkLst>
        <pc:spChg chg="mod">
          <ac:chgData name="Guerrero Quiros, Jesus" userId="9d53007f-80b5-424a-baef-31d811de0396" providerId="ADAL" clId="{AC0C42EC-1194-45C5-866F-783949D593DB}" dt="2024-11-09T22:55:36.131" v="8173" actId="113"/>
          <ac:spMkLst>
            <pc:docMk/>
            <pc:sldMk cId="4211314323" sldId="687"/>
            <ac:spMk id="7" creationId="{8B8FAAFD-D4DB-7F71-7379-AA5801F0749D}"/>
          </ac:spMkLst>
        </pc:spChg>
        <pc:spChg chg="mod">
          <ac:chgData name="Guerrero Quiros, Jesus" userId="9d53007f-80b5-424a-baef-31d811de0396" providerId="ADAL" clId="{AC0C42EC-1194-45C5-866F-783949D593DB}" dt="2024-11-09T22:51:23.401" v="7814" actId="20577"/>
          <ac:spMkLst>
            <pc:docMk/>
            <pc:sldMk cId="4211314323" sldId="687"/>
            <ac:spMk id="30" creationId="{AB9DE26F-DC7E-4569-9118-90461BDA080D}"/>
          </ac:spMkLst>
        </pc:spChg>
      </pc:sldChg>
      <pc:sldChg chg="addSp delSp modSp add mod">
        <pc:chgData name="Guerrero Quiros, Jesus" userId="9d53007f-80b5-424a-baef-31d811de0396" providerId="ADAL" clId="{AC0C42EC-1194-45C5-866F-783949D593DB}" dt="2024-11-09T23:08:05.335" v="8515" actId="20577"/>
        <pc:sldMkLst>
          <pc:docMk/>
          <pc:sldMk cId="829995900" sldId="688"/>
        </pc:sldMkLst>
        <pc:spChg chg="mod">
          <ac:chgData name="Guerrero Quiros, Jesus" userId="9d53007f-80b5-424a-baef-31d811de0396" providerId="ADAL" clId="{AC0C42EC-1194-45C5-866F-783949D593DB}" dt="2024-11-09T22:56:47.761" v="8196" actId="20577"/>
          <ac:spMkLst>
            <pc:docMk/>
            <pc:sldMk cId="829995900" sldId="688"/>
            <ac:spMk id="2" creationId="{00000000-0000-0000-0000-000000000000}"/>
          </ac:spMkLst>
        </pc:spChg>
        <pc:spChg chg="add mod">
          <ac:chgData name="Guerrero Quiros, Jesus" userId="9d53007f-80b5-424a-baef-31d811de0396" providerId="ADAL" clId="{AC0C42EC-1194-45C5-866F-783949D593DB}" dt="2024-11-09T23:04:44.233" v="8392" actId="1035"/>
          <ac:spMkLst>
            <pc:docMk/>
            <pc:sldMk cId="829995900" sldId="688"/>
            <ac:spMk id="4" creationId="{1C71A78E-E319-51FC-6D60-94596DAEB6A5}"/>
          </ac:spMkLst>
        </pc:spChg>
        <pc:spChg chg="add mod">
          <ac:chgData name="Guerrero Quiros, Jesus" userId="9d53007f-80b5-424a-baef-31d811de0396" providerId="ADAL" clId="{AC0C42EC-1194-45C5-866F-783949D593DB}" dt="2024-11-09T23:04:44.233" v="8392" actId="1035"/>
          <ac:spMkLst>
            <pc:docMk/>
            <pc:sldMk cId="829995900" sldId="688"/>
            <ac:spMk id="5" creationId="{7B9D2E2F-798A-EA77-A963-B7EAA84E1F58}"/>
          </ac:spMkLst>
        </pc:spChg>
        <pc:spChg chg="add mod">
          <ac:chgData name="Guerrero Quiros, Jesus" userId="9d53007f-80b5-424a-baef-31d811de0396" providerId="ADAL" clId="{AC0C42EC-1194-45C5-866F-783949D593DB}" dt="2024-11-09T23:04:44.233" v="8392" actId="1035"/>
          <ac:spMkLst>
            <pc:docMk/>
            <pc:sldMk cId="829995900" sldId="688"/>
            <ac:spMk id="8" creationId="{12BD7849-A23A-8384-D7AC-0F7A11E2A166}"/>
          </ac:spMkLst>
        </pc:spChg>
        <pc:spChg chg="add mod">
          <ac:chgData name="Guerrero Quiros, Jesus" userId="9d53007f-80b5-424a-baef-31d811de0396" providerId="ADAL" clId="{AC0C42EC-1194-45C5-866F-783949D593DB}" dt="2024-11-09T23:06:54.703" v="8452" actId="1076"/>
          <ac:spMkLst>
            <pc:docMk/>
            <pc:sldMk cId="829995900" sldId="688"/>
            <ac:spMk id="9" creationId="{0F53B193-3D83-4085-3167-54BA7BAB2CE9}"/>
          </ac:spMkLst>
        </pc:spChg>
        <pc:spChg chg="add mod">
          <ac:chgData name="Guerrero Quiros, Jesus" userId="9d53007f-80b5-424a-baef-31d811de0396" providerId="ADAL" clId="{AC0C42EC-1194-45C5-866F-783949D593DB}" dt="2024-11-09T23:06:51.009" v="8451" actId="1076"/>
          <ac:spMkLst>
            <pc:docMk/>
            <pc:sldMk cId="829995900" sldId="688"/>
            <ac:spMk id="10" creationId="{9A96A622-2269-BC5B-62C1-6E2FE90027B6}"/>
          </ac:spMkLst>
        </pc:spChg>
        <pc:spChg chg="add mod">
          <ac:chgData name="Guerrero Quiros, Jesus" userId="9d53007f-80b5-424a-baef-31d811de0396" providerId="ADAL" clId="{AC0C42EC-1194-45C5-866F-783949D593DB}" dt="2024-11-09T23:07:22.100" v="8468" actId="1035"/>
          <ac:spMkLst>
            <pc:docMk/>
            <pc:sldMk cId="829995900" sldId="688"/>
            <ac:spMk id="13" creationId="{2291B22A-6F24-8B51-C329-C12030956359}"/>
          </ac:spMkLst>
        </pc:spChg>
        <pc:spChg chg="add mod">
          <ac:chgData name="Guerrero Quiros, Jesus" userId="9d53007f-80b5-424a-baef-31d811de0396" providerId="ADAL" clId="{AC0C42EC-1194-45C5-866F-783949D593DB}" dt="2024-11-09T23:07:22.100" v="8468" actId="1035"/>
          <ac:spMkLst>
            <pc:docMk/>
            <pc:sldMk cId="829995900" sldId="688"/>
            <ac:spMk id="14" creationId="{74B202E8-E512-0862-224A-58096BE625C7}"/>
          </ac:spMkLst>
        </pc:spChg>
        <pc:spChg chg="add mod">
          <ac:chgData name="Guerrero Quiros, Jesus" userId="9d53007f-80b5-424a-baef-31d811de0396" providerId="ADAL" clId="{AC0C42EC-1194-45C5-866F-783949D593DB}" dt="2024-11-09T23:07:37.589" v="8485" actId="20577"/>
          <ac:spMkLst>
            <pc:docMk/>
            <pc:sldMk cId="829995900" sldId="688"/>
            <ac:spMk id="16" creationId="{8749C0F4-3270-1069-87B1-66EF1577550B}"/>
          </ac:spMkLst>
        </pc:spChg>
        <pc:spChg chg="add mod">
          <ac:chgData name="Guerrero Quiros, Jesus" userId="9d53007f-80b5-424a-baef-31d811de0396" providerId="ADAL" clId="{AC0C42EC-1194-45C5-866F-783949D593DB}" dt="2024-11-09T23:07:29.198" v="8472" actId="20577"/>
          <ac:spMkLst>
            <pc:docMk/>
            <pc:sldMk cId="829995900" sldId="688"/>
            <ac:spMk id="17" creationId="{29D37321-2C6A-3978-7B3B-B92B4B845D36}"/>
          </ac:spMkLst>
        </pc:spChg>
        <pc:spChg chg="add mod">
          <ac:chgData name="Guerrero Quiros, Jesus" userId="9d53007f-80b5-424a-baef-31d811de0396" providerId="ADAL" clId="{AC0C42EC-1194-45C5-866F-783949D593DB}" dt="2024-11-09T23:08:05.335" v="8515" actId="20577"/>
          <ac:spMkLst>
            <pc:docMk/>
            <pc:sldMk cId="829995900" sldId="688"/>
            <ac:spMk id="18" creationId="{F88C2877-1041-84BA-B999-D2ECBD2671AA}"/>
          </ac:spMkLst>
        </pc:spChg>
        <pc:spChg chg="add mod">
          <ac:chgData name="Guerrero Quiros, Jesus" userId="9d53007f-80b5-424a-baef-31d811de0396" providerId="ADAL" clId="{AC0C42EC-1194-45C5-866F-783949D593DB}" dt="2024-11-09T23:07:48.692" v="8489" actId="20577"/>
          <ac:spMkLst>
            <pc:docMk/>
            <pc:sldMk cId="829995900" sldId="688"/>
            <ac:spMk id="19" creationId="{F9C3640E-B7A4-C2E8-DCFC-8F6830F7E699}"/>
          </ac:spMkLst>
        </pc:spChg>
      </pc:sldChg>
      <pc:sldChg chg="addSp modSp add mod">
        <pc:chgData name="Guerrero Quiros, Jesus" userId="9d53007f-80b5-424a-baef-31d811de0396" providerId="ADAL" clId="{AC0C42EC-1194-45C5-866F-783949D593DB}" dt="2024-11-09T23:14:07.172" v="9184" actId="20577"/>
        <pc:sldMkLst>
          <pc:docMk/>
          <pc:sldMk cId="806542186" sldId="689"/>
        </pc:sldMkLst>
        <pc:spChg chg="add mod">
          <ac:chgData name="Guerrero Quiros, Jesus" userId="9d53007f-80b5-424a-baef-31d811de0396" providerId="ADAL" clId="{AC0C42EC-1194-45C5-866F-783949D593DB}" dt="2024-11-09T23:08:31.875" v="8538" actId="207"/>
          <ac:spMkLst>
            <pc:docMk/>
            <pc:sldMk cId="806542186" sldId="689"/>
            <ac:spMk id="3" creationId="{19685ED3-A670-9321-AB70-D43B0FC45894}"/>
          </ac:spMkLst>
        </pc:spChg>
        <pc:spChg chg="add mod">
          <ac:chgData name="Guerrero Quiros, Jesus" userId="9d53007f-80b5-424a-baef-31d811de0396" providerId="ADAL" clId="{AC0C42EC-1194-45C5-866F-783949D593DB}" dt="2024-11-09T23:14:07.172" v="9184" actId="20577"/>
          <ac:spMkLst>
            <pc:docMk/>
            <pc:sldMk cId="806542186" sldId="689"/>
            <ac:spMk id="7" creationId="{C58A66E9-58DA-72F9-D9B5-DA9BA0E63EBC}"/>
          </ac:spMkLst>
        </pc:spChg>
        <pc:spChg chg="mod">
          <ac:chgData name="Guerrero Quiros, Jesus" userId="9d53007f-80b5-424a-baef-31d811de0396" providerId="ADAL" clId="{AC0C42EC-1194-45C5-866F-783949D593DB}" dt="2024-11-09T23:08:45.195" v="8543" actId="692"/>
          <ac:spMkLst>
            <pc:docMk/>
            <pc:sldMk cId="806542186" sldId="689"/>
            <ac:spMk id="9" creationId="{0F53B193-3D83-4085-3167-54BA7BAB2CE9}"/>
          </ac:spMkLst>
        </pc:spChg>
        <pc:spChg chg="mod">
          <ac:chgData name="Guerrero Quiros, Jesus" userId="9d53007f-80b5-424a-baef-31d811de0396" providerId="ADAL" clId="{AC0C42EC-1194-45C5-866F-783949D593DB}" dt="2024-11-09T23:08:52.626" v="8544" actId="207"/>
          <ac:spMkLst>
            <pc:docMk/>
            <pc:sldMk cId="806542186" sldId="689"/>
            <ac:spMk id="10" creationId="{9A96A622-2269-BC5B-62C1-6E2FE90027B6}"/>
          </ac:spMkLst>
        </pc:spChg>
      </pc:sldChg>
      <pc:sldChg chg="modSp add del mod">
        <pc:chgData name="Guerrero Quiros, Jesus" userId="9d53007f-80b5-424a-baef-31d811de0396" providerId="ADAL" clId="{AC0C42EC-1194-45C5-866F-783949D593DB}" dt="2024-11-09T23:22:18.867" v="9405" actId="47"/>
        <pc:sldMkLst>
          <pc:docMk/>
          <pc:sldMk cId="1103199673" sldId="690"/>
        </pc:sldMkLst>
      </pc:sldChg>
      <pc:sldChg chg="modSp add mod">
        <pc:chgData name="Guerrero Quiros, Jesus" userId="9d53007f-80b5-424a-baef-31d811de0396" providerId="ADAL" clId="{AC0C42EC-1194-45C5-866F-783949D593DB}" dt="2024-11-09T23:22:10.320" v="9404" actId="1076"/>
        <pc:sldMkLst>
          <pc:docMk/>
          <pc:sldMk cId="1139513812" sldId="691"/>
        </pc:sldMkLst>
        <pc:spChg chg="mod">
          <ac:chgData name="Guerrero Quiros, Jesus" userId="9d53007f-80b5-424a-baef-31d811de0396" providerId="ADAL" clId="{AC0C42EC-1194-45C5-866F-783949D593DB}" dt="2024-11-09T23:21:54.732" v="9388" actId="14100"/>
          <ac:spMkLst>
            <pc:docMk/>
            <pc:sldMk cId="1139513812" sldId="691"/>
            <ac:spMk id="4" creationId="{1C71A78E-E319-51FC-6D60-94596DAEB6A5}"/>
          </ac:spMkLst>
        </pc:spChg>
        <pc:spChg chg="mod">
          <ac:chgData name="Guerrero Quiros, Jesus" userId="9d53007f-80b5-424a-baef-31d811de0396" providerId="ADAL" clId="{AC0C42EC-1194-45C5-866F-783949D593DB}" dt="2024-11-09T23:21:59.712" v="9402" actId="1035"/>
          <ac:spMkLst>
            <pc:docMk/>
            <pc:sldMk cId="1139513812" sldId="691"/>
            <ac:spMk id="9" creationId="{0F53B193-3D83-4085-3167-54BA7BAB2CE9}"/>
          </ac:spMkLst>
        </pc:spChg>
        <pc:spChg chg="mod">
          <ac:chgData name="Guerrero Quiros, Jesus" userId="9d53007f-80b5-424a-baef-31d811de0396" providerId="ADAL" clId="{AC0C42EC-1194-45C5-866F-783949D593DB}" dt="2024-11-09T23:21:59.712" v="9402" actId="1035"/>
          <ac:spMkLst>
            <pc:docMk/>
            <pc:sldMk cId="1139513812" sldId="691"/>
            <ac:spMk id="10" creationId="{9A96A622-2269-BC5B-62C1-6E2FE90027B6}"/>
          </ac:spMkLst>
        </pc:spChg>
        <pc:spChg chg="mod">
          <ac:chgData name="Guerrero Quiros, Jesus" userId="9d53007f-80b5-424a-baef-31d811de0396" providerId="ADAL" clId="{AC0C42EC-1194-45C5-866F-783949D593DB}" dt="2024-11-09T23:21:59.712" v="9402" actId="1035"/>
          <ac:spMkLst>
            <pc:docMk/>
            <pc:sldMk cId="1139513812" sldId="691"/>
            <ac:spMk id="13" creationId="{2291B22A-6F24-8B51-C329-C12030956359}"/>
          </ac:spMkLst>
        </pc:spChg>
        <pc:spChg chg="mod">
          <ac:chgData name="Guerrero Quiros, Jesus" userId="9d53007f-80b5-424a-baef-31d811de0396" providerId="ADAL" clId="{AC0C42EC-1194-45C5-866F-783949D593DB}" dt="2024-11-09T23:21:59.712" v="9402" actId="1035"/>
          <ac:spMkLst>
            <pc:docMk/>
            <pc:sldMk cId="1139513812" sldId="691"/>
            <ac:spMk id="14" creationId="{74B202E8-E512-0862-224A-58096BE625C7}"/>
          </ac:spMkLst>
        </pc:spChg>
        <pc:spChg chg="mod">
          <ac:chgData name="Guerrero Quiros, Jesus" userId="9d53007f-80b5-424a-baef-31d811de0396" providerId="ADAL" clId="{AC0C42EC-1194-45C5-866F-783949D593DB}" dt="2024-11-09T23:21:59.712" v="9402" actId="1035"/>
          <ac:spMkLst>
            <pc:docMk/>
            <pc:sldMk cId="1139513812" sldId="691"/>
            <ac:spMk id="16" creationId="{8749C0F4-3270-1069-87B1-66EF1577550B}"/>
          </ac:spMkLst>
        </pc:spChg>
        <pc:spChg chg="mod">
          <ac:chgData name="Guerrero Quiros, Jesus" userId="9d53007f-80b5-424a-baef-31d811de0396" providerId="ADAL" clId="{AC0C42EC-1194-45C5-866F-783949D593DB}" dt="2024-11-09T23:21:59.712" v="9402" actId="1035"/>
          <ac:spMkLst>
            <pc:docMk/>
            <pc:sldMk cId="1139513812" sldId="691"/>
            <ac:spMk id="17" creationId="{29D37321-2C6A-3978-7B3B-B92B4B845D36}"/>
          </ac:spMkLst>
        </pc:spChg>
        <pc:spChg chg="mod">
          <ac:chgData name="Guerrero Quiros, Jesus" userId="9d53007f-80b5-424a-baef-31d811de0396" providerId="ADAL" clId="{AC0C42EC-1194-45C5-866F-783949D593DB}" dt="2024-11-09T23:22:06.292" v="9403" actId="14100"/>
          <ac:spMkLst>
            <pc:docMk/>
            <pc:sldMk cId="1139513812" sldId="691"/>
            <ac:spMk id="18" creationId="{F88C2877-1041-84BA-B999-D2ECBD2671AA}"/>
          </ac:spMkLst>
        </pc:spChg>
        <pc:spChg chg="mod">
          <ac:chgData name="Guerrero Quiros, Jesus" userId="9d53007f-80b5-424a-baef-31d811de0396" providerId="ADAL" clId="{AC0C42EC-1194-45C5-866F-783949D593DB}" dt="2024-11-09T23:22:10.320" v="9404" actId="1076"/>
          <ac:spMkLst>
            <pc:docMk/>
            <pc:sldMk cId="1139513812" sldId="691"/>
            <ac:spMk id="19" creationId="{F9C3640E-B7A4-C2E8-DCFC-8F6830F7E699}"/>
          </ac:spMkLst>
        </pc:spChg>
      </pc:sldChg>
      <pc:sldChg chg="addSp modSp add mod">
        <pc:chgData name="Guerrero Quiros, Jesus" userId="9d53007f-80b5-424a-baef-31d811de0396" providerId="ADAL" clId="{AC0C42EC-1194-45C5-866F-783949D593DB}" dt="2024-11-09T23:25:52.158" v="9780" actId="1076"/>
        <pc:sldMkLst>
          <pc:docMk/>
          <pc:sldMk cId="3429436234" sldId="692"/>
        </pc:sldMkLst>
        <pc:spChg chg="add mod">
          <ac:chgData name="Guerrero Quiros, Jesus" userId="9d53007f-80b5-424a-baef-31d811de0396" providerId="ADAL" clId="{AC0C42EC-1194-45C5-866F-783949D593DB}" dt="2024-11-09T23:23:01.785" v="9416" actId="14100"/>
          <ac:spMkLst>
            <pc:docMk/>
            <pc:sldMk cId="3429436234" sldId="692"/>
            <ac:spMk id="3" creationId="{5A3ADE04-1660-08F8-398F-D808DCDB6D30}"/>
          </ac:spMkLst>
        </pc:spChg>
        <pc:spChg chg="add mod">
          <ac:chgData name="Guerrero Quiros, Jesus" userId="9d53007f-80b5-424a-baef-31d811de0396" providerId="ADAL" clId="{AC0C42EC-1194-45C5-866F-783949D593DB}" dt="2024-11-09T23:23:06.779" v="9419" actId="14100"/>
          <ac:spMkLst>
            <pc:docMk/>
            <pc:sldMk cId="3429436234" sldId="692"/>
            <ac:spMk id="7" creationId="{10BA299F-3C4F-E68D-6ED1-6C6E64DE5474}"/>
          </ac:spMkLst>
        </pc:spChg>
        <pc:spChg chg="add mod">
          <ac:chgData name="Guerrero Quiros, Jesus" userId="9d53007f-80b5-424a-baef-31d811de0396" providerId="ADAL" clId="{AC0C42EC-1194-45C5-866F-783949D593DB}" dt="2024-11-09T23:25:52.158" v="9780" actId="1076"/>
          <ac:spMkLst>
            <pc:docMk/>
            <pc:sldMk cId="3429436234" sldId="692"/>
            <ac:spMk id="11" creationId="{76C0ADB1-A1EC-1C1E-15EA-B20D3216AACC}"/>
          </ac:spMkLst>
        </pc:spChg>
        <pc:spChg chg="mod">
          <ac:chgData name="Guerrero Quiros, Jesus" userId="9d53007f-80b5-424a-baef-31d811de0396" providerId="ADAL" clId="{AC0C42EC-1194-45C5-866F-783949D593DB}" dt="2024-11-09T23:22:45.873" v="9412" actId="692"/>
          <ac:spMkLst>
            <pc:docMk/>
            <pc:sldMk cId="3429436234" sldId="692"/>
            <ac:spMk id="16" creationId="{8749C0F4-3270-1069-87B1-66EF1577550B}"/>
          </ac:spMkLst>
        </pc:spChg>
        <pc:spChg chg="mod">
          <ac:chgData name="Guerrero Quiros, Jesus" userId="9d53007f-80b5-424a-baef-31d811de0396" providerId="ADAL" clId="{AC0C42EC-1194-45C5-866F-783949D593DB}" dt="2024-11-09T23:22:35.012" v="9407" actId="207"/>
          <ac:spMkLst>
            <pc:docMk/>
            <pc:sldMk cId="3429436234" sldId="692"/>
            <ac:spMk id="17" creationId="{29D37321-2C6A-3978-7B3B-B92B4B845D36}"/>
          </ac:spMkLst>
        </pc:spChg>
      </pc:sldChg>
      <pc:sldChg chg="modSp add mod">
        <pc:chgData name="Guerrero Quiros, Jesus" userId="9d53007f-80b5-424a-baef-31d811de0396" providerId="ADAL" clId="{AC0C42EC-1194-45C5-866F-783949D593DB}" dt="2024-11-09T23:28:15.963" v="9854" actId="1076"/>
        <pc:sldMkLst>
          <pc:docMk/>
          <pc:sldMk cId="1053276330" sldId="693"/>
        </pc:sldMkLst>
        <pc:spChg chg="mod">
          <ac:chgData name="Guerrero Quiros, Jesus" userId="9d53007f-80b5-424a-baef-31d811de0396" providerId="ADAL" clId="{AC0C42EC-1194-45C5-866F-783949D593DB}" dt="2024-11-09T23:26:33.814" v="9783" actId="20577"/>
          <ac:spMkLst>
            <pc:docMk/>
            <pc:sldMk cId="1053276330" sldId="693"/>
            <ac:spMk id="5" creationId="{7B9D2E2F-798A-EA77-A963-B7EAA84E1F58}"/>
          </ac:spMkLst>
        </pc:spChg>
        <pc:spChg chg="mod">
          <ac:chgData name="Guerrero Quiros, Jesus" userId="9d53007f-80b5-424a-baef-31d811de0396" providerId="ADAL" clId="{AC0C42EC-1194-45C5-866F-783949D593DB}" dt="2024-11-09T23:26:47.873" v="9833" actId="20577"/>
          <ac:spMkLst>
            <pc:docMk/>
            <pc:sldMk cId="1053276330" sldId="693"/>
            <ac:spMk id="8" creationId="{12BD7849-A23A-8384-D7AC-0F7A11E2A166}"/>
          </ac:spMkLst>
        </pc:spChg>
        <pc:spChg chg="mod">
          <ac:chgData name="Guerrero Quiros, Jesus" userId="9d53007f-80b5-424a-baef-31d811de0396" providerId="ADAL" clId="{AC0C42EC-1194-45C5-866F-783949D593DB}" dt="2024-11-09T23:27:52.184" v="9845" actId="14100"/>
          <ac:spMkLst>
            <pc:docMk/>
            <pc:sldMk cId="1053276330" sldId="693"/>
            <ac:spMk id="9" creationId="{0F53B193-3D83-4085-3167-54BA7BAB2CE9}"/>
          </ac:spMkLst>
        </pc:spChg>
        <pc:spChg chg="mod">
          <ac:chgData name="Guerrero Quiros, Jesus" userId="9d53007f-80b5-424a-baef-31d811de0396" providerId="ADAL" clId="{AC0C42EC-1194-45C5-866F-783949D593DB}" dt="2024-11-09T23:27:57.601" v="9846" actId="1076"/>
          <ac:spMkLst>
            <pc:docMk/>
            <pc:sldMk cId="1053276330" sldId="693"/>
            <ac:spMk id="10" creationId="{9A96A622-2269-BC5B-62C1-6E2FE90027B6}"/>
          </ac:spMkLst>
        </pc:spChg>
        <pc:spChg chg="mod">
          <ac:chgData name="Guerrero Quiros, Jesus" userId="9d53007f-80b5-424a-baef-31d811de0396" providerId="ADAL" clId="{AC0C42EC-1194-45C5-866F-783949D593DB}" dt="2024-11-09T23:28:11.710" v="9853" actId="1076"/>
          <ac:spMkLst>
            <pc:docMk/>
            <pc:sldMk cId="1053276330" sldId="693"/>
            <ac:spMk id="13" creationId="{2291B22A-6F24-8B51-C329-C12030956359}"/>
          </ac:spMkLst>
        </pc:spChg>
        <pc:spChg chg="mod">
          <ac:chgData name="Guerrero Quiros, Jesus" userId="9d53007f-80b5-424a-baef-31d811de0396" providerId="ADAL" clId="{AC0C42EC-1194-45C5-866F-783949D593DB}" dt="2024-11-09T23:28:15.963" v="9854" actId="1076"/>
          <ac:spMkLst>
            <pc:docMk/>
            <pc:sldMk cId="1053276330" sldId="693"/>
            <ac:spMk id="14" creationId="{74B202E8-E512-0862-224A-58096BE625C7}"/>
          </ac:spMkLst>
        </pc:spChg>
        <pc:spChg chg="mod">
          <ac:chgData name="Guerrero Quiros, Jesus" userId="9d53007f-80b5-424a-baef-31d811de0396" providerId="ADAL" clId="{AC0C42EC-1194-45C5-866F-783949D593DB}" dt="2024-11-09T23:27:47.971" v="9844" actId="1076"/>
          <ac:spMkLst>
            <pc:docMk/>
            <pc:sldMk cId="1053276330" sldId="693"/>
            <ac:spMk id="16" creationId="{8749C0F4-3270-1069-87B1-66EF1577550B}"/>
          </ac:spMkLst>
        </pc:spChg>
        <pc:spChg chg="mod">
          <ac:chgData name="Guerrero Quiros, Jesus" userId="9d53007f-80b5-424a-baef-31d811de0396" providerId="ADAL" clId="{AC0C42EC-1194-45C5-866F-783949D593DB}" dt="2024-11-09T23:27:47.971" v="9844" actId="1076"/>
          <ac:spMkLst>
            <pc:docMk/>
            <pc:sldMk cId="1053276330" sldId="693"/>
            <ac:spMk id="17" creationId="{29D37321-2C6A-3978-7B3B-B92B4B845D36}"/>
          </ac:spMkLst>
        </pc:spChg>
        <pc:spChg chg="mod">
          <ac:chgData name="Guerrero Quiros, Jesus" userId="9d53007f-80b5-424a-baef-31d811de0396" providerId="ADAL" clId="{AC0C42EC-1194-45C5-866F-783949D593DB}" dt="2024-11-09T23:27:36.824" v="9843" actId="1076"/>
          <ac:spMkLst>
            <pc:docMk/>
            <pc:sldMk cId="1053276330" sldId="693"/>
            <ac:spMk id="18" creationId="{F88C2877-1041-84BA-B999-D2ECBD2671AA}"/>
          </ac:spMkLst>
        </pc:spChg>
      </pc:sldChg>
      <pc:sldChg chg="addSp modSp add mod">
        <pc:chgData name="Guerrero Quiros, Jesus" userId="9d53007f-80b5-424a-baef-31d811de0396" providerId="ADAL" clId="{AC0C42EC-1194-45C5-866F-783949D593DB}" dt="2024-11-09T23:31:26.780" v="10135" actId="20577"/>
        <pc:sldMkLst>
          <pc:docMk/>
          <pc:sldMk cId="1210672763" sldId="694"/>
        </pc:sldMkLst>
        <pc:spChg chg="add mod">
          <ac:chgData name="Guerrero Quiros, Jesus" userId="9d53007f-80b5-424a-baef-31d811de0396" providerId="ADAL" clId="{AC0C42EC-1194-45C5-866F-783949D593DB}" dt="2024-11-09T23:28:42.714" v="9859" actId="14100"/>
          <ac:spMkLst>
            <pc:docMk/>
            <pc:sldMk cId="1210672763" sldId="694"/>
            <ac:spMk id="3" creationId="{BB667BE9-1861-EE49-37E4-2461AD38CC73}"/>
          </ac:spMkLst>
        </pc:spChg>
        <pc:spChg chg="add mod">
          <ac:chgData name="Guerrero Quiros, Jesus" userId="9d53007f-80b5-424a-baef-31d811de0396" providerId="ADAL" clId="{AC0C42EC-1194-45C5-866F-783949D593DB}" dt="2024-11-09T23:31:26.780" v="10135" actId="20577"/>
          <ac:spMkLst>
            <pc:docMk/>
            <pc:sldMk cId="1210672763" sldId="694"/>
            <ac:spMk id="7" creationId="{EED04ABC-F904-80AA-6B19-AA331021457A}"/>
          </ac:spMkLst>
        </pc:spChg>
        <pc:spChg chg="mod">
          <ac:chgData name="Guerrero Quiros, Jesus" userId="9d53007f-80b5-424a-baef-31d811de0396" providerId="ADAL" clId="{AC0C42EC-1194-45C5-866F-783949D593DB}" dt="2024-11-09T23:28:56.267" v="9865" actId="692"/>
          <ac:spMkLst>
            <pc:docMk/>
            <pc:sldMk cId="1210672763" sldId="694"/>
            <ac:spMk id="9" creationId="{0F53B193-3D83-4085-3167-54BA7BAB2CE9}"/>
          </ac:spMkLst>
        </pc:spChg>
        <pc:spChg chg="mod">
          <ac:chgData name="Guerrero Quiros, Jesus" userId="9d53007f-80b5-424a-baef-31d811de0396" providerId="ADAL" clId="{AC0C42EC-1194-45C5-866F-783949D593DB}" dt="2024-11-09T23:28:52.381" v="9860" actId="207"/>
          <ac:spMkLst>
            <pc:docMk/>
            <pc:sldMk cId="1210672763" sldId="694"/>
            <ac:spMk id="10" creationId="{9A96A622-2269-BC5B-62C1-6E2FE90027B6}"/>
          </ac:spMkLst>
        </pc:spChg>
      </pc:sldChg>
      <pc:sldChg chg="modSp add mod">
        <pc:chgData name="Guerrero Quiros, Jesus" userId="9d53007f-80b5-424a-baef-31d811de0396" providerId="ADAL" clId="{AC0C42EC-1194-45C5-866F-783949D593DB}" dt="2024-11-09T23:40:11.920" v="10257" actId="20577"/>
        <pc:sldMkLst>
          <pc:docMk/>
          <pc:sldMk cId="2595613120" sldId="695"/>
        </pc:sldMkLst>
        <pc:spChg chg="mod">
          <ac:chgData name="Guerrero Quiros, Jesus" userId="9d53007f-80b5-424a-baef-31d811de0396" providerId="ADAL" clId="{AC0C42EC-1194-45C5-866F-783949D593DB}" dt="2024-11-09T23:39:55.728" v="10253" actId="14100"/>
          <ac:spMkLst>
            <pc:docMk/>
            <pc:sldMk cId="2595613120" sldId="695"/>
            <ac:spMk id="4" creationId="{1C71A78E-E319-51FC-6D60-94596DAEB6A5}"/>
          </ac:spMkLst>
        </pc:spChg>
        <pc:spChg chg="mod">
          <ac:chgData name="Guerrero Quiros, Jesus" userId="9d53007f-80b5-424a-baef-31d811de0396" providerId="ADAL" clId="{AC0C42EC-1194-45C5-866F-783949D593DB}" dt="2024-11-09T23:40:11.920" v="10257" actId="20577"/>
          <ac:spMkLst>
            <pc:docMk/>
            <pc:sldMk cId="2595613120" sldId="695"/>
            <ac:spMk id="5" creationId="{7B9D2E2F-798A-EA77-A963-B7EAA84E1F58}"/>
          </ac:spMkLst>
        </pc:spChg>
        <pc:spChg chg="mod">
          <ac:chgData name="Guerrero Quiros, Jesus" userId="9d53007f-80b5-424a-baef-31d811de0396" providerId="ADAL" clId="{AC0C42EC-1194-45C5-866F-783949D593DB}" dt="2024-11-09T23:39:57.887" v="10254" actId="20577"/>
          <ac:spMkLst>
            <pc:docMk/>
            <pc:sldMk cId="2595613120" sldId="695"/>
            <ac:spMk id="8" creationId="{12BD7849-A23A-8384-D7AC-0F7A11E2A166}"/>
          </ac:spMkLst>
        </pc:spChg>
        <pc:spChg chg="mod">
          <ac:chgData name="Guerrero Quiros, Jesus" userId="9d53007f-80b5-424a-baef-31d811de0396" providerId="ADAL" clId="{AC0C42EC-1194-45C5-866F-783949D593DB}" dt="2024-11-09T23:40:03.318" v="10255" actId="1076"/>
          <ac:spMkLst>
            <pc:docMk/>
            <pc:sldMk cId="2595613120" sldId="695"/>
            <ac:spMk id="9" creationId="{0F53B193-3D83-4085-3167-54BA7BAB2CE9}"/>
          </ac:spMkLst>
        </pc:spChg>
        <pc:spChg chg="mod">
          <ac:chgData name="Guerrero Quiros, Jesus" userId="9d53007f-80b5-424a-baef-31d811de0396" providerId="ADAL" clId="{AC0C42EC-1194-45C5-866F-783949D593DB}" dt="2024-11-09T23:40:03.318" v="10255" actId="1076"/>
          <ac:spMkLst>
            <pc:docMk/>
            <pc:sldMk cId="2595613120" sldId="695"/>
            <ac:spMk id="10" creationId="{9A96A622-2269-BC5B-62C1-6E2FE90027B6}"/>
          </ac:spMkLst>
        </pc:spChg>
        <pc:spChg chg="mod">
          <ac:chgData name="Guerrero Quiros, Jesus" userId="9d53007f-80b5-424a-baef-31d811de0396" providerId="ADAL" clId="{AC0C42EC-1194-45C5-866F-783949D593DB}" dt="2024-11-09T23:40:03.318" v="10255" actId="1076"/>
          <ac:spMkLst>
            <pc:docMk/>
            <pc:sldMk cId="2595613120" sldId="695"/>
            <ac:spMk id="13" creationId="{2291B22A-6F24-8B51-C329-C12030956359}"/>
          </ac:spMkLst>
        </pc:spChg>
        <pc:spChg chg="mod">
          <ac:chgData name="Guerrero Quiros, Jesus" userId="9d53007f-80b5-424a-baef-31d811de0396" providerId="ADAL" clId="{AC0C42EC-1194-45C5-866F-783949D593DB}" dt="2024-11-09T23:40:03.318" v="10255" actId="1076"/>
          <ac:spMkLst>
            <pc:docMk/>
            <pc:sldMk cId="2595613120" sldId="695"/>
            <ac:spMk id="14" creationId="{74B202E8-E512-0862-224A-58096BE625C7}"/>
          </ac:spMkLst>
        </pc:spChg>
        <pc:spChg chg="mod">
          <ac:chgData name="Guerrero Quiros, Jesus" userId="9d53007f-80b5-424a-baef-31d811de0396" providerId="ADAL" clId="{AC0C42EC-1194-45C5-866F-783949D593DB}" dt="2024-11-09T23:40:03.318" v="10255" actId="1076"/>
          <ac:spMkLst>
            <pc:docMk/>
            <pc:sldMk cId="2595613120" sldId="695"/>
            <ac:spMk id="16" creationId="{8749C0F4-3270-1069-87B1-66EF1577550B}"/>
          </ac:spMkLst>
        </pc:spChg>
        <pc:spChg chg="mod">
          <ac:chgData name="Guerrero Quiros, Jesus" userId="9d53007f-80b5-424a-baef-31d811de0396" providerId="ADAL" clId="{AC0C42EC-1194-45C5-866F-783949D593DB}" dt="2024-11-09T23:40:03.318" v="10255" actId="1076"/>
          <ac:spMkLst>
            <pc:docMk/>
            <pc:sldMk cId="2595613120" sldId="695"/>
            <ac:spMk id="17" creationId="{29D37321-2C6A-3978-7B3B-B92B4B845D36}"/>
          </ac:spMkLst>
        </pc:spChg>
        <pc:spChg chg="mod">
          <ac:chgData name="Guerrero Quiros, Jesus" userId="9d53007f-80b5-424a-baef-31d811de0396" providerId="ADAL" clId="{AC0C42EC-1194-45C5-866F-783949D593DB}" dt="2024-11-09T23:40:03.318" v="10255" actId="1076"/>
          <ac:spMkLst>
            <pc:docMk/>
            <pc:sldMk cId="2595613120" sldId="695"/>
            <ac:spMk id="18" creationId="{F88C2877-1041-84BA-B999-D2ECBD2671AA}"/>
          </ac:spMkLst>
        </pc:spChg>
        <pc:spChg chg="mod">
          <ac:chgData name="Guerrero Quiros, Jesus" userId="9d53007f-80b5-424a-baef-31d811de0396" providerId="ADAL" clId="{AC0C42EC-1194-45C5-866F-783949D593DB}" dt="2024-11-09T23:40:03.318" v="10255" actId="1076"/>
          <ac:spMkLst>
            <pc:docMk/>
            <pc:sldMk cId="2595613120" sldId="695"/>
            <ac:spMk id="19" creationId="{F9C3640E-B7A4-C2E8-DCFC-8F6830F7E699}"/>
          </ac:spMkLst>
        </pc:spChg>
      </pc:sldChg>
      <pc:sldChg chg="addSp delSp modSp add del mod">
        <pc:chgData name="Guerrero Quiros, Jesus" userId="9d53007f-80b5-424a-baef-31d811de0396" providerId="ADAL" clId="{AC0C42EC-1194-45C5-866F-783949D593DB}" dt="2024-11-09T23:37:44.822" v="10218" actId="47"/>
        <pc:sldMkLst>
          <pc:docMk/>
          <pc:sldMk cId="3977272832" sldId="695"/>
        </pc:sldMkLst>
      </pc:sldChg>
      <pc:sldChg chg="addSp modSp add mod">
        <pc:chgData name="Guerrero Quiros, Jesus" userId="9d53007f-80b5-424a-baef-31d811de0396" providerId="ADAL" clId="{AC0C42EC-1194-45C5-866F-783949D593DB}" dt="2024-11-09T23:44:08.716" v="10603" actId="20577"/>
        <pc:sldMkLst>
          <pc:docMk/>
          <pc:sldMk cId="2107564521" sldId="696"/>
        </pc:sldMkLst>
        <pc:spChg chg="add mod">
          <ac:chgData name="Guerrero Quiros, Jesus" userId="9d53007f-80b5-424a-baef-31d811de0396" providerId="ADAL" clId="{AC0C42EC-1194-45C5-866F-783949D593DB}" dt="2024-11-09T23:40:35.193" v="10262" actId="14100"/>
          <ac:spMkLst>
            <pc:docMk/>
            <pc:sldMk cId="2107564521" sldId="696"/>
            <ac:spMk id="3" creationId="{350BE610-53A0-1697-6EDD-9427DBFEA6B0}"/>
          </ac:spMkLst>
        </pc:spChg>
        <pc:spChg chg="add mod">
          <ac:chgData name="Guerrero Quiros, Jesus" userId="9d53007f-80b5-424a-baef-31d811de0396" providerId="ADAL" clId="{AC0C42EC-1194-45C5-866F-783949D593DB}" dt="2024-11-09T23:40:42.859" v="10265" actId="14100"/>
          <ac:spMkLst>
            <pc:docMk/>
            <pc:sldMk cId="2107564521" sldId="696"/>
            <ac:spMk id="7" creationId="{86373A56-A19A-6F59-8E4B-BB796072C1D4}"/>
          </ac:spMkLst>
        </pc:spChg>
        <pc:spChg chg="mod">
          <ac:chgData name="Guerrero Quiros, Jesus" userId="9d53007f-80b5-424a-baef-31d811de0396" providerId="ADAL" clId="{AC0C42EC-1194-45C5-866F-783949D593DB}" dt="2024-11-09T23:42:44.026" v="10326" actId="20577"/>
          <ac:spMkLst>
            <pc:docMk/>
            <pc:sldMk cId="2107564521" sldId="696"/>
            <ac:spMk id="8" creationId="{12BD7849-A23A-8384-D7AC-0F7A11E2A166}"/>
          </ac:spMkLst>
        </pc:spChg>
        <pc:spChg chg="add mod">
          <ac:chgData name="Guerrero Quiros, Jesus" userId="9d53007f-80b5-424a-baef-31d811de0396" providerId="ADAL" clId="{AC0C42EC-1194-45C5-866F-783949D593DB}" dt="2024-11-09T23:44:08.716" v="10603" actId="20577"/>
          <ac:spMkLst>
            <pc:docMk/>
            <pc:sldMk cId="2107564521" sldId="696"/>
            <ac:spMk id="11" creationId="{8E258937-4AD0-35B9-97A8-66295F6B204B}"/>
          </ac:spMkLst>
        </pc:spChg>
        <pc:spChg chg="mod">
          <ac:chgData name="Guerrero Quiros, Jesus" userId="9d53007f-80b5-424a-baef-31d811de0396" providerId="ADAL" clId="{AC0C42EC-1194-45C5-866F-783949D593DB}" dt="2024-11-09T23:40:52.743" v="10271" actId="692"/>
          <ac:spMkLst>
            <pc:docMk/>
            <pc:sldMk cId="2107564521" sldId="696"/>
            <ac:spMk id="13" creationId="{2291B22A-6F24-8B51-C329-C12030956359}"/>
          </ac:spMkLst>
        </pc:spChg>
        <pc:spChg chg="mod">
          <ac:chgData name="Guerrero Quiros, Jesus" userId="9d53007f-80b5-424a-baef-31d811de0396" providerId="ADAL" clId="{AC0C42EC-1194-45C5-866F-783949D593DB}" dt="2024-11-09T23:40:48.703" v="10266" actId="207"/>
          <ac:spMkLst>
            <pc:docMk/>
            <pc:sldMk cId="2107564521" sldId="696"/>
            <ac:spMk id="14" creationId="{74B202E8-E512-0862-224A-58096BE625C7}"/>
          </ac:spMkLst>
        </pc:spChg>
      </pc:sldChg>
      <pc:sldChg chg="modSp add mod">
        <pc:chgData name="Guerrero Quiros, Jesus" userId="9d53007f-80b5-424a-baef-31d811de0396" providerId="ADAL" clId="{AC0C42EC-1194-45C5-866F-783949D593DB}" dt="2024-11-09T23:47:57.891" v="11027" actId="1076"/>
        <pc:sldMkLst>
          <pc:docMk/>
          <pc:sldMk cId="1855953999" sldId="697"/>
        </pc:sldMkLst>
        <pc:spChg chg="mod">
          <ac:chgData name="Guerrero Quiros, Jesus" userId="9d53007f-80b5-424a-baef-31d811de0396" providerId="ADAL" clId="{AC0C42EC-1194-45C5-866F-783949D593DB}" dt="2024-11-09T23:44:19.866" v="10606" actId="20577"/>
          <ac:spMkLst>
            <pc:docMk/>
            <pc:sldMk cId="1855953999" sldId="697"/>
            <ac:spMk id="5" creationId="{7B9D2E2F-798A-EA77-A963-B7EAA84E1F58}"/>
          </ac:spMkLst>
        </pc:spChg>
        <pc:spChg chg="mod">
          <ac:chgData name="Guerrero Quiros, Jesus" userId="9d53007f-80b5-424a-baef-31d811de0396" providerId="ADAL" clId="{AC0C42EC-1194-45C5-866F-783949D593DB}" dt="2024-11-09T23:45:14.038" v="10765" actId="20577"/>
          <ac:spMkLst>
            <pc:docMk/>
            <pc:sldMk cId="1855953999" sldId="697"/>
            <ac:spMk id="8" creationId="{12BD7849-A23A-8384-D7AC-0F7A11E2A166}"/>
          </ac:spMkLst>
        </pc:spChg>
        <pc:spChg chg="mod">
          <ac:chgData name="Guerrero Quiros, Jesus" userId="9d53007f-80b5-424a-baef-31d811de0396" providerId="ADAL" clId="{AC0C42EC-1194-45C5-866F-783949D593DB}" dt="2024-11-09T23:45:47.838" v="10810" actId="20577"/>
          <ac:spMkLst>
            <pc:docMk/>
            <pc:sldMk cId="1855953999" sldId="697"/>
            <ac:spMk id="9" creationId="{0F53B193-3D83-4085-3167-54BA7BAB2CE9}"/>
          </ac:spMkLst>
        </pc:spChg>
        <pc:spChg chg="mod">
          <ac:chgData name="Guerrero Quiros, Jesus" userId="9d53007f-80b5-424a-baef-31d811de0396" providerId="ADAL" clId="{AC0C42EC-1194-45C5-866F-783949D593DB}" dt="2024-11-09T23:47:42.308" v="11024" actId="14100"/>
          <ac:spMkLst>
            <pc:docMk/>
            <pc:sldMk cId="1855953999" sldId="697"/>
            <ac:spMk id="13" creationId="{2291B22A-6F24-8B51-C329-C12030956359}"/>
          </ac:spMkLst>
        </pc:spChg>
        <pc:spChg chg="mod">
          <ac:chgData name="Guerrero Quiros, Jesus" userId="9d53007f-80b5-424a-baef-31d811de0396" providerId="ADAL" clId="{AC0C42EC-1194-45C5-866F-783949D593DB}" dt="2024-11-09T23:47:46.474" v="11025" actId="1076"/>
          <ac:spMkLst>
            <pc:docMk/>
            <pc:sldMk cId="1855953999" sldId="697"/>
            <ac:spMk id="14" creationId="{74B202E8-E512-0862-224A-58096BE625C7}"/>
          </ac:spMkLst>
        </pc:spChg>
        <pc:spChg chg="mod">
          <ac:chgData name="Guerrero Quiros, Jesus" userId="9d53007f-80b5-424a-baef-31d811de0396" providerId="ADAL" clId="{AC0C42EC-1194-45C5-866F-783949D593DB}" dt="2024-11-09T23:47:57.891" v="11027" actId="1076"/>
          <ac:spMkLst>
            <pc:docMk/>
            <pc:sldMk cId="1855953999" sldId="697"/>
            <ac:spMk id="16" creationId="{8749C0F4-3270-1069-87B1-66EF1577550B}"/>
          </ac:spMkLst>
        </pc:spChg>
        <pc:spChg chg="mod">
          <ac:chgData name="Guerrero Quiros, Jesus" userId="9d53007f-80b5-424a-baef-31d811de0396" providerId="ADAL" clId="{AC0C42EC-1194-45C5-866F-783949D593DB}" dt="2024-11-09T23:47:57.891" v="11027" actId="1076"/>
          <ac:spMkLst>
            <pc:docMk/>
            <pc:sldMk cId="1855953999" sldId="697"/>
            <ac:spMk id="17" creationId="{29D37321-2C6A-3978-7B3B-B92B4B845D36}"/>
          </ac:spMkLst>
        </pc:spChg>
        <pc:spChg chg="mod">
          <ac:chgData name="Guerrero Quiros, Jesus" userId="9d53007f-80b5-424a-baef-31d811de0396" providerId="ADAL" clId="{AC0C42EC-1194-45C5-866F-783949D593DB}" dt="2024-11-09T23:47:57.891" v="11027" actId="1076"/>
          <ac:spMkLst>
            <pc:docMk/>
            <pc:sldMk cId="1855953999" sldId="697"/>
            <ac:spMk id="18" creationId="{F88C2877-1041-84BA-B999-D2ECBD2671AA}"/>
          </ac:spMkLst>
        </pc:spChg>
        <pc:spChg chg="mod">
          <ac:chgData name="Guerrero Quiros, Jesus" userId="9d53007f-80b5-424a-baef-31d811de0396" providerId="ADAL" clId="{AC0C42EC-1194-45C5-866F-783949D593DB}" dt="2024-11-09T23:47:57.891" v="11027" actId="1076"/>
          <ac:spMkLst>
            <pc:docMk/>
            <pc:sldMk cId="1855953999" sldId="697"/>
            <ac:spMk id="19" creationId="{F9C3640E-B7A4-C2E8-DCFC-8F6830F7E699}"/>
          </ac:spMkLst>
        </pc:spChg>
      </pc:sldChg>
      <pc:sldChg chg="addSp modSp add mod">
        <pc:chgData name="Guerrero Quiros, Jesus" userId="9d53007f-80b5-424a-baef-31d811de0396" providerId="ADAL" clId="{AC0C42EC-1194-45C5-866F-783949D593DB}" dt="2024-11-09T23:51:10.900" v="11278" actId="1076"/>
        <pc:sldMkLst>
          <pc:docMk/>
          <pc:sldMk cId="1813599994" sldId="698"/>
        </pc:sldMkLst>
        <pc:spChg chg="add mod">
          <ac:chgData name="Guerrero Quiros, Jesus" userId="9d53007f-80b5-424a-baef-31d811de0396" providerId="ADAL" clId="{AC0C42EC-1194-45C5-866F-783949D593DB}" dt="2024-11-09T23:48:13.154" v="11029"/>
          <ac:spMkLst>
            <pc:docMk/>
            <pc:sldMk cId="1813599994" sldId="698"/>
            <ac:spMk id="3" creationId="{30369FA1-9D05-357C-1497-BFB423614E3A}"/>
          </ac:spMkLst>
        </pc:spChg>
        <pc:spChg chg="add mod">
          <ac:chgData name="Guerrero Quiros, Jesus" userId="9d53007f-80b5-424a-baef-31d811de0396" providerId="ADAL" clId="{AC0C42EC-1194-45C5-866F-783949D593DB}" dt="2024-11-09T23:48:21.762" v="11031" actId="14100"/>
          <ac:spMkLst>
            <pc:docMk/>
            <pc:sldMk cId="1813599994" sldId="698"/>
            <ac:spMk id="7" creationId="{A90E4352-C00C-E8E4-A67E-30C106E97FCF}"/>
          </ac:spMkLst>
        </pc:spChg>
        <pc:spChg chg="add mod">
          <ac:chgData name="Guerrero Quiros, Jesus" userId="9d53007f-80b5-424a-baef-31d811de0396" providerId="ADAL" clId="{AC0C42EC-1194-45C5-866F-783949D593DB}" dt="2024-11-09T23:51:10.900" v="11278" actId="1076"/>
          <ac:spMkLst>
            <pc:docMk/>
            <pc:sldMk cId="1813599994" sldId="698"/>
            <ac:spMk id="11" creationId="{6DE533E6-F65A-BEC8-F385-285FC30F60B8}"/>
          </ac:spMkLst>
        </pc:spChg>
        <pc:spChg chg="mod">
          <ac:chgData name="Guerrero Quiros, Jesus" userId="9d53007f-80b5-424a-baef-31d811de0396" providerId="ADAL" clId="{AC0C42EC-1194-45C5-866F-783949D593DB}" dt="2024-11-09T23:48:32.578" v="11037" actId="692"/>
          <ac:spMkLst>
            <pc:docMk/>
            <pc:sldMk cId="1813599994" sldId="698"/>
            <ac:spMk id="13" creationId="{2291B22A-6F24-8B51-C329-C12030956359}"/>
          </ac:spMkLst>
        </pc:spChg>
        <pc:spChg chg="mod">
          <ac:chgData name="Guerrero Quiros, Jesus" userId="9d53007f-80b5-424a-baef-31d811de0396" providerId="ADAL" clId="{AC0C42EC-1194-45C5-866F-783949D593DB}" dt="2024-11-09T23:48:27.438" v="11032" actId="207"/>
          <ac:spMkLst>
            <pc:docMk/>
            <pc:sldMk cId="1813599994" sldId="698"/>
            <ac:spMk id="14" creationId="{74B202E8-E512-0862-224A-58096BE625C7}"/>
          </ac:spMkLst>
        </pc:spChg>
      </pc:sldChg>
      <pc:sldChg chg="addSp delSp modSp add mod">
        <pc:chgData name="Guerrero Quiros, Jesus" userId="9d53007f-80b5-424a-baef-31d811de0396" providerId="ADAL" clId="{AC0C42EC-1194-45C5-866F-783949D593DB}" dt="2024-11-10T12:02:46.218" v="12037" actId="20577"/>
        <pc:sldMkLst>
          <pc:docMk/>
          <pc:sldMk cId="3142621219" sldId="699"/>
        </pc:sldMkLst>
        <pc:spChg chg="mod">
          <ac:chgData name="Guerrero Quiros, Jesus" userId="9d53007f-80b5-424a-baef-31d811de0396" providerId="ADAL" clId="{AC0C42EC-1194-45C5-866F-783949D593DB}" dt="2024-11-10T11:14:38.089" v="11428" actId="20577"/>
          <ac:spMkLst>
            <pc:docMk/>
            <pc:sldMk cId="3142621219" sldId="699"/>
            <ac:spMk id="2" creationId="{00000000-0000-0000-0000-000000000000}"/>
          </ac:spMkLst>
        </pc:spChg>
        <pc:spChg chg="mod">
          <ac:chgData name="Guerrero Quiros, Jesus" userId="9d53007f-80b5-424a-baef-31d811de0396" providerId="ADAL" clId="{AC0C42EC-1194-45C5-866F-783949D593DB}" dt="2024-11-10T12:02:46.218" v="12037" actId="20577"/>
          <ac:spMkLst>
            <pc:docMk/>
            <pc:sldMk cId="3142621219" sldId="699"/>
            <ac:spMk id="3" creationId="{BD62F9AB-61EA-BFD9-9B3B-5CC6D742B44B}"/>
          </ac:spMkLst>
        </pc:spChg>
        <pc:spChg chg="mod">
          <ac:chgData name="Guerrero Quiros, Jesus" userId="9d53007f-80b5-424a-baef-31d811de0396" providerId="ADAL" clId="{AC0C42EC-1194-45C5-866F-783949D593DB}" dt="2024-11-10T11:27:16.026" v="12023" actId="1035"/>
          <ac:spMkLst>
            <pc:docMk/>
            <pc:sldMk cId="3142621219" sldId="699"/>
            <ac:spMk id="4" creationId="{4E1E5335-73F1-3905-5825-92E06A1F2D35}"/>
          </ac:spMkLst>
        </pc:spChg>
        <pc:spChg chg="mod">
          <ac:chgData name="Guerrero Quiros, Jesus" userId="9d53007f-80b5-424a-baef-31d811de0396" providerId="ADAL" clId="{AC0C42EC-1194-45C5-866F-783949D593DB}" dt="2024-11-10T11:27:16.026" v="12023" actId="1035"/>
          <ac:spMkLst>
            <pc:docMk/>
            <pc:sldMk cId="3142621219" sldId="699"/>
            <ac:spMk id="7" creationId="{DCA2725D-D496-4FA9-3932-E3592EFC0034}"/>
          </ac:spMkLst>
        </pc:spChg>
        <pc:spChg chg="mod">
          <ac:chgData name="Guerrero Quiros, Jesus" userId="9d53007f-80b5-424a-baef-31d811de0396" providerId="ADAL" clId="{AC0C42EC-1194-45C5-866F-783949D593DB}" dt="2024-11-10T11:27:16.026" v="12023" actId="1035"/>
          <ac:spMkLst>
            <pc:docMk/>
            <pc:sldMk cId="3142621219" sldId="699"/>
            <ac:spMk id="8" creationId="{68F4AFBF-5890-894B-30E9-3B25703D07D2}"/>
          </ac:spMkLst>
        </pc:spChg>
        <pc:spChg chg="add mod">
          <ac:chgData name="Guerrero Quiros, Jesus" userId="9d53007f-80b5-424a-baef-31d811de0396" providerId="ADAL" clId="{AC0C42EC-1194-45C5-866F-783949D593DB}" dt="2024-11-10T11:27:16.026" v="12023" actId="1035"/>
          <ac:spMkLst>
            <pc:docMk/>
            <pc:sldMk cId="3142621219" sldId="699"/>
            <ac:spMk id="11" creationId="{94AFB3A7-C7A8-47BA-E986-C9E285D7385B}"/>
          </ac:spMkLst>
        </pc:spChg>
        <pc:spChg chg="mod">
          <ac:chgData name="Guerrero Quiros, Jesus" userId="9d53007f-80b5-424a-baef-31d811de0396" providerId="ADAL" clId="{AC0C42EC-1194-45C5-866F-783949D593DB}" dt="2024-11-10T11:27:39.723" v="12026" actId="1076"/>
          <ac:spMkLst>
            <pc:docMk/>
            <pc:sldMk cId="3142621219" sldId="699"/>
            <ac:spMk id="19" creationId="{2FD921E3-0A81-61F8-020C-E44280FDB9F5}"/>
          </ac:spMkLst>
        </pc:spChg>
        <pc:spChg chg="add mod">
          <ac:chgData name="Guerrero Quiros, Jesus" userId="9d53007f-80b5-424a-baef-31d811de0396" providerId="ADAL" clId="{AC0C42EC-1194-45C5-866F-783949D593DB}" dt="2024-11-10T11:27:16.026" v="12023" actId="1035"/>
          <ac:spMkLst>
            <pc:docMk/>
            <pc:sldMk cId="3142621219" sldId="699"/>
            <ac:spMk id="21" creationId="{BE1D3EF5-9CED-C213-3342-B3C9E8C3A18A}"/>
          </ac:spMkLst>
        </pc:spChg>
        <pc:spChg chg="mod">
          <ac:chgData name="Guerrero Quiros, Jesus" userId="9d53007f-80b5-424a-baef-31d811de0396" providerId="ADAL" clId="{AC0C42EC-1194-45C5-866F-783949D593DB}" dt="2024-11-10T11:27:39.723" v="12026" actId="1076"/>
          <ac:spMkLst>
            <pc:docMk/>
            <pc:sldMk cId="3142621219" sldId="699"/>
            <ac:spMk id="22" creationId="{B460105E-2692-65EB-FFBA-E34EC662EEDA}"/>
          </ac:spMkLst>
        </pc:spChg>
        <pc:spChg chg="add mod">
          <ac:chgData name="Guerrero Quiros, Jesus" userId="9d53007f-80b5-424a-baef-31d811de0396" providerId="ADAL" clId="{AC0C42EC-1194-45C5-866F-783949D593DB}" dt="2024-11-10T11:27:44.379" v="12027" actId="1076"/>
          <ac:spMkLst>
            <pc:docMk/>
            <pc:sldMk cId="3142621219" sldId="699"/>
            <ac:spMk id="31" creationId="{BFC572C3-7B84-E809-DE42-714D238A31DC}"/>
          </ac:spMkLst>
        </pc:spChg>
        <pc:spChg chg="mod">
          <ac:chgData name="Guerrero Quiros, Jesus" userId="9d53007f-80b5-424a-baef-31d811de0396" providerId="ADAL" clId="{AC0C42EC-1194-45C5-866F-783949D593DB}" dt="2024-11-10T11:27:39.723" v="12026" actId="1076"/>
          <ac:spMkLst>
            <pc:docMk/>
            <pc:sldMk cId="3142621219" sldId="699"/>
            <ac:spMk id="32" creationId="{BDF62899-C1BE-17F4-1FC8-D2719B0B8DF7}"/>
          </ac:spMkLst>
        </pc:spChg>
        <pc:spChg chg="add mod">
          <ac:chgData name="Guerrero Quiros, Jesus" userId="9d53007f-80b5-424a-baef-31d811de0396" providerId="ADAL" clId="{AC0C42EC-1194-45C5-866F-783949D593DB}" dt="2024-11-10T11:27:44.379" v="12027" actId="1076"/>
          <ac:spMkLst>
            <pc:docMk/>
            <pc:sldMk cId="3142621219" sldId="699"/>
            <ac:spMk id="33" creationId="{5CBCD76F-E3F1-8B3E-92EA-147B6E915FE5}"/>
          </ac:spMkLst>
        </pc:spChg>
        <pc:spChg chg="add mod">
          <ac:chgData name="Guerrero Quiros, Jesus" userId="9d53007f-80b5-424a-baef-31d811de0396" providerId="ADAL" clId="{AC0C42EC-1194-45C5-866F-783949D593DB}" dt="2024-11-10T11:27:44.379" v="12027" actId="1076"/>
          <ac:spMkLst>
            <pc:docMk/>
            <pc:sldMk cId="3142621219" sldId="699"/>
            <ac:spMk id="37" creationId="{AC8BE24E-DE79-42C5-B82E-91493F3499DF}"/>
          </ac:spMkLst>
        </pc:spChg>
        <pc:cxnChg chg="mod">
          <ac:chgData name="Guerrero Quiros, Jesus" userId="9d53007f-80b5-424a-baef-31d811de0396" providerId="ADAL" clId="{AC0C42EC-1194-45C5-866F-783949D593DB}" dt="2024-11-10T11:27:16.026" v="12023" actId="1035"/>
          <ac:cxnSpMkLst>
            <pc:docMk/>
            <pc:sldMk cId="3142621219" sldId="699"/>
            <ac:cxnSpMk id="10" creationId="{9DA2F590-EDB0-F307-6985-878C7D655062}"/>
          </ac:cxnSpMkLst>
        </pc:cxnChg>
        <pc:cxnChg chg="add mod">
          <ac:chgData name="Guerrero Quiros, Jesus" userId="9d53007f-80b5-424a-baef-31d811de0396" providerId="ADAL" clId="{AC0C42EC-1194-45C5-866F-783949D593DB}" dt="2024-11-10T11:27:16.026" v="12023" actId="1035"/>
          <ac:cxnSpMkLst>
            <pc:docMk/>
            <pc:sldMk cId="3142621219" sldId="699"/>
            <ac:cxnSpMk id="12" creationId="{5C455B78-43FC-9B92-C390-16AC5892EA73}"/>
          </ac:cxnSpMkLst>
        </pc:cxnChg>
        <pc:cxnChg chg="mod">
          <ac:chgData name="Guerrero Quiros, Jesus" userId="9d53007f-80b5-424a-baef-31d811de0396" providerId="ADAL" clId="{AC0C42EC-1194-45C5-866F-783949D593DB}" dt="2024-11-10T11:27:16.026" v="12023" actId="1035"/>
          <ac:cxnSpMkLst>
            <pc:docMk/>
            <pc:sldMk cId="3142621219" sldId="699"/>
            <ac:cxnSpMk id="14" creationId="{F980479C-CE03-649E-F12A-FD234788C1F2}"/>
          </ac:cxnSpMkLst>
        </pc:cxnChg>
        <pc:cxnChg chg="mod">
          <ac:chgData name="Guerrero Quiros, Jesus" userId="9d53007f-80b5-424a-baef-31d811de0396" providerId="ADAL" clId="{AC0C42EC-1194-45C5-866F-783949D593DB}" dt="2024-11-10T11:27:16.026" v="12023" actId="1035"/>
          <ac:cxnSpMkLst>
            <pc:docMk/>
            <pc:sldMk cId="3142621219" sldId="699"/>
            <ac:cxnSpMk id="16" creationId="{010B2AC5-69C8-E345-30F1-7FCBDCD313D7}"/>
          </ac:cxnSpMkLst>
        </pc:cxnChg>
        <pc:cxnChg chg="mod">
          <ac:chgData name="Guerrero Quiros, Jesus" userId="9d53007f-80b5-424a-baef-31d811de0396" providerId="ADAL" clId="{AC0C42EC-1194-45C5-866F-783949D593DB}" dt="2024-11-10T11:27:39.723" v="12026" actId="1076"/>
          <ac:cxnSpMkLst>
            <pc:docMk/>
            <pc:sldMk cId="3142621219" sldId="699"/>
            <ac:cxnSpMk id="20" creationId="{5AD38BDE-2E1A-77DF-B376-C6B1BFECDE73}"/>
          </ac:cxnSpMkLst>
        </pc:cxnChg>
        <pc:cxnChg chg="add mod">
          <ac:chgData name="Guerrero Quiros, Jesus" userId="9d53007f-80b5-424a-baef-31d811de0396" providerId="ADAL" clId="{AC0C42EC-1194-45C5-866F-783949D593DB}" dt="2024-11-10T11:27:16.026" v="12023" actId="1035"/>
          <ac:cxnSpMkLst>
            <pc:docMk/>
            <pc:sldMk cId="3142621219" sldId="699"/>
            <ac:cxnSpMk id="25" creationId="{CDB0F0DB-7B8A-CCA7-5445-CEA40389223A}"/>
          </ac:cxnSpMkLst>
        </pc:cxnChg>
        <pc:cxnChg chg="mod">
          <ac:chgData name="Guerrero Quiros, Jesus" userId="9d53007f-80b5-424a-baef-31d811de0396" providerId="ADAL" clId="{AC0C42EC-1194-45C5-866F-783949D593DB}" dt="2024-11-10T11:27:29.488" v="12025" actId="1076"/>
          <ac:cxnSpMkLst>
            <pc:docMk/>
            <pc:sldMk cId="3142621219" sldId="699"/>
            <ac:cxnSpMk id="28" creationId="{00000000-0000-0000-0000-000000000000}"/>
          </ac:cxnSpMkLst>
        </pc:cxnChg>
        <pc:cxnChg chg="mod">
          <ac:chgData name="Guerrero Quiros, Jesus" userId="9d53007f-80b5-424a-baef-31d811de0396" providerId="ADAL" clId="{AC0C42EC-1194-45C5-866F-783949D593DB}" dt="2024-11-10T11:27:39.723" v="12026" actId="1076"/>
          <ac:cxnSpMkLst>
            <pc:docMk/>
            <pc:sldMk cId="3142621219" sldId="699"/>
            <ac:cxnSpMk id="34" creationId="{59421078-AF1E-83E7-E7E7-267B78BC2B24}"/>
          </ac:cxnSpMkLst>
        </pc:cxnChg>
        <pc:cxnChg chg="add mod">
          <ac:chgData name="Guerrero Quiros, Jesus" userId="9d53007f-80b5-424a-baef-31d811de0396" providerId="ADAL" clId="{AC0C42EC-1194-45C5-866F-783949D593DB}" dt="2024-11-10T11:27:44.379" v="12027" actId="1076"/>
          <ac:cxnSpMkLst>
            <pc:docMk/>
            <pc:sldMk cId="3142621219" sldId="699"/>
            <ac:cxnSpMk id="36" creationId="{4AB2F8E6-0471-C704-8945-EE1DE86BBC70}"/>
          </ac:cxnSpMkLst>
        </pc:cxnChg>
        <pc:cxnChg chg="add mod">
          <ac:chgData name="Guerrero Quiros, Jesus" userId="9d53007f-80b5-424a-baef-31d811de0396" providerId="ADAL" clId="{AC0C42EC-1194-45C5-866F-783949D593DB}" dt="2024-11-10T11:27:44.379" v="12027" actId="1076"/>
          <ac:cxnSpMkLst>
            <pc:docMk/>
            <pc:sldMk cId="3142621219" sldId="699"/>
            <ac:cxnSpMk id="38" creationId="{B507CCB0-A129-3536-1F2C-0F6B7AA5D4B3}"/>
          </ac:cxnSpMkLst>
        </pc:cxnChg>
      </pc:sldChg>
      <pc:sldChg chg="addSp delSp modSp add mod">
        <pc:chgData name="Guerrero Quiros, Jesus" userId="9d53007f-80b5-424a-baef-31d811de0396" providerId="ADAL" clId="{AC0C42EC-1194-45C5-866F-783949D593DB}" dt="2024-11-11T12:30:32.053" v="17041" actId="313"/>
        <pc:sldMkLst>
          <pc:docMk/>
          <pc:sldMk cId="4048058380" sldId="700"/>
        </pc:sldMkLst>
        <pc:spChg chg="mod">
          <ac:chgData name="Guerrero Quiros, Jesus" userId="9d53007f-80b5-424a-baef-31d811de0396" providerId="ADAL" clId="{AC0C42EC-1194-45C5-866F-783949D593DB}" dt="2024-11-10T12:03:57.675" v="12103" actId="20577"/>
          <ac:spMkLst>
            <pc:docMk/>
            <pc:sldMk cId="4048058380" sldId="700"/>
            <ac:spMk id="2" creationId="{00000000-0000-0000-0000-000000000000}"/>
          </ac:spMkLst>
        </pc:spChg>
        <pc:spChg chg="mod">
          <ac:chgData name="Guerrero Quiros, Jesus" userId="9d53007f-80b5-424a-baef-31d811de0396" providerId="ADAL" clId="{AC0C42EC-1194-45C5-866F-783949D593DB}" dt="2024-11-10T12:09:49.745" v="12148" actId="14100"/>
          <ac:spMkLst>
            <pc:docMk/>
            <pc:sldMk cId="4048058380" sldId="700"/>
            <ac:spMk id="3" creationId="{240E4BEB-B94C-1D23-0029-4D1AE11B78AD}"/>
          </ac:spMkLst>
        </pc:spChg>
        <pc:spChg chg="add mod">
          <ac:chgData name="Guerrero Quiros, Jesus" userId="9d53007f-80b5-424a-baef-31d811de0396" providerId="ADAL" clId="{AC0C42EC-1194-45C5-866F-783949D593DB}" dt="2024-11-11T12:28:00.083" v="16988" actId="1035"/>
          <ac:spMkLst>
            <pc:docMk/>
            <pc:sldMk cId="4048058380" sldId="700"/>
            <ac:spMk id="4" creationId="{8B421C3D-0B78-C4CC-A271-2AC658D39783}"/>
          </ac:spMkLst>
        </pc:spChg>
        <pc:spChg chg="add mod">
          <ac:chgData name="Guerrero Quiros, Jesus" userId="9d53007f-80b5-424a-baef-31d811de0396" providerId="ADAL" clId="{AC0C42EC-1194-45C5-866F-783949D593DB}" dt="2024-11-11T12:30:32.053" v="17041" actId="313"/>
          <ac:spMkLst>
            <pc:docMk/>
            <pc:sldMk cId="4048058380" sldId="700"/>
            <ac:spMk id="5" creationId="{080CF1DA-094C-10BF-92B2-CF17DE7CE145}"/>
          </ac:spMkLst>
        </pc:spChg>
        <pc:spChg chg="add mod">
          <ac:chgData name="Guerrero Quiros, Jesus" userId="9d53007f-80b5-424a-baef-31d811de0396" providerId="ADAL" clId="{AC0C42EC-1194-45C5-866F-783949D593DB}" dt="2024-11-11T12:28:00.083" v="16988" actId="1035"/>
          <ac:spMkLst>
            <pc:docMk/>
            <pc:sldMk cId="4048058380" sldId="700"/>
            <ac:spMk id="8" creationId="{BDA14C7C-3457-3335-247D-E4A5CDFB05AA}"/>
          </ac:spMkLst>
        </pc:spChg>
        <pc:spChg chg="mod">
          <ac:chgData name="Guerrero Quiros, Jesus" userId="9d53007f-80b5-424a-baef-31d811de0396" providerId="ADAL" clId="{AC0C42EC-1194-45C5-866F-783949D593DB}" dt="2024-11-11T12:27:36.543" v="16959" actId="20577"/>
          <ac:spMkLst>
            <pc:docMk/>
            <pc:sldMk cId="4048058380" sldId="700"/>
            <ac:spMk id="30" creationId="{AB9DE26F-DC7E-4569-9118-90461BDA080D}"/>
          </ac:spMkLst>
        </pc:spChg>
      </pc:sldChg>
      <pc:sldChg chg="addSp delSp modSp add mod">
        <pc:chgData name="Guerrero Quiros, Jesus" userId="9d53007f-80b5-424a-baef-31d811de0396" providerId="ADAL" clId="{AC0C42EC-1194-45C5-866F-783949D593DB}" dt="2024-11-10T12:56:29.636" v="13572" actId="14100"/>
        <pc:sldMkLst>
          <pc:docMk/>
          <pc:sldMk cId="3990589667" sldId="701"/>
        </pc:sldMkLst>
        <pc:spChg chg="add mod">
          <ac:chgData name="Guerrero Quiros, Jesus" userId="9d53007f-80b5-424a-baef-31d811de0396" providerId="ADAL" clId="{AC0C42EC-1194-45C5-866F-783949D593DB}" dt="2024-11-10T12:42:14.214" v="13025" actId="14100"/>
          <ac:spMkLst>
            <pc:docMk/>
            <pc:sldMk cId="3990589667" sldId="701"/>
            <ac:spMk id="3" creationId="{A1E03A27-95D4-B6F0-160F-3EE945D98AAF}"/>
          </ac:spMkLst>
        </pc:spChg>
        <pc:spChg chg="add mod">
          <ac:chgData name="Guerrero Quiros, Jesus" userId="9d53007f-80b5-424a-baef-31d811de0396" providerId="ADAL" clId="{AC0C42EC-1194-45C5-866F-783949D593DB}" dt="2024-11-10T12:48:22.555" v="13254" actId="1076"/>
          <ac:spMkLst>
            <pc:docMk/>
            <pc:sldMk cId="3990589667" sldId="701"/>
            <ac:spMk id="4" creationId="{4EDDFF95-0F9D-F6B2-B9CA-E3F40713CC95}"/>
          </ac:spMkLst>
        </pc:spChg>
        <pc:spChg chg="add mod">
          <ac:chgData name="Guerrero Quiros, Jesus" userId="9d53007f-80b5-424a-baef-31d811de0396" providerId="ADAL" clId="{AC0C42EC-1194-45C5-866F-783949D593DB}" dt="2024-11-10T12:47:58.988" v="13241" actId="1076"/>
          <ac:spMkLst>
            <pc:docMk/>
            <pc:sldMk cId="3990589667" sldId="701"/>
            <ac:spMk id="5" creationId="{0628EA40-CD33-6009-1BFB-A907F7F5B9F5}"/>
          </ac:spMkLst>
        </pc:spChg>
        <pc:spChg chg="add mod">
          <ac:chgData name="Guerrero Quiros, Jesus" userId="9d53007f-80b5-424a-baef-31d811de0396" providerId="ADAL" clId="{AC0C42EC-1194-45C5-866F-783949D593DB}" dt="2024-11-10T12:47:58.988" v="13241" actId="1076"/>
          <ac:spMkLst>
            <pc:docMk/>
            <pc:sldMk cId="3990589667" sldId="701"/>
            <ac:spMk id="7" creationId="{B6EB4B28-B76D-1C9A-1CE7-C1E7A32EF819}"/>
          </ac:spMkLst>
        </pc:spChg>
        <pc:spChg chg="add mod">
          <ac:chgData name="Guerrero Quiros, Jesus" userId="9d53007f-80b5-424a-baef-31d811de0396" providerId="ADAL" clId="{AC0C42EC-1194-45C5-866F-783949D593DB}" dt="2024-11-10T12:47:58.988" v="13241" actId="1076"/>
          <ac:spMkLst>
            <pc:docMk/>
            <pc:sldMk cId="3990589667" sldId="701"/>
            <ac:spMk id="9" creationId="{C5F0E448-66DA-36C6-962A-F165A5AB5E3C}"/>
          </ac:spMkLst>
        </pc:spChg>
        <pc:spChg chg="add mod">
          <ac:chgData name="Guerrero Quiros, Jesus" userId="9d53007f-80b5-424a-baef-31d811de0396" providerId="ADAL" clId="{AC0C42EC-1194-45C5-866F-783949D593DB}" dt="2024-11-10T12:47:58.988" v="13241" actId="1076"/>
          <ac:spMkLst>
            <pc:docMk/>
            <pc:sldMk cId="3990589667" sldId="701"/>
            <ac:spMk id="10" creationId="{B0496E5F-8886-0299-6802-1C451FA5FEB6}"/>
          </ac:spMkLst>
        </pc:spChg>
        <pc:spChg chg="add mod">
          <ac:chgData name="Guerrero Quiros, Jesus" userId="9d53007f-80b5-424a-baef-31d811de0396" providerId="ADAL" clId="{AC0C42EC-1194-45C5-866F-783949D593DB}" dt="2024-11-10T12:47:58.988" v="13241" actId="1076"/>
          <ac:spMkLst>
            <pc:docMk/>
            <pc:sldMk cId="3990589667" sldId="701"/>
            <ac:spMk id="12" creationId="{83C8F0AD-84A1-4871-BD8B-D14ED84C2159}"/>
          </ac:spMkLst>
        </pc:spChg>
        <pc:spChg chg="add mod">
          <ac:chgData name="Guerrero Quiros, Jesus" userId="9d53007f-80b5-424a-baef-31d811de0396" providerId="ADAL" clId="{AC0C42EC-1194-45C5-866F-783949D593DB}" dt="2024-11-10T12:47:58.988" v="13241" actId="1076"/>
          <ac:spMkLst>
            <pc:docMk/>
            <pc:sldMk cId="3990589667" sldId="701"/>
            <ac:spMk id="13" creationId="{9A84F590-542E-2AFF-803C-DA2EC49EF718}"/>
          </ac:spMkLst>
        </pc:spChg>
        <pc:spChg chg="add mod">
          <ac:chgData name="Guerrero Quiros, Jesus" userId="9d53007f-80b5-424a-baef-31d811de0396" providerId="ADAL" clId="{AC0C42EC-1194-45C5-866F-783949D593DB}" dt="2024-11-10T12:47:58.988" v="13241" actId="1076"/>
          <ac:spMkLst>
            <pc:docMk/>
            <pc:sldMk cId="3990589667" sldId="701"/>
            <ac:spMk id="14" creationId="{12164C89-FFE8-15D4-A2AB-D0B437FE8CAB}"/>
          </ac:spMkLst>
        </pc:spChg>
        <pc:spChg chg="add mod">
          <ac:chgData name="Guerrero Quiros, Jesus" userId="9d53007f-80b5-424a-baef-31d811de0396" providerId="ADAL" clId="{AC0C42EC-1194-45C5-866F-783949D593DB}" dt="2024-11-10T12:47:58.988" v="13241" actId="1076"/>
          <ac:spMkLst>
            <pc:docMk/>
            <pc:sldMk cId="3990589667" sldId="701"/>
            <ac:spMk id="16" creationId="{E9612010-52E1-0C05-2E2C-83056FEFA6EB}"/>
          </ac:spMkLst>
        </pc:spChg>
        <pc:spChg chg="add mod">
          <ac:chgData name="Guerrero Quiros, Jesus" userId="9d53007f-80b5-424a-baef-31d811de0396" providerId="ADAL" clId="{AC0C42EC-1194-45C5-866F-783949D593DB}" dt="2024-11-10T12:50:24.724" v="13434" actId="122"/>
          <ac:spMkLst>
            <pc:docMk/>
            <pc:sldMk cId="3990589667" sldId="701"/>
            <ac:spMk id="19" creationId="{58435241-8F6D-B149-5150-7E99AF3D79EF}"/>
          </ac:spMkLst>
        </pc:spChg>
        <pc:spChg chg="add mod">
          <ac:chgData name="Guerrero Quiros, Jesus" userId="9d53007f-80b5-424a-baef-31d811de0396" providerId="ADAL" clId="{AC0C42EC-1194-45C5-866F-783949D593DB}" dt="2024-11-10T12:50:22.553" v="13433" actId="122"/>
          <ac:spMkLst>
            <pc:docMk/>
            <pc:sldMk cId="3990589667" sldId="701"/>
            <ac:spMk id="21" creationId="{E70A6A6A-A361-EB6C-F6BC-674285A8189E}"/>
          </ac:spMkLst>
        </pc:spChg>
        <pc:spChg chg="add mod">
          <ac:chgData name="Guerrero Quiros, Jesus" userId="9d53007f-80b5-424a-baef-31d811de0396" providerId="ADAL" clId="{AC0C42EC-1194-45C5-866F-783949D593DB}" dt="2024-11-10T12:50:27.019" v="13435" actId="122"/>
          <ac:spMkLst>
            <pc:docMk/>
            <pc:sldMk cId="3990589667" sldId="701"/>
            <ac:spMk id="23" creationId="{33151198-55AB-E444-0915-844BCB41D7D9}"/>
          </ac:spMkLst>
        </pc:spChg>
        <pc:spChg chg="add mod">
          <ac:chgData name="Guerrero Quiros, Jesus" userId="9d53007f-80b5-424a-baef-31d811de0396" providerId="ADAL" clId="{AC0C42EC-1194-45C5-866F-783949D593DB}" dt="2024-11-10T12:56:29.636" v="13572" actId="14100"/>
          <ac:spMkLst>
            <pc:docMk/>
            <pc:sldMk cId="3990589667" sldId="701"/>
            <ac:spMk id="24" creationId="{F6B3E454-97C6-505D-A850-78720496669A}"/>
          </ac:spMkLst>
        </pc:spChg>
        <pc:spChg chg="mod">
          <ac:chgData name="Guerrero Quiros, Jesus" userId="9d53007f-80b5-424a-baef-31d811de0396" providerId="ADAL" clId="{AC0C42EC-1194-45C5-866F-783949D593DB}" dt="2024-11-10T12:45:16.686" v="13133" actId="113"/>
          <ac:spMkLst>
            <pc:docMk/>
            <pc:sldMk cId="3990589667" sldId="701"/>
            <ac:spMk id="30" creationId="{AB9DE26F-DC7E-4569-9118-90461BDA080D}"/>
          </ac:spMkLst>
        </pc:spChg>
        <pc:cxnChg chg="add mod">
          <ac:chgData name="Guerrero Quiros, Jesus" userId="9d53007f-80b5-424a-baef-31d811de0396" providerId="ADAL" clId="{AC0C42EC-1194-45C5-866F-783949D593DB}" dt="2024-11-10T12:48:22.555" v="13254" actId="1076"/>
          <ac:cxnSpMkLst>
            <pc:docMk/>
            <pc:sldMk cId="3990589667" sldId="701"/>
            <ac:cxnSpMk id="18" creationId="{3F35948F-02AD-5BFC-7BB2-E90047D8624F}"/>
          </ac:cxnSpMkLst>
        </pc:cxnChg>
        <pc:cxnChg chg="add mod">
          <ac:chgData name="Guerrero Quiros, Jesus" userId="9d53007f-80b5-424a-baef-31d811de0396" providerId="ADAL" clId="{AC0C42EC-1194-45C5-866F-783949D593DB}" dt="2024-11-10T12:49:07.906" v="13325" actId="692"/>
          <ac:cxnSpMkLst>
            <pc:docMk/>
            <pc:sldMk cId="3990589667" sldId="701"/>
            <ac:cxnSpMk id="20" creationId="{28A91A7C-9B4B-31F5-2F48-07185241DB0C}"/>
          </ac:cxnSpMkLst>
        </pc:cxnChg>
        <pc:cxnChg chg="add mod">
          <ac:chgData name="Guerrero Quiros, Jesus" userId="9d53007f-80b5-424a-baef-31d811de0396" providerId="ADAL" clId="{AC0C42EC-1194-45C5-866F-783949D593DB}" dt="2024-11-10T12:49:43.051" v="13387" actId="692"/>
          <ac:cxnSpMkLst>
            <pc:docMk/>
            <pc:sldMk cId="3990589667" sldId="701"/>
            <ac:cxnSpMk id="22" creationId="{0D04819E-C977-CC73-6007-F22CDC08D3B8}"/>
          </ac:cxnSpMkLst>
        </pc:cxnChg>
      </pc:sldChg>
      <pc:sldChg chg="addSp delSp modSp add mod">
        <pc:chgData name="Guerrero Quiros, Jesus" userId="9d53007f-80b5-424a-baef-31d811de0396" providerId="ADAL" clId="{AC0C42EC-1194-45C5-866F-783949D593DB}" dt="2024-11-10T15:10:26.401" v="14795" actId="692"/>
        <pc:sldMkLst>
          <pc:docMk/>
          <pc:sldMk cId="3668585754" sldId="702"/>
        </pc:sldMkLst>
        <pc:spChg chg="add mod">
          <ac:chgData name="Guerrero Quiros, Jesus" userId="9d53007f-80b5-424a-baef-31d811de0396" providerId="ADAL" clId="{AC0C42EC-1194-45C5-866F-783949D593DB}" dt="2024-11-10T13:24:01.723" v="14469" actId="14100"/>
          <ac:spMkLst>
            <pc:docMk/>
            <pc:sldMk cId="3668585754" sldId="702"/>
            <ac:spMk id="7" creationId="{2558CEA3-6C1E-D0FA-E4F7-4DB5D1BD104D}"/>
          </ac:spMkLst>
        </pc:spChg>
        <pc:spChg chg="add mod">
          <ac:chgData name="Guerrero Quiros, Jesus" userId="9d53007f-80b5-424a-baef-31d811de0396" providerId="ADAL" clId="{AC0C42EC-1194-45C5-866F-783949D593DB}" dt="2024-11-10T13:30:58.452" v="14716" actId="1035"/>
          <ac:spMkLst>
            <pc:docMk/>
            <pc:sldMk cId="3668585754" sldId="702"/>
            <ac:spMk id="9" creationId="{95226259-FD78-24ED-7CD5-5E4473EB212B}"/>
          </ac:spMkLst>
        </pc:spChg>
        <pc:spChg chg="add mod">
          <ac:chgData name="Guerrero Quiros, Jesus" userId="9d53007f-80b5-424a-baef-31d811de0396" providerId="ADAL" clId="{AC0C42EC-1194-45C5-866F-783949D593DB}" dt="2024-11-10T13:21:37.059" v="14234" actId="1035"/>
          <ac:spMkLst>
            <pc:docMk/>
            <pc:sldMk cId="3668585754" sldId="702"/>
            <ac:spMk id="10" creationId="{B338A180-F112-693B-9273-6844731A3F6D}"/>
          </ac:spMkLst>
        </pc:spChg>
        <pc:spChg chg="add mod">
          <ac:chgData name="Guerrero Quiros, Jesus" userId="9d53007f-80b5-424a-baef-31d811de0396" providerId="ADAL" clId="{AC0C42EC-1194-45C5-866F-783949D593DB}" dt="2024-11-10T13:21:37.059" v="14234" actId="1035"/>
          <ac:spMkLst>
            <pc:docMk/>
            <pc:sldMk cId="3668585754" sldId="702"/>
            <ac:spMk id="12" creationId="{D17BBD3C-63DD-8598-C2C6-C9342565D1C2}"/>
          </ac:spMkLst>
        </pc:spChg>
        <pc:spChg chg="add mod">
          <ac:chgData name="Guerrero Quiros, Jesus" userId="9d53007f-80b5-424a-baef-31d811de0396" providerId="ADAL" clId="{AC0C42EC-1194-45C5-866F-783949D593DB}" dt="2024-11-10T13:21:37.059" v="14234" actId="1035"/>
          <ac:spMkLst>
            <pc:docMk/>
            <pc:sldMk cId="3668585754" sldId="702"/>
            <ac:spMk id="16" creationId="{8E38D3CF-0A7C-0C8C-CCF3-CE50AC9D0153}"/>
          </ac:spMkLst>
        </pc:spChg>
        <pc:spChg chg="add mod">
          <ac:chgData name="Guerrero Quiros, Jesus" userId="9d53007f-80b5-424a-baef-31d811de0396" providerId="ADAL" clId="{AC0C42EC-1194-45C5-866F-783949D593DB}" dt="2024-11-10T13:21:37.059" v="14234" actId="1035"/>
          <ac:spMkLst>
            <pc:docMk/>
            <pc:sldMk cId="3668585754" sldId="702"/>
            <ac:spMk id="17" creationId="{A5BCB337-2FB8-FEA3-27B3-7A0B053E32B0}"/>
          </ac:spMkLst>
        </pc:spChg>
        <pc:spChg chg="add mod">
          <ac:chgData name="Guerrero Quiros, Jesus" userId="9d53007f-80b5-424a-baef-31d811de0396" providerId="ADAL" clId="{AC0C42EC-1194-45C5-866F-783949D593DB}" dt="2024-11-10T13:23:29.438" v="14448" actId="14100"/>
          <ac:spMkLst>
            <pc:docMk/>
            <pc:sldMk cId="3668585754" sldId="702"/>
            <ac:spMk id="18" creationId="{0D19B179-C537-8577-2FC2-FFB34F25E4E3}"/>
          </ac:spMkLst>
        </pc:spChg>
        <pc:spChg chg="add mod">
          <ac:chgData name="Guerrero Quiros, Jesus" userId="9d53007f-80b5-424a-baef-31d811de0396" providerId="ADAL" clId="{AC0C42EC-1194-45C5-866F-783949D593DB}" dt="2024-11-10T13:23:29.438" v="14448" actId="14100"/>
          <ac:spMkLst>
            <pc:docMk/>
            <pc:sldMk cId="3668585754" sldId="702"/>
            <ac:spMk id="19" creationId="{4E31604D-5316-E539-1907-1F2FFB671FDB}"/>
          </ac:spMkLst>
        </pc:spChg>
        <pc:spChg chg="add mod">
          <ac:chgData name="Guerrero Quiros, Jesus" userId="9d53007f-80b5-424a-baef-31d811de0396" providerId="ADAL" clId="{AC0C42EC-1194-45C5-866F-783949D593DB}" dt="2024-11-10T13:23:42.100" v="14449" actId="1076"/>
          <ac:spMkLst>
            <pc:docMk/>
            <pc:sldMk cId="3668585754" sldId="702"/>
            <ac:spMk id="20" creationId="{D8F54AA8-5FD4-7E48-97BA-1220343E83A5}"/>
          </ac:spMkLst>
        </pc:spChg>
        <pc:spChg chg="add mod">
          <ac:chgData name="Guerrero Quiros, Jesus" userId="9d53007f-80b5-424a-baef-31d811de0396" providerId="ADAL" clId="{AC0C42EC-1194-45C5-866F-783949D593DB}" dt="2024-11-10T13:23:06.537" v="14395" actId="1038"/>
          <ac:spMkLst>
            <pc:docMk/>
            <pc:sldMk cId="3668585754" sldId="702"/>
            <ac:spMk id="23" creationId="{F6C9E302-C5A4-E301-F4D5-B2CB59ACB625}"/>
          </ac:spMkLst>
        </pc:spChg>
        <pc:spChg chg="add mod">
          <ac:chgData name="Guerrero Quiros, Jesus" userId="9d53007f-80b5-424a-baef-31d811de0396" providerId="ADAL" clId="{AC0C42EC-1194-45C5-866F-783949D593DB}" dt="2024-11-10T13:23:06.537" v="14395" actId="1038"/>
          <ac:spMkLst>
            <pc:docMk/>
            <pc:sldMk cId="3668585754" sldId="702"/>
            <ac:spMk id="24" creationId="{256B11C8-C0DC-6A02-C704-E3EBF3745D26}"/>
          </ac:spMkLst>
        </pc:spChg>
        <pc:spChg chg="add mod">
          <ac:chgData name="Guerrero Quiros, Jesus" userId="9d53007f-80b5-424a-baef-31d811de0396" providerId="ADAL" clId="{AC0C42EC-1194-45C5-866F-783949D593DB}" dt="2024-11-10T13:25:16.407" v="14557" actId="14100"/>
          <ac:spMkLst>
            <pc:docMk/>
            <pc:sldMk cId="3668585754" sldId="702"/>
            <ac:spMk id="29" creationId="{3E6E009B-3F98-D6D2-44F2-314636B14E3D}"/>
          </ac:spMkLst>
        </pc:spChg>
        <pc:spChg chg="add mod">
          <ac:chgData name="Guerrero Quiros, Jesus" userId="9d53007f-80b5-424a-baef-31d811de0396" providerId="ADAL" clId="{AC0C42EC-1194-45C5-866F-783949D593DB}" dt="2024-11-10T13:24:18.615" v="14481" actId="20577"/>
          <ac:spMkLst>
            <pc:docMk/>
            <pc:sldMk cId="3668585754" sldId="702"/>
            <ac:spMk id="32" creationId="{A42E591D-915C-0768-35DA-49A23803C2A0}"/>
          </ac:spMkLst>
        </pc:spChg>
        <pc:spChg chg="add mod">
          <ac:chgData name="Guerrero Quiros, Jesus" userId="9d53007f-80b5-424a-baef-31d811de0396" providerId="ADAL" clId="{AC0C42EC-1194-45C5-866F-783949D593DB}" dt="2024-11-10T13:25:10.933" v="14554" actId="20577"/>
          <ac:spMkLst>
            <pc:docMk/>
            <pc:sldMk cId="3668585754" sldId="702"/>
            <ac:spMk id="33" creationId="{0D251DE8-3F8F-D81A-423D-0CE676CF80D1}"/>
          </ac:spMkLst>
        </pc:spChg>
        <pc:spChg chg="add mod">
          <ac:chgData name="Guerrero Quiros, Jesus" userId="9d53007f-80b5-424a-baef-31d811de0396" providerId="ADAL" clId="{AC0C42EC-1194-45C5-866F-783949D593DB}" dt="2024-11-10T13:27:11.750" v="14617" actId="14100"/>
          <ac:spMkLst>
            <pc:docMk/>
            <pc:sldMk cId="3668585754" sldId="702"/>
            <ac:spMk id="34" creationId="{109B486B-901F-FD48-4DEE-907AA6AB594C}"/>
          </ac:spMkLst>
        </pc:spChg>
        <pc:spChg chg="add mod">
          <ac:chgData name="Guerrero Quiros, Jesus" userId="9d53007f-80b5-424a-baef-31d811de0396" providerId="ADAL" clId="{AC0C42EC-1194-45C5-866F-783949D593DB}" dt="2024-11-10T13:27:01.213" v="14615" actId="1076"/>
          <ac:spMkLst>
            <pc:docMk/>
            <pc:sldMk cId="3668585754" sldId="702"/>
            <ac:spMk id="35" creationId="{0D937498-1E9B-71B1-4116-4A181C69A552}"/>
          </ac:spMkLst>
        </pc:spChg>
        <pc:spChg chg="add mod">
          <ac:chgData name="Guerrero Quiros, Jesus" userId="9d53007f-80b5-424a-baef-31d811de0396" providerId="ADAL" clId="{AC0C42EC-1194-45C5-866F-783949D593DB}" dt="2024-11-10T13:30:14.696" v="14675" actId="14100"/>
          <ac:spMkLst>
            <pc:docMk/>
            <pc:sldMk cId="3668585754" sldId="702"/>
            <ac:spMk id="36" creationId="{E593EC71-CD38-ED8F-2B33-35BFEC7981FC}"/>
          </ac:spMkLst>
        </pc:spChg>
        <pc:spChg chg="add mod">
          <ac:chgData name="Guerrero Quiros, Jesus" userId="9d53007f-80b5-424a-baef-31d811de0396" providerId="ADAL" clId="{AC0C42EC-1194-45C5-866F-783949D593DB}" dt="2024-11-10T13:30:14.696" v="14675" actId="14100"/>
          <ac:spMkLst>
            <pc:docMk/>
            <pc:sldMk cId="3668585754" sldId="702"/>
            <ac:spMk id="37" creationId="{33AEDB68-0333-1E01-B061-CF868B9792D4}"/>
          </ac:spMkLst>
        </pc:spChg>
        <pc:spChg chg="add mod">
          <ac:chgData name="Guerrero Quiros, Jesus" userId="9d53007f-80b5-424a-baef-31d811de0396" providerId="ADAL" clId="{AC0C42EC-1194-45C5-866F-783949D593DB}" dt="2024-11-10T13:30:53.724" v="14703" actId="207"/>
          <ac:spMkLst>
            <pc:docMk/>
            <pc:sldMk cId="3668585754" sldId="702"/>
            <ac:spMk id="57" creationId="{5DE2E9B7-73E5-EC9B-E801-A6C822BAD694}"/>
          </ac:spMkLst>
        </pc:spChg>
        <pc:cxnChg chg="add mod">
          <ac:chgData name="Guerrero Quiros, Jesus" userId="9d53007f-80b5-424a-baef-31d811de0396" providerId="ADAL" clId="{AC0C42EC-1194-45C5-866F-783949D593DB}" dt="2024-11-10T15:09:51.622" v="14788" actId="692"/>
          <ac:cxnSpMkLst>
            <pc:docMk/>
            <pc:sldMk cId="3668585754" sldId="702"/>
            <ac:cxnSpMk id="14" creationId="{ABD1024E-F86C-AA1F-833B-EC35928579E9}"/>
          </ac:cxnSpMkLst>
        </pc:cxnChg>
        <pc:cxnChg chg="add mod">
          <ac:chgData name="Guerrero Quiros, Jesus" userId="9d53007f-80b5-424a-baef-31d811de0396" providerId="ADAL" clId="{AC0C42EC-1194-45C5-866F-783949D593DB}" dt="2024-11-10T13:23:29.438" v="14448" actId="14100"/>
          <ac:cxnSpMkLst>
            <pc:docMk/>
            <pc:sldMk cId="3668585754" sldId="702"/>
            <ac:cxnSpMk id="22" creationId="{F062A603-25D6-967E-D7F2-F45EB94FDD08}"/>
          </ac:cxnSpMkLst>
        </pc:cxnChg>
        <pc:cxnChg chg="add mod ord">
          <ac:chgData name="Guerrero Quiros, Jesus" userId="9d53007f-80b5-424a-baef-31d811de0396" providerId="ADAL" clId="{AC0C42EC-1194-45C5-866F-783949D593DB}" dt="2024-11-10T13:30:14.696" v="14675" actId="14100"/>
          <ac:cxnSpMkLst>
            <pc:docMk/>
            <pc:sldMk cId="3668585754" sldId="702"/>
            <ac:cxnSpMk id="38" creationId="{7F01F8B8-5CAC-B523-4EAC-29A285CFA14B}"/>
          </ac:cxnSpMkLst>
        </pc:cxnChg>
        <pc:cxnChg chg="add mod">
          <ac:chgData name="Guerrero Quiros, Jesus" userId="9d53007f-80b5-424a-baef-31d811de0396" providerId="ADAL" clId="{AC0C42EC-1194-45C5-866F-783949D593DB}" dt="2024-11-10T13:29:03.770" v="14636" actId="14100"/>
          <ac:cxnSpMkLst>
            <pc:docMk/>
            <pc:sldMk cId="3668585754" sldId="702"/>
            <ac:cxnSpMk id="41" creationId="{7048A30C-FE6F-B3F9-A59D-EC1173EC7289}"/>
          </ac:cxnSpMkLst>
        </pc:cxnChg>
        <pc:cxnChg chg="add mod">
          <ac:chgData name="Guerrero Quiros, Jesus" userId="9d53007f-80b5-424a-baef-31d811de0396" providerId="ADAL" clId="{AC0C42EC-1194-45C5-866F-783949D593DB}" dt="2024-11-10T15:10:26.401" v="14795" actId="692"/>
          <ac:cxnSpMkLst>
            <pc:docMk/>
            <pc:sldMk cId="3668585754" sldId="702"/>
            <ac:cxnSpMk id="45" creationId="{40213D23-480E-8E44-68AF-4C28884C199C}"/>
          </ac:cxnSpMkLst>
        </pc:cxnChg>
        <pc:cxnChg chg="add mod">
          <ac:chgData name="Guerrero Quiros, Jesus" userId="9d53007f-80b5-424a-baef-31d811de0396" providerId="ADAL" clId="{AC0C42EC-1194-45C5-866F-783949D593DB}" dt="2024-11-10T13:30:14.696" v="14675" actId="14100"/>
          <ac:cxnSpMkLst>
            <pc:docMk/>
            <pc:sldMk cId="3668585754" sldId="702"/>
            <ac:cxnSpMk id="49" creationId="{F918B0E6-1955-1032-6E4C-0E4B23897491}"/>
          </ac:cxnSpMkLst>
        </pc:cxnChg>
      </pc:sldChg>
      <pc:sldChg chg="addSp delSp modSp add mod">
        <pc:chgData name="Guerrero Quiros, Jesus" userId="9d53007f-80b5-424a-baef-31d811de0396" providerId="ADAL" clId="{AC0C42EC-1194-45C5-866F-783949D593DB}" dt="2024-11-11T12:44:19.675" v="17600" actId="113"/>
        <pc:sldMkLst>
          <pc:docMk/>
          <pc:sldMk cId="4180044371" sldId="703"/>
        </pc:sldMkLst>
        <pc:spChg chg="add mod">
          <ac:chgData name="Guerrero Quiros, Jesus" userId="9d53007f-80b5-424a-baef-31d811de0396" providerId="ADAL" clId="{AC0C42EC-1194-45C5-866F-783949D593DB}" dt="2024-11-10T15:14:28.959" v="14838" actId="14100"/>
          <ac:spMkLst>
            <pc:docMk/>
            <pc:sldMk cId="4180044371" sldId="703"/>
            <ac:spMk id="3" creationId="{A402552E-F508-DB4D-80FB-ECE36337B36E}"/>
          </ac:spMkLst>
        </pc:spChg>
        <pc:spChg chg="add mod">
          <ac:chgData name="Guerrero Quiros, Jesus" userId="9d53007f-80b5-424a-baef-31d811de0396" providerId="ADAL" clId="{AC0C42EC-1194-45C5-866F-783949D593DB}" dt="2024-11-10T15:15:19.255" v="14947" actId="113"/>
          <ac:spMkLst>
            <pc:docMk/>
            <pc:sldMk cId="4180044371" sldId="703"/>
            <ac:spMk id="5" creationId="{E90685C6-1C30-8FE7-6A40-E7BF395381C2}"/>
          </ac:spMkLst>
        </pc:spChg>
        <pc:spChg chg="add mod">
          <ac:chgData name="Guerrero Quiros, Jesus" userId="9d53007f-80b5-424a-baef-31d811de0396" providerId="ADAL" clId="{AC0C42EC-1194-45C5-866F-783949D593DB}" dt="2024-11-10T15:19:42.435" v="15090" actId="207"/>
          <ac:spMkLst>
            <pc:docMk/>
            <pc:sldMk cId="4180044371" sldId="703"/>
            <ac:spMk id="7" creationId="{7C4269F2-2D85-2491-2BA9-B507BA95EE4C}"/>
          </ac:spMkLst>
        </pc:spChg>
        <pc:spChg chg="add mod">
          <ac:chgData name="Guerrero Quiros, Jesus" userId="9d53007f-80b5-424a-baef-31d811de0396" providerId="ADAL" clId="{AC0C42EC-1194-45C5-866F-783949D593DB}" dt="2024-11-10T15:19:42.124" v="15089" actId="207"/>
          <ac:spMkLst>
            <pc:docMk/>
            <pc:sldMk cId="4180044371" sldId="703"/>
            <ac:spMk id="9" creationId="{77D71F1C-68DC-2757-8961-5CCE8C308787}"/>
          </ac:spMkLst>
        </pc:spChg>
        <pc:spChg chg="add mod">
          <ac:chgData name="Guerrero Quiros, Jesus" userId="9d53007f-80b5-424a-baef-31d811de0396" providerId="ADAL" clId="{AC0C42EC-1194-45C5-866F-783949D593DB}" dt="2024-11-10T15:21:00.614" v="15131" actId="1076"/>
          <ac:spMkLst>
            <pc:docMk/>
            <pc:sldMk cId="4180044371" sldId="703"/>
            <ac:spMk id="10" creationId="{C6403996-0683-65A1-D243-95A4CDFAFC75}"/>
          </ac:spMkLst>
        </pc:spChg>
        <pc:spChg chg="add mod">
          <ac:chgData name="Guerrero Quiros, Jesus" userId="9d53007f-80b5-424a-baef-31d811de0396" providerId="ADAL" clId="{AC0C42EC-1194-45C5-866F-783949D593DB}" dt="2024-11-10T15:20:52.128" v="15129" actId="1076"/>
          <ac:spMkLst>
            <pc:docMk/>
            <pc:sldMk cId="4180044371" sldId="703"/>
            <ac:spMk id="33" creationId="{1B6656B4-A0DC-6A83-91B9-73008DB82529}"/>
          </ac:spMkLst>
        </pc:spChg>
        <pc:spChg chg="add mod">
          <ac:chgData name="Guerrero Quiros, Jesus" userId="9d53007f-80b5-424a-baef-31d811de0396" providerId="ADAL" clId="{AC0C42EC-1194-45C5-866F-783949D593DB}" dt="2024-11-10T15:21:12.682" v="15134" actId="1076"/>
          <ac:spMkLst>
            <pc:docMk/>
            <pc:sldMk cId="4180044371" sldId="703"/>
            <ac:spMk id="47" creationId="{F6D7530C-C342-915E-56D8-C61D1FED2089}"/>
          </ac:spMkLst>
        </pc:spChg>
        <pc:spChg chg="add mod">
          <ac:chgData name="Guerrero Quiros, Jesus" userId="9d53007f-80b5-424a-baef-31d811de0396" providerId="ADAL" clId="{AC0C42EC-1194-45C5-866F-783949D593DB}" dt="2024-11-10T15:21:20.134" v="15146" actId="20577"/>
          <ac:spMkLst>
            <pc:docMk/>
            <pc:sldMk cId="4180044371" sldId="703"/>
            <ac:spMk id="54" creationId="{A9609760-7C1A-2901-5F18-31564EA72D84}"/>
          </ac:spMkLst>
        </pc:spChg>
        <pc:spChg chg="add mod">
          <ac:chgData name="Guerrero Quiros, Jesus" userId="9d53007f-80b5-424a-baef-31d811de0396" providerId="ADAL" clId="{AC0C42EC-1194-45C5-866F-783949D593DB}" dt="2024-11-11T12:44:19.675" v="17600" actId="113"/>
          <ac:spMkLst>
            <pc:docMk/>
            <pc:sldMk cId="4180044371" sldId="703"/>
            <ac:spMk id="56" creationId="{A044C56D-EE05-3338-EDE2-34E8429835E9}"/>
          </ac:spMkLst>
        </pc:spChg>
        <pc:cxnChg chg="add mod">
          <ac:chgData name="Guerrero Quiros, Jesus" userId="9d53007f-80b5-424a-baef-31d811de0396" providerId="ADAL" clId="{AC0C42EC-1194-45C5-866F-783949D593DB}" dt="2024-11-10T15:21:04.187" v="15132" actId="14100"/>
          <ac:cxnSpMkLst>
            <pc:docMk/>
            <pc:sldMk cId="4180044371" sldId="703"/>
            <ac:cxnSpMk id="13" creationId="{2286836D-9B8A-5C78-C66A-55BA7CAE2E3A}"/>
          </ac:cxnSpMkLst>
        </pc:cxnChg>
        <pc:cxnChg chg="add mod">
          <ac:chgData name="Guerrero Quiros, Jesus" userId="9d53007f-80b5-424a-baef-31d811de0396" providerId="ADAL" clId="{AC0C42EC-1194-45C5-866F-783949D593DB}" dt="2024-11-10T15:21:09.874" v="15133" actId="14100"/>
          <ac:cxnSpMkLst>
            <pc:docMk/>
            <pc:sldMk cId="4180044371" sldId="703"/>
            <ac:cxnSpMk id="14" creationId="{F538E44C-9014-A354-6D41-E8EC135C5B93}"/>
          </ac:cxnSpMkLst>
        </pc:cxnChg>
        <pc:cxnChg chg="add mod">
          <ac:chgData name="Guerrero Quiros, Jesus" userId="9d53007f-80b5-424a-baef-31d811de0396" providerId="ADAL" clId="{AC0C42EC-1194-45C5-866F-783949D593DB}" dt="2024-11-10T15:21:00.614" v="15131" actId="1076"/>
          <ac:cxnSpMkLst>
            <pc:docMk/>
            <pc:sldMk cId="4180044371" sldId="703"/>
            <ac:cxnSpMk id="35" creationId="{1CACDF0C-3CFD-FB2A-F14B-E6E77D6B7087}"/>
          </ac:cxnSpMkLst>
        </pc:cxnChg>
      </pc:sldChg>
      <pc:sldChg chg="addSp delSp modSp add mod">
        <pc:chgData name="Guerrero Quiros, Jesus" userId="9d53007f-80b5-424a-baef-31d811de0396" providerId="ADAL" clId="{AC0C42EC-1194-45C5-866F-783949D593DB}" dt="2024-11-10T15:47:02.758" v="15795" actId="1076"/>
        <pc:sldMkLst>
          <pc:docMk/>
          <pc:sldMk cId="365767599" sldId="704"/>
        </pc:sldMkLst>
        <pc:spChg chg="mod">
          <ac:chgData name="Guerrero Quiros, Jesus" userId="9d53007f-80b5-424a-baef-31d811de0396" providerId="ADAL" clId="{AC0C42EC-1194-45C5-866F-783949D593DB}" dt="2024-11-10T15:40:32.104" v="15596" actId="14100"/>
          <ac:spMkLst>
            <pc:docMk/>
            <pc:sldMk cId="365767599" sldId="704"/>
            <ac:spMk id="3" creationId="{A402552E-F508-DB4D-80FB-ECE36337B36E}"/>
          </ac:spMkLst>
        </pc:spChg>
        <pc:graphicFrameChg chg="add mod modGraphic">
          <ac:chgData name="Guerrero Quiros, Jesus" userId="9d53007f-80b5-424a-baef-31d811de0396" providerId="ADAL" clId="{AC0C42EC-1194-45C5-866F-783949D593DB}" dt="2024-11-10T15:45:09.082" v="15770" actId="1076"/>
          <ac:graphicFrameMkLst>
            <pc:docMk/>
            <pc:sldMk cId="365767599" sldId="704"/>
            <ac:graphicFrameMk id="4" creationId="{3FFB3E8F-0AC3-C1C7-C450-45483A4079FA}"/>
          </ac:graphicFrameMkLst>
        </pc:graphicFrameChg>
        <pc:picChg chg="add mod">
          <ac:chgData name="Guerrero Quiros, Jesus" userId="9d53007f-80b5-424a-baef-31d811de0396" providerId="ADAL" clId="{AC0C42EC-1194-45C5-866F-783949D593DB}" dt="2024-11-10T15:45:52.740" v="15779" actId="1076"/>
          <ac:picMkLst>
            <pc:docMk/>
            <pc:sldMk cId="365767599" sldId="704"/>
            <ac:picMk id="11" creationId="{E6393835-94DA-BCEC-314B-F8E58EEA2AE8}"/>
          </ac:picMkLst>
        </pc:picChg>
        <pc:picChg chg="add mod">
          <ac:chgData name="Guerrero Quiros, Jesus" userId="9d53007f-80b5-424a-baef-31d811de0396" providerId="ADAL" clId="{AC0C42EC-1194-45C5-866F-783949D593DB}" dt="2024-11-10T15:45:57.531" v="15781" actId="1076"/>
          <ac:picMkLst>
            <pc:docMk/>
            <pc:sldMk cId="365767599" sldId="704"/>
            <ac:picMk id="12" creationId="{5DF244AC-8E07-3066-2233-09AA20BA936F}"/>
          </ac:picMkLst>
        </pc:picChg>
        <pc:picChg chg="add mod">
          <ac:chgData name="Guerrero Quiros, Jesus" userId="9d53007f-80b5-424a-baef-31d811de0396" providerId="ADAL" clId="{AC0C42EC-1194-45C5-866F-783949D593DB}" dt="2024-11-10T15:46:04.963" v="15783" actId="1076"/>
          <ac:picMkLst>
            <pc:docMk/>
            <pc:sldMk cId="365767599" sldId="704"/>
            <ac:picMk id="16" creationId="{539EC75C-ED8C-DE17-58F4-F9B8405C7235}"/>
          </ac:picMkLst>
        </pc:picChg>
        <pc:picChg chg="add mod">
          <ac:chgData name="Guerrero Quiros, Jesus" userId="9d53007f-80b5-424a-baef-31d811de0396" providerId="ADAL" clId="{AC0C42EC-1194-45C5-866F-783949D593DB}" dt="2024-11-10T15:46:33.770" v="15787" actId="1076"/>
          <ac:picMkLst>
            <pc:docMk/>
            <pc:sldMk cId="365767599" sldId="704"/>
            <ac:picMk id="18" creationId="{4F596F3F-6FFC-79AA-E42D-FE6CEE54E814}"/>
          </ac:picMkLst>
        </pc:picChg>
        <pc:picChg chg="add mod">
          <ac:chgData name="Guerrero Quiros, Jesus" userId="9d53007f-80b5-424a-baef-31d811de0396" providerId="ADAL" clId="{AC0C42EC-1194-45C5-866F-783949D593DB}" dt="2024-11-10T15:46:37.728" v="15789" actId="1076"/>
          <ac:picMkLst>
            <pc:docMk/>
            <pc:sldMk cId="365767599" sldId="704"/>
            <ac:picMk id="19" creationId="{1C35604E-456B-CA2D-0723-D5E65D04073D}"/>
          </ac:picMkLst>
        </pc:picChg>
        <pc:picChg chg="add mod">
          <ac:chgData name="Guerrero Quiros, Jesus" userId="9d53007f-80b5-424a-baef-31d811de0396" providerId="ADAL" clId="{AC0C42EC-1194-45C5-866F-783949D593DB}" dt="2024-11-10T15:46:44.613" v="15791" actId="1076"/>
          <ac:picMkLst>
            <pc:docMk/>
            <pc:sldMk cId="365767599" sldId="704"/>
            <ac:picMk id="20" creationId="{2421F018-1235-ADCC-D0F6-4BB6AFCBD2A5}"/>
          </ac:picMkLst>
        </pc:picChg>
        <pc:picChg chg="add mod">
          <ac:chgData name="Guerrero Quiros, Jesus" userId="9d53007f-80b5-424a-baef-31d811de0396" providerId="ADAL" clId="{AC0C42EC-1194-45C5-866F-783949D593DB}" dt="2024-11-10T15:46:54.309" v="15793" actId="1076"/>
          <ac:picMkLst>
            <pc:docMk/>
            <pc:sldMk cId="365767599" sldId="704"/>
            <ac:picMk id="21" creationId="{EDE8EB06-A146-3B8A-2158-58C091886B9D}"/>
          </ac:picMkLst>
        </pc:picChg>
        <pc:picChg chg="add mod">
          <ac:chgData name="Guerrero Quiros, Jesus" userId="9d53007f-80b5-424a-baef-31d811de0396" providerId="ADAL" clId="{AC0C42EC-1194-45C5-866F-783949D593DB}" dt="2024-11-10T15:46:54.309" v="15793" actId="1076"/>
          <ac:picMkLst>
            <pc:docMk/>
            <pc:sldMk cId="365767599" sldId="704"/>
            <ac:picMk id="22" creationId="{5AC06E94-513A-23CD-E00E-68896129649F}"/>
          </ac:picMkLst>
        </pc:picChg>
        <pc:picChg chg="add mod">
          <ac:chgData name="Guerrero Quiros, Jesus" userId="9d53007f-80b5-424a-baef-31d811de0396" providerId="ADAL" clId="{AC0C42EC-1194-45C5-866F-783949D593DB}" dt="2024-11-10T15:47:02.758" v="15795" actId="1076"/>
          <ac:picMkLst>
            <pc:docMk/>
            <pc:sldMk cId="365767599" sldId="704"/>
            <ac:picMk id="23" creationId="{ADCFB7FD-0EBE-3DF9-924B-54C7274BFCC8}"/>
          </ac:picMkLst>
        </pc:picChg>
      </pc:sldChg>
      <pc:sldChg chg="addSp delSp modSp add mod">
        <pc:chgData name="Guerrero Quiros, Jesus" userId="9d53007f-80b5-424a-baef-31d811de0396" providerId="ADAL" clId="{AC0C42EC-1194-45C5-866F-783949D593DB}" dt="2024-11-11T08:20:06.990" v="16138" actId="1076"/>
        <pc:sldMkLst>
          <pc:docMk/>
          <pc:sldMk cId="143752419" sldId="705"/>
        </pc:sldMkLst>
        <pc:spChg chg="add mod">
          <ac:chgData name="Guerrero Quiros, Jesus" userId="9d53007f-80b5-424a-baef-31d811de0396" providerId="ADAL" clId="{AC0C42EC-1194-45C5-866F-783949D593DB}" dt="2024-11-10T16:01:11.252" v="15875" actId="14100"/>
          <ac:spMkLst>
            <pc:docMk/>
            <pc:sldMk cId="143752419" sldId="705"/>
            <ac:spMk id="3" creationId="{3CF2E0E7-59AB-FE9D-63F4-4B901FBEFFF0}"/>
          </ac:spMkLst>
        </pc:spChg>
        <pc:spChg chg="add mod">
          <ac:chgData name="Guerrero Quiros, Jesus" userId="9d53007f-80b5-424a-baef-31d811de0396" providerId="ADAL" clId="{AC0C42EC-1194-45C5-866F-783949D593DB}" dt="2024-11-11T08:11:10.881" v="16088" actId="114"/>
          <ac:spMkLst>
            <pc:docMk/>
            <pc:sldMk cId="143752419" sldId="705"/>
            <ac:spMk id="4" creationId="{C9393799-81DE-4541-C826-3AD0E733D18D}"/>
          </ac:spMkLst>
        </pc:spChg>
        <pc:graphicFrameChg chg="mod">
          <ac:chgData name="Guerrero Quiros, Jesus" userId="9d53007f-80b5-424a-baef-31d811de0396" providerId="ADAL" clId="{AC0C42EC-1194-45C5-866F-783949D593DB}" dt="2024-11-11T08:20:06.990" v="16138" actId="1076"/>
          <ac:graphicFrameMkLst>
            <pc:docMk/>
            <pc:sldMk cId="143752419" sldId="705"/>
            <ac:graphicFrameMk id="9" creationId="{7B7422E1-4A78-4283-8E50-3F8F1F09F4A3}"/>
          </ac:graphicFrameMkLst>
        </pc:graphicFrameChg>
        <pc:picChg chg="add mod">
          <ac:chgData name="Guerrero Quiros, Jesus" userId="9d53007f-80b5-424a-baef-31d811de0396" providerId="ADAL" clId="{AC0C42EC-1194-45C5-866F-783949D593DB}" dt="2024-11-11T08:20:03.346" v="16137" actId="1076"/>
          <ac:picMkLst>
            <pc:docMk/>
            <pc:sldMk cId="143752419" sldId="705"/>
            <ac:picMk id="1026" creationId="{3A8A4A6F-6AEE-04B4-C067-866BEA47E739}"/>
          </ac:picMkLst>
        </pc:picChg>
      </pc:sldChg>
      <pc:sldChg chg="add del">
        <pc:chgData name="Guerrero Quiros, Jesus" userId="9d53007f-80b5-424a-baef-31d811de0396" providerId="ADAL" clId="{AC0C42EC-1194-45C5-866F-783949D593DB}" dt="2024-11-11T11:57:28.374" v="16621" actId="47"/>
        <pc:sldMkLst>
          <pc:docMk/>
          <pc:sldMk cId="1122303328" sldId="706"/>
        </pc:sldMkLst>
      </pc:sldChg>
      <pc:sldChg chg="addSp delSp modSp add mod">
        <pc:chgData name="Guerrero Quiros, Jesus" userId="9d53007f-80b5-424a-baef-31d811de0396" providerId="ADAL" clId="{AC0C42EC-1194-45C5-866F-783949D593DB}" dt="2024-11-11T12:15:21.962" v="16735" actId="1076"/>
        <pc:sldMkLst>
          <pc:docMk/>
          <pc:sldMk cId="3553310928" sldId="706"/>
        </pc:sldMkLst>
        <pc:spChg chg="add mod">
          <ac:chgData name="Guerrero Quiros, Jesus" userId="9d53007f-80b5-424a-baef-31d811de0396" providerId="ADAL" clId="{AC0C42EC-1194-45C5-866F-783949D593DB}" dt="2024-11-11T11:58:11.995" v="16662" actId="14100"/>
          <ac:spMkLst>
            <pc:docMk/>
            <pc:sldMk cId="3553310928" sldId="706"/>
            <ac:spMk id="3" creationId="{4456857E-1B1E-36E0-7602-5983595BCD9D}"/>
          </ac:spMkLst>
        </pc:spChg>
        <pc:graphicFrameChg chg="mod">
          <ac:chgData name="Guerrero Quiros, Jesus" userId="9d53007f-80b5-424a-baef-31d811de0396" providerId="ADAL" clId="{AC0C42EC-1194-45C5-866F-783949D593DB}" dt="2024-11-11T12:15:21.962" v="16735" actId="1076"/>
          <ac:graphicFrameMkLst>
            <pc:docMk/>
            <pc:sldMk cId="3553310928" sldId="706"/>
            <ac:graphicFrameMk id="12" creationId="{C78F9FD7-0C18-4C22-ACA2-9C5485D42B9B}"/>
          </ac:graphicFrameMkLst>
        </pc:graphicFrameChg>
      </pc:sldChg>
      <pc:sldChg chg="addSp modSp add mod">
        <pc:chgData name="Guerrero Quiros, Jesus" userId="9d53007f-80b5-424a-baef-31d811de0396" providerId="ADAL" clId="{AC0C42EC-1194-45C5-866F-783949D593DB}" dt="2024-11-11T12:21:19.345" v="16798" actId="692"/>
        <pc:sldMkLst>
          <pc:docMk/>
          <pc:sldMk cId="418535365" sldId="707"/>
        </pc:sldMkLst>
        <pc:spChg chg="add mod">
          <ac:chgData name="Guerrero Quiros, Jesus" userId="9d53007f-80b5-424a-baef-31d811de0396" providerId="ADAL" clId="{AC0C42EC-1194-45C5-866F-783949D593DB}" dt="2024-11-11T12:16:35.183" v="16748" actId="14100"/>
          <ac:spMkLst>
            <pc:docMk/>
            <pc:sldMk cId="418535365" sldId="707"/>
            <ac:spMk id="3" creationId="{7E35FDB0-3920-D6AA-2ECA-7EEC35F72582}"/>
          </ac:spMkLst>
        </pc:spChg>
        <pc:spChg chg="mod ord">
          <ac:chgData name="Guerrero Quiros, Jesus" userId="9d53007f-80b5-424a-baef-31d811de0396" providerId="ADAL" clId="{AC0C42EC-1194-45C5-866F-783949D593DB}" dt="2024-11-11T12:20:14.184" v="16794" actId="207"/>
          <ac:spMkLst>
            <pc:docMk/>
            <pc:sldMk cId="418535365" sldId="707"/>
            <ac:spMk id="17" creationId="{D749EB49-9404-4DD5-99F2-B6255A15A4A5}"/>
          </ac:spMkLst>
        </pc:spChg>
        <pc:spChg chg="mod">
          <ac:chgData name="Guerrero Quiros, Jesus" userId="9d53007f-80b5-424a-baef-31d811de0396" providerId="ADAL" clId="{AC0C42EC-1194-45C5-866F-783949D593DB}" dt="2024-11-11T12:17:52.688" v="16760" actId="1076"/>
          <ac:spMkLst>
            <pc:docMk/>
            <pc:sldMk cId="418535365" sldId="707"/>
            <ac:spMk id="30" creationId="{87FDF541-D1FB-4D20-8B1A-7DDACFC3E4A2}"/>
          </ac:spMkLst>
        </pc:spChg>
        <pc:spChg chg="mod">
          <ac:chgData name="Guerrero Quiros, Jesus" userId="9d53007f-80b5-424a-baef-31d811de0396" providerId="ADAL" clId="{AC0C42EC-1194-45C5-866F-783949D593DB}" dt="2024-11-11T12:18:37.016" v="16769" actId="1076"/>
          <ac:spMkLst>
            <pc:docMk/>
            <pc:sldMk cId="418535365" sldId="707"/>
            <ac:spMk id="32" creationId="{53666A27-F451-4ADF-85B3-B3CE7D4EB961}"/>
          </ac:spMkLst>
        </pc:spChg>
        <pc:spChg chg="mod">
          <ac:chgData name="Guerrero Quiros, Jesus" userId="9d53007f-80b5-424a-baef-31d811de0396" providerId="ADAL" clId="{AC0C42EC-1194-45C5-866F-783949D593DB}" dt="2024-11-11T12:18:41.039" v="16770" actId="1076"/>
          <ac:spMkLst>
            <pc:docMk/>
            <pc:sldMk cId="418535365" sldId="707"/>
            <ac:spMk id="34" creationId="{CDB108FB-E4CF-4E40-B162-8D99E9B61945}"/>
          </ac:spMkLst>
        </pc:spChg>
        <pc:spChg chg="mod">
          <ac:chgData name="Guerrero Quiros, Jesus" userId="9d53007f-80b5-424a-baef-31d811de0396" providerId="ADAL" clId="{AC0C42EC-1194-45C5-866F-783949D593DB}" dt="2024-11-11T12:19:23.863" v="16782" actId="1076"/>
          <ac:spMkLst>
            <pc:docMk/>
            <pc:sldMk cId="418535365" sldId="707"/>
            <ac:spMk id="36" creationId="{F680FDCD-F22C-4162-9CCF-6DBFE524D9F6}"/>
          </ac:spMkLst>
        </pc:spChg>
        <pc:spChg chg="mod">
          <ac:chgData name="Guerrero Quiros, Jesus" userId="9d53007f-80b5-424a-baef-31d811de0396" providerId="ADAL" clId="{AC0C42EC-1194-45C5-866F-783949D593DB}" dt="2024-11-11T12:19:12.535" v="16779" actId="1076"/>
          <ac:spMkLst>
            <pc:docMk/>
            <pc:sldMk cId="418535365" sldId="707"/>
            <ac:spMk id="38" creationId="{E04B21F9-A824-4517-8C3F-CCC8D365366E}"/>
          </ac:spMkLst>
        </pc:spChg>
        <pc:spChg chg="mod">
          <ac:chgData name="Guerrero Quiros, Jesus" userId="9d53007f-80b5-424a-baef-31d811de0396" providerId="ADAL" clId="{AC0C42EC-1194-45C5-866F-783949D593DB}" dt="2024-11-11T12:18:52.127" v="16773" actId="1076"/>
          <ac:spMkLst>
            <pc:docMk/>
            <pc:sldMk cId="418535365" sldId="707"/>
            <ac:spMk id="42" creationId="{8AF1786E-E366-4680-AE53-59D386BCB22C}"/>
          </ac:spMkLst>
        </pc:spChg>
        <pc:spChg chg="mod">
          <ac:chgData name="Guerrero Quiros, Jesus" userId="9d53007f-80b5-424a-baef-31d811de0396" providerId="ADAL" clId="{AC0C42EC-1194-45C5-866F-783949D593DB}" dt="2024-11-11T12:19:37.582" v="16788" actId="1076"/>
          <ac:spMkLst>
            <pc:docMk/>
            <pc:sldMk cId="418535365" sldId="707"/>
            <ac:spMk id="44" creationId="{882A14C5-9ABD-47A4-BAE1-AC265293B3D8}"/>
          </ac:spMkLst>
        </pc:spChg>
        <pc:spChg chg="mod">
          <ac:chgData name="Guerrero Quiros, Jesus" userId="9d53007f-80b5-424a-baef-31d811de0396" providerId="ADAL" clId="{AC0C42EC-1194-45C5-866F-783949D593DB}" dt="2024-11-11T12:18:48.383" v="16772" actId="1076"/>
          <ac:spMkLst>
            <pc:docMk/>
            <pc:sldMk cId="418535365" sldId="707"/>
            <ac:spMk id="52" creationId="{0800891B-8D5D-4D4A-8DD0-C9E9FC2E2704}"/>
          </ac:spMkLst>
        </pc:spChg>
        <pc:spChg chg="mod">
          <ac:chgData name="Guerrero Quiros, Jesus" userId="9d53007f-80b5-424a-baef-31d811de0396" providerId="ADAL" clId="{AC0C42EC-1194-45C5-866F-783949D593DB}" dt="2024-11-11T12:19:28.934" v="16784" actId="1076"/>
          <ac:spMkLst>
            <pc:docMk/>
            <pc:sldMk cId="418535365" sldId="707"/>
            <ac:spMk id="53" creationId="{8F0B4061-00C0-411D-AF8E-E52CFCCDA35C}"/>
          </ac:spMkLst>
        </pc:spChg>
        <pc:cxnChg chg="mod ord">
          <ac:chgData name="Guerrero Quiros, Jesus" userId="9d53007f-80b5-424a-baef-31d811de0396" providerId="ADAL" clId="{AC0C42EC-1194-45C5-866F-783949D593DB}" dt="2024-11-11T12:21:19.345" v="16798" actId="692"/>
          <ac:cxnSpMkLst>
            <pc:docMk/>
            <pc:sldMk cId="418535365" sldId="707"/>
            <ac:cxnSpMk id="4" creationId="{8A7B6E89-D310-48CD-9230-385F5A2488C6}"/>
          </ac:cxnSpMkLst>
        </pc:cxnChg>
        <pc:cxnChg chg="mod ord">
          <ac:chgData name="Guerrero Quiros, Jesus" userId="9d53007f-80b5-424a-baef-31d811de0396" providerId="ADAL" clId="{AC0C42EC-1194-45C5-866F-783949D593DB}" dt="2024-11-11T12:21:19.345" v="16798" actId="692"/>
          <ac:cxnSpMkLst>
            <pc:docMk/>
            <pc:sldMk cId="418535365" sldId="707"/>
            <ac:cxnSpMk id="54" creationId="{A405EC62-010D-4EC5-8E74-15973BA50999}"/>
          </ac:cxnSpMkLst>
        </pc:cxnChg>
        <pc:cxnChg chg="mod ord">
          <ac:chgData name="Guerrero Quiros, Jesus" userId="9d53007f-80b5-424a-baef-31d811de0396" providerId="ADAL" clId="{AC0C42EC-1194-45C5-866F-783949D593DB}" dt="2024-11-11T12:21:19.345" v="16798" actId="692"/>
          <ac:cxnSpMkLst>
            <pc:docMk/>
            <pc:sldMk cId="418535365" sldId="707"/>
            <ac:cxnSpMk id="56" creationId="{68736C0F-084F-443E-8E89-9594EC0BEA65}"/>
          </ac:cxnSpMkLst>
        </pc:cxnChg>
        <pc:cxnChg chg="mod ord">
          <ac:chgData name="Guerrero Quiros, Jesus" userId="9d53007f-80b5-424a-baef-31d811de0396" providerId="ADAL" clId="{AC0C42EC-1194-45C5-866F-783949D593DB}" dt="2024-11-11T12:21:19.345" v="16798" actId="692"/>
          <ac:cxnSpMkLst>
            <pc:docMk/>
            <pc:sldMk cId="418535365" sldId="707"/>
            <ac:cxnSpMk id="58" creationId="{112BEDAD-6DC0-4CB0-A9DA-578775F41EB7}"/>
          </ac:cxnSpMkLst>
        </pc:cxnChg>
        <pc:cxnChg chg="mod ord">
          <ac:chgData name="Guerrero Quiros, Jesus" userId="9d53007f-80b5-424a-baef-31d811de0396" providerId="ADAL" clId="{AC0C42EC-1194-45C5-866F-783949D593DB}" dt="2024-11-11T12:21:19.345" v="16798" actId="692"/>
          <ac:cxnSpMkLst>
            <pc:docMk/>
            <pc:sldMk cId="418535365" sldId="707"/>
            <ac:cxnSpMk id="60" creationId="{E09A7501-C467-43BA-8782-66D6571BC2BC}"/>
          </ac:cxnSpMkLst>
        </pc:cxnChg>
        <pc:cxnChg chg="mod ord">
          <ac:chgData name="Guerrero Quiros, Jesus" userId="9d53007f-80b5-424a-baef-31d811de0396" providerId="ADAL" clId="{AC0C42EC-1194-45C5-866F-783949D593DB}" dt="2024-11-11T12:21:19.345" v="16798" actId="692"/>
          <ac:cxnSpMkLst>
            <pc:docMk/>
            <pc:sldMk cId="418535365" sldId="707"/>
            <ac:cxnSpMk id="62" creationId="{23D2CA95-2524-45F2-95C5-6A2BE9E6824A}"/>
          </ac:cxnSpMkLst>
        </pc:cxnChg>
        <pc:cxnChg chg="mod ord">
          <ac:chgData name="Guerrero Quiros, Jesus" userId="9d53007f-80b5-424a-baef-31d811de0396" providerId="ADAL" clId="{AC0C42EC-1194-45C5-866F-783949D593DB}" dt="2024-11-11T12:21:19.345" v="16798" actId="692"/>
          <ac:cxnSpMkLst>
            <pc:docMk/>
            <pc:sldMk cId="418535365" sldId="707"/>
            <ac:cxnSpMk id="66" creationId="{EF999D16-3C78-433E-9273-392BAE16E680}"/>
          </ac:cxnSpMkLst>
        </pc:cxnChg>
        <pc:cxnChg chg="mod ord">
          <ac:chgData name="Guerrero Quiros, Jesus" userId="9d53007f-80b5-424a-baef-31d811de0396" providerId="ADAL" clId="{AC0C42EC-1194-45C5-866F-783949D593DB}" dt="2024-11-11T12:21:19.345" v="16798" actId="692"/>
          <ac:cxnSpMkLst>
            <pc:docMk/>
            <pc:sldMk cId="418535365" sldId="707"/>
            <ac:cxnSpMk id="69" creationId="{79BA91FC-7FEA-4D7A-B5C7-F1CBC004E5A2}"/>
          </ac:cxnSpMkLst>
        </pc:cxnChg>
        <pc:cxnChg chg="mod ord">
          <ac:chgData name="Guerrero Quiros, Jesus" userId="9d53007f-80b5-424a-baef-31d811de0396" providerId="ADAL" clId="{AC0C42EC-1194-45C5-866F-783949D593DB}" dt="2024-11-11T12:20:56.254" v="16796" actId="692"/>
          <ac:cxnSpMkLst>
            <pc:docMk/>
            <pc:sldMk cId="418535365" sldId="707"/>
            <ac:cxnSpMk id="72" creationId="{B35FEEFC-A1D4-49EC-AF51-D22B0366485B}"/>
          </ac:cxnSpMkLst>
        </pc:cxnChg>
      </pc:sldChg>
      <pc:sldChg chg="modSp add del mod">
        <pc:chgData name="Guerrero Quiros, Jesus" userId="9d53007f-80b5-424a-baef-31d811de0396" providerId="ADAL" clId="{AC0C42EC-1194-45C5-866F-783949D593DB}" dt="2024-11-11T12:41:25.642" v="17453" actId="47"/>
        <pc:sldMkLst>
          <pc:docMk/>
          <pc:sldMk cId="2536722173" sldId="708"/>
        </pc:sldMkLst>
      </pc:sldChg>
      <pc:sldChg chg="modSp add del mod">
        <pc:chgData name="Guerrero Quiros, Jesus" userId="9d53007f-80b5-424a-baef-31d811de0396" providerId="ADAL" clId="{AC0C42EC-1194-45C5-866F-783949D593DB}" dt="2024-11-11T12:35:11.862" v="17042" actId="2696"/>
        <pc:sldMkLst>
          <pc:docMk/>
          <pc:sldMk cId="3071466127" sldId="708"/>
        </pc:sldMkLst>
      </pc:sldChg>
      <pc:sldChg chg="addSp modSp add mod">
        <pc:chgData name="Guerrero Quiros, Jesus" userId="9d53007f-80b5-424a-baef-31d811de0396" providerId="ADAL" clId="{AC0C42EC-1194-45C5-866F-783949D593DB}" dt="2024-11-11T12:40:59.550" v="17451" actId="1076"/>
        <pc:sldMkLst>
          <pc:docMk/>
          <pc:sldMk cId="1481751554" sldId="709"/>
        </pc:sldMkLst>
        <pc:spChg chg="add mod">
          <ac:chgData name="Guerrero Quiros, Jesus" userId="9d53007f-80b5-424a-baef-31d811de0396" providerId="ADAL" clId="{AC0C42EC-1194-45C5-866F-783949D593DB}" dt="2024-11-11T12:40:09.305" v="17283" actId="14100"/>
          <ac:spMkLst>
            <pc:docMk/>
            <pc:sldMk cId="1481751554" sldId="709"/>
            <ac:spMk id="3" creationId="{8182624A-ED87-1486-030A-C39891BE6703}"/>
          </ac:spMkLst>
        </pc:spChg>
        <pc:spChg chg="add mod">
          <ac:chgData name="Guerrero Quiros, Jesus" userId="9d53007f-80b5-424a-baef-31d811de0396" providerId="ADAL" clId="{AC0C42EC-1194-45C5-866F-783949D593DB}" dt="2024-11-11T12:40:59.550" v="17451" actId="1076"/>
          <ac:spMkLst>
            <pc:docMk/>
            <pc:sldMk cId="1481751554" sldId="709"/>
            <ac:spMk id="7" creationId="{8BCD08BF-6734-E852-9CF3-78DBE1DB2EF0}"/>
          </ac:spMkLst>
        </pc:spChg>
        <pc:spChg chg="mod">
          <ac:chgData name="Guerrero Quiros, Jesus" userId="9d53007f-80b5-424a-baef-31d811de0396" providerId="ADAL" clId="{AC0C42EC-1194-45C5-866F-783949D593DB}" dt="2024-11-11T12:40:00.261" v="17280" actId="14100"/>
          <ac:spMkLst>
            <pc:docMk/>
            <pc:sldMk cId="1481751554" sldId="709"/>
            <ac:spMk id="9" creationId="{0F53B193-3D83-4085-3167-54BA7BAB2CE9}"/>
          </ac:spMkLst>
        </pc:spChg>
        <pc:spChg chg="mod">
          <ac:chgData name="Guerrero Quiros, Jesus" userId="9d53007f-80b5-424a-baef-31d811de0396" providerId="ADAL" clId="{AC0C42EC-1194-45C5-866F-783949D593DB}" dt="2024-11-11T12:40:00.261" v="17280" actId="14100"/>
          <ac:spMkLst>
            <pc:docMk/>
            <pc:sldMk cId="1481751554" sldId="709"/>
            <ac:spMk id="13" creationId="{2291B22A-6F24-8B51-C329-C12030956359}"/>
          </ac:spMkLst>
        </pc:spChg>
        <pc:spChg chg="mod">
          <ac:chgData name="Guerrero Quiros, Jesus" userId="9d53007f-80b5-424a-baef-31d811de0396" providerId="ADAL" clId="{AC0C42EC-1194-45C5-866F-783949D593DB}" dt="2024-11-11T12:40:00.261" v="17280" actId="14100"/>
          <ac:spMkLst>
            <pc:docMk/>
            <pc:sldMk cId="1481751554" sldId="709"/>
            <ac:spMk id="16" creationId="{8749C0F4-3270-1069-87B1-66EF1577550B}"/>
          </ac:spMkLst>
        </pc:spChg>
        <pc:spChg chg="mod">
          <ac:chgData name="Guerrero Quiros, Jesus" userId="9d53007f-80b5-424a-baef-31d811de0396" providerId="ADAL" clId="{AC0C42EC-1194-45C5-866F-783949D593DB}" dt="2024-11-11T12:39:41.762" v="17277" actId="14100"/>
          <ac:spMkLst>
            <pc:docMk/>
            <pc:sldMk cId="1481751554" sldId="709"/>
            <ac:spMk id="18" creationId="{F88C2877-1041-84BA-B999-D2ECBD2671AA}"/>
          </ac:spMkLst>
        </pc:spChg>
        <pc:spChg chg="mod">
          <ac:chgData name="Guerrero Quiros, Jesus" userId="9d53007f-80b5-424a-baef-31d811de0396" providerId="ADAL" clId="{AC0C42EC-1194-45C5-866F-783949D593DB}" dt="2024-11-11T12:39:46.876" v="17278" actId="1076"/>
          <ac:spMkLst>
            <pc:docMk/>
            <pc:sldMk cId="1481751554" sldId="709"/>
            <ac:spMk id="19" creationId="{F9C3640E-B7A4-C2E8-DCFC-8F6830F7E699}"/>
          </ac:spMkLst>
        </pc:spChg>
      </pc:sldChg>
      <pc:sldChg chg="delSp modSp add mod">
        <pc:chgData name="Guerrero Quiros, Jesus" userId="9d53007f-80b5-424a-baef-31d811de0396" providerId="ADAL" clId="{AC0C42EC-1194-45C5-866F-783949D593DB}" dt="2024-11-11T12:41:51.339" v="17459" actId="207"/>
        <pc:sldMkLst>
          <pc:docMk/>
          <pc:sldMk cId="1623562801" sldId="710"/>
        </pc:sldMkLst>
        <pc:spChg chg="mod">
          <ac:chgData name="Guerrero Quiros, Jesus" userId="9d53007f-80b5-424a-baef-31d811de0396" providerId="ADAL" clId="{AC0C42EC-1194-45C5-866F-783949D593DB}" dt="2024-11-11T12:41:35.443" v="17456" actId="2085"/>
          <ac:spMkLst>
            <pc:docMk/>
            <pc:sldMk cId="1623562801" sldId="710"/>
            <ac:spMk id="18" creationId="{F88C2877-1041-84BA-B999-D2ECBD2671AA}"/>
          </ac:spMkLst>
        </pc:spChg>
        <pc:spChg chg="mod">
          <ac:chgData name="Guerrero Quiros, Jesus" userId="9d53007f-80b5-424a-baef-31d811de0396" providerId="ADAL" clId="{AC0C42EC-1194-45C5-866F-783949D593DB}" dt="2024-11-11T12:41:51.339" v="17459" actId="207"/>
          <ac:spMkLst>
            <pc:docMk/>
            <pc:sldMk cId="1623562801" sldId="710"/>
            <ac:spMk id="19" creationId="{F9C3640E-B7A4-C2E8-DCFC-8F6830F7E699}"/>
          </ac:spMkLst>
        </pc:spChg>
      </pc:sldChg>
      <pc:sldChg chg="add">
        <pc:chgData name="Guerrero Quiros, Jesus" userId="9d53007f-80b5-424a-baef-31d811de0396" providerId="ADAL" clId="{AC0C42EC-1194-45C5-866F-783949D593DB}" dt="2024-11-11T12:42:02.418" v="17460"/>
        <pc:sldMkLst>
          <pc:docMk/>
          <pc:sldMk cId="352458009" sldId="711"/>
        </pc:sldMkLst>
      </pc:sldChg>
    </pc:docChg>
  </pc:docChgLst>
  <pc:docChgLst>
    <pc:chgData name="Lopez Rodrigo, Daniel" userId="S::dlopezrodrigo@deloitte.es::8dbc3d20-b610-4602-8db7-0e2619ce84a9" providerId="AD" clId="Web-{60F38F6D-E8D8-C4E4-B3E1-F3331A7EA9B8}"/>
    <pc:docChg chg="sldOrd">
      <pc:chgData name="Lopez Rodrigo, Daniel" userId="S::dlopezrodrigo@deloitte.es::8dbc3d20-b610-4602-8db7-0e2619ce84a9" providerId="AD" clId="Web-{60F38F6D-E8D8-C4E4-B3E1-F3331A7EA9B8}" dt="2024-12-17T08:16:05.945" v="0"/>
      <pc:docMkLst>
        <pc:docMk/>
      </pc:docMkLst>
      <pc:sldChg chg="ord">
        <pc:chgData name="Lopez Rodrigo, Daniel" userId="S::dlopezrodrigo@deloitte.es::8dbc3d20-b610-4602-8db7-0e2619ce84a9" providerId="AD" clId="Web-{60F38F6D-E8D8-C4E4-B3E1-F3331A7EA9B8}" dt="2024-12-17T08:16:05.945" v="0"/>
        <pc:sldMkLst>
          <pc:docMk/>
          <pc:sldMk cId="2895430981" sldId="599"/>
        </pc:sldMkLst>
      </pc:sldChg>
    </pc:docChg>
  </pc:docChgLst>
  <pc:docChgLst>
    <pc:chgData name="Borrachero Mallofret, Claudia Nerea" userId="S::cborracheromallofret@deloitte.es::02a1dbb0-dec9-416c-b7ed-16a327d853e8" providerId="AD" clId="Web-{546CEA04-AD7A-3675-7452-8A49D632371E}"/>
    <pc:docChg chg="modSld">
      <pc:chgData name="Borrachero Mallofret, Claudia Nerea" userId="S::cborracheromallofret@deloitte.es::02a1dbb0-dec9-416c-b7ed-16a327d853e8" providerId="AD" clId="Web-{546CEA04-AD7A-3675-7452-8A49D632371E}" dt="2024-01-22T13:25:45.684" v="3" actId="20577"/>
      <pc:docMkLst>
        <pc:docMk/>
      </pc:docMkLst>
      <pc:sldChg chg="modSp">
        <pc:chgData name="Borrachero Mallofret, Claudia Nerea" userId="S::cborracheromallofret@deloitte.es::02a1dbb0-dec9-416c-b7ed-16a327d853e8" providerId="AD" clId="Web-{546CEA04-AD7A-3675-7452-8A49D632371E}" dt="2024-01-22T13:23:46.007" v="1" actId="20577"/>
        <pc:sldMkLst>
          <pc:docMk/>
          <pc:sldMk cId="2649780473" sldId="600"/>
        </pc:sldMkLst>
      </pc:sldChg>
      <pc:sldChg chg="modSp">
        <pc:chgData name="Borrachero Mallofret, Claudia Nerea" userId="S::cborracheromallofret@deloitte.es::02a1dbb0-dec9-416c-b7ed-16a327d853e8" providerId="AD" clId="Web-{546CEA04-AD7A-3675-7452-8A49D632371E}" dt="2024-01-22T13:25:45.684" v="3" actId="20577"/>
        <pc:sldMkLst>
          <pc:docMk/>
          <pc:sldMk cId="1173352176" sldId="620"/>
        </pc:sldMkLst>
      </pc:sldChg>
    </pc:docChg>
  </pc:docChgLst>
  <pc:docChgLst>
    <pc:chgData name="Moro Barroso, Eva" userId="S::emorobarroso@deloitte.es::0d57e1f3-8065-4ce6-9b29-f573f0e9a382" providerId="AD" clId="Web-{65636AFA-0731-E4B7-3E52-D2BD71C4CC7F}"/>
    <pc:docChg chg="modSld">
      <pc:chgData name="Moro Barroso, Eva" userId="S::emorobarroso@deloitte.es::0d57e1f3-8065-4ce6-9b29-f573f0e9a382" providerId="AD" clId="Web-{65636AFA-0731-E4B7-3E52-D2BD71C4CC7F}" dt="2024-03-06T15:24:12.839" v="0" actId="1076"/>
      <pc:docMkLst>
        <pc:docMk/>
      </pc:docMkLst>
      <pc:sldChg chg="modSp">
        <pc:chgData name="Moro Barroso, Eva" userId="S::emorobarroso@deloitte.es::0d57e1f3-8065-4ce6-9b29-f573f0e9a382" providerId="AD" clId="Web-{65636AFA-0731-E4B7-3E52-D2BD71C4CC7F}" dt="2024-03-06T15:24:12.839" v="0" actId="1076"/>
        <pc:sldMkLst>
          <pc:docMk/>
          <pc:sldMk cId="4224205231" sldId="630"/>
        </pc:sldMkLst>
      </pc:sldChg>
    </pc:docChg>
  </pc:docChgLst>
  <pc:docChgLst>
    <pc:chgData name="Borrachero Mallofret, Claudia Nerea" userId="S::cborracheromallofret@deloitte.es::02a1dbb0-dec9-416c-b7ed-16a327d853e8" providerId="AD" clId="Web-{E49744AF-4E88-4096-C974-7F81679521FE}"/>
    <pc:docChg chg="modSld">
      <pc:chgData name="Borrachero Mallofret, Claudia Nerea" userId="S::cborracheromallofret@deloitte.es::02a1dbb0-dec9-416c-b7ed-16a327d853e8" providerId="AD" clId="Web-{E49744AF-4E88-4096-C974-7F81679521FE}" dt="2024-12-16T13:20:13.194" v="1" actId="1076"/>
      <pc:docMkLst>
        <pc:docMk/>
      </pc:docMkLst>
      <pc:sldChg chg="modSp">
        <pc:chgData name="Borrachero Mallofret, Claudia Nerea" userId="S::cborracheromallofret@deloitte.es::02a1dbb0-dec9-416c-b7ed-16a327d853e8" providerId="AD" clId="Web-{E49744AF-4E88-4096-C974-7F81679521FE}" dt="2024-12-16T13:20:13.194" v="1" actId="1076"/>
        <pc:sldMkLst>
          <pc:docMk/>
          <pc:sldMk cId="2700551340" sldId="722"/>
        </pc:sldMkLst>
        <pc:spChg chg="mod">
          <ac:chgData name="Borrachero Mallofret, Claudia Nerea" userId="S::cborracheromallofret@deloitte.es::02a1dbb0-dec9-416c-b7ed-16a327d853e8" providerId="AD" clId="Web-{E49744AF-4E88-4096-C974-7F81679521FE}" dt="2024-12-16T13:20:13.194" v="1" actId="1076"/>
          <ac:spMkLst>
            <pc:docMk/>
            <pc:sldMk cId="2700551340" sldId="722"/>
            <ac:spMk id="20" creationId="{750FCE72-C5EE-D9CC-6ADA-02895F6DA515}"/>
          </ac:spMkLst>
        </pc:spChg>
      </pc:sldChg>
    </pc:docChg>
  </pc:docChgLst>
  <pc:docChgLst>
    <pc:chgData name="Guerrero Quiros, Jesus" userId="9d53007f-80b5-424a-baef-31d811de0396" providerId="ADAL" clId="{662899BE-1F67-4478-B808-301DF3E01B77}"/>
    <pc:docChg chg="undo custSel addSld modSld">
      <pc:chgData name="Guerrero Quiros, Jesus" userId="9d53007f-80b5-424a-baef-31d811de0396" providerId="ADAL" clId="{662899BE-1F67-4478-B808-301DF3E01B77}" dt="2024-12-13T17:08:09.942" v="312" actId="20577"/>
      <pc:docMkLst>
        <pc:docMk/>
      </pc:docMkLst>
      <pc:sldChg chg="addSp delSp modSp mod">
        <pc:chgData name="Guerrero Quiros, Jesus" userId="9d53007f-80b5-424a-baef-31d811de0396" providerId="ADAL" clId="{662899BE-1F67-4478-B808-301DF3E01B77}" dt="2024-12-13T16:47:28.821" v="308" actId="1076"/>
        <pc:sldMkLst>
          <pc:docMk/>
          <pc:sldMk cId="2649780473" sldId="600"/>
        </pc:sldMkLst>
        <pc:spChg chg="add mod">
          <ac:chgData name="Guerrero Quiros, Jesus" userId="9d53007f-80b5-424a-baef-31d811de0396" providerId="ADAL" clId="{662899BE-1F67-4478-B808-301DF3E01B77}" dt="2024-12-13T16:44:39.322" v="191" actId="1076"/>
          <ac:spMkLst>
            <pc:docMk/>
            <pc:sldMk cId="2649780473" sldId="600"/>
            <ac:spMk id="5" creationId="{9BBF672A-AB9E-23F7-37F4-5E954109AE1C}"/>
          </ac:spMkLst>
        </pc:spChg>
        <pc:spChg chg="add mod">
          <ac:chgData name="Guerrero Quiros, Jesus" userId="9d53007f-80b5-424a-baef-31d811de0396" providerId="ADAL" clId="{662899BE-1F67-4478-B808-301DF3E01B77}" dt="2024-12-13T16:44:39.322" v="191" actId="1076"/>
          <ac:spMkLst>
            <pc:docMk/>
            <pc:sldMk cId="2649780473" sldId="600"/>
            <ac:spMk id="7" creationId="{DB0D65AC-50DA-A96A-9DEC-782A625EB179}"/>
          </ac:spMkLst>
        </pc:spChg>
        <pc:spChg chg="mod">
          <ac:chgData name="Guerrero Quiros, Jesus" userId="9d53007f-80b5-424a-baef-31d811de0396" providerId="ADAL" clId="{662899BE-1F67-4478-B808-301DF3E01B77}" dt="2024-12-13T16:45:48.727" v="201" actId="14100"/>
          <ac:spMkLst>
            <pc:docMk/>
            <pc:sldMk cId="2649780473" sldId="600"/>
            <ac:spMk id="8" creationId="{00000000-0000-0000-0000-000000000000}"/>
          </ac:spMkLst>
        </pc:spChg>
        <pc:spChg chg="add mod">
          <ac:chgData name="Guerrero Quiros, Jesus" userId="9d53007f-80b5-424a-baef-31d811de0396" providerId="ADAL" clId="{662899BE-1F67-4478-B808-301DF3E01B77}" dt="2024-12-13T16:44:39.322" v="191" actId="1076"/>
          <ac:spMkLst>
            <pc:docMk/>
            <pc:sldMk cId="2649780473" sldId="600"/>
            <ac:spMk id="9" creationId="{A630ECC0-1CB6-0577-A2A7-67826F2F048B}"/>
          </ac:spMkLst>
        </pc:spChg>
        <pc:spChg chg="add mod">
          <ac:chgData name="Guerrero Quiros, Jesus" userId="9d53007f-80b5-424a-baef-31d811de0396" providerId="ADAL" clId="{662899BE-1F67-4478-B808-301DF3E01B77}" dt="2024-12-13T16:47:28.821" v="308" actId="1076"/>
          <ac:spMkLst>
            <pc:docMk/>
            <pc:sldMk cId="2649780473" sldId="600"/>
            <ac:spMk id="10" creationId="{93A9103F-2795-13CF-3423-519D627CFBBE}"/>
          </ac:spMkLst>
        </pc:spChg>
        <pc:spChg chg="add mod">
          <ac:chgData name="Guerrero Quiros, Jesus" userId="9d53007f-80b5-424a-baef-31d811de0396" providerId="ADAL" clId="{662899BE-1F67-4478-B808-301DF3E01B77}" dt="2024-12-13T16:47:28.821" v="308" actId="1076"/>
          <ac:spMkLst>
            <pc:docMk/>
            <pc:sldMk cId="2649780473" sldId="600"/>
            <ac:spMk id="12" creationId="{C1EB92A7-D1E8-09B7-CAE3-4B816CD394E4}"/>
          </ac:spMkLst>
        </pc:spChg>
        <pc:graphicFrameChg chg="mod">
          <ac:chgData name="Guerrero Quiros, Jesus" userId="9d53007f-80b5-424a-baef-31d811de0396" providerId="ADAL" clId="{662899BE-1F67-4478-B808-301DF3E01B77}" dt="2024-12-13T16:42:14.879" v="32" actId="1038"/>
          <ac:graphicFrameMkLst>
            <pc:docMk/>
            <pc:sldMk cId="2649780473" sldId="600"/>
            <ac:graphicFrameMk id="3" creationId="{8E86080F-FCE7-9AA1-9E26-B27B2EBC5987}"/>
          </ac:graphicFrameMkLst>
        </pc:graphicFrameChg>
      </pc:sldChg>
      <pc:sldChg chg="add">
        <pc:chgData name="Guerrero Quiros, Jesus" userId="9d53007f-80b5-424a-baef-31d811de0396" providerId="ADAL" clId="{662899BE-1F67-4478-B808-301DF3E01B77}" dt="2024-12-13T15:58:27.523" v="0"/>
        <pc:sldMkLst>
          <pc:docMk/>
          <pc:sldMk cId="352458009" sldId="711"/>
        </pc:sldMkLst>
      </pc:sldChg>
      <pc:sldChg chg="add">
        <pc:chgData name="Guerrero Quiros, Jesus" userId="9d53007f-80b5-424a-baef-31d811de0396" providerId="ADAL" clId="{662899BE-1F67-4478-B808-301DF3E01B77}" dt="2024-12-13T15:58:27.523" v="0"/>
        <pc:sldMkLst>
          <pc:docMk/>
          <pc:sldMk cId="516571782" sldId="728"/>
        </pc:sldMkLst>
      </pc:sldChg>
      <pc:sldChg chg="add">
        <pc:chgData name="Guerrero Quiros, Jesus" userId="9d53007f-80b5-424a-baef-31d811de0396" providerId="ADAL" clId="{662899BE-1F67-4478-B808-301DF3E01B77}" dt="2024-12-13T15:58:27.523" v="0"/>
        <pc:sldMkLst>
          <pc:docMk/>
          <pc:sldMk cId="1955935684" sldId="729"/>
        </pc:sldMkLst>
      </pc:sldChg>
      <pc:sldChg chg="modSp add mod">
        <pc:chgData name="Guerrero Quiros, Jesus" userId="9d53007f-80b5-424a-baef-31d811de0396" providerId="ADAL" clId="{662899BE-1F67-4478-B808-301DF3E01B77}" dt="2024-12-13T17:08:09.942" v="312" actId="20577"/>
        <pc:sldMkLst>
          <pc:docMk/>
          <pc:sldMk cId="3645328970" sldId="730"/>
        </pc:sldMkLst>
        <pc:spChg chg="mod">
          <ac:chgData name="Guerrero Quiros, Jesus" userId="9d53007f-80b5-424a-baef-31d811de0396" providerId="ADAL" clId="{662899BE-1F67-4478-B808-301DF3E01B77}" dt="2024-12-13T17:08:09.942" v="312" actId="20577"/>
          <ac:spMkLst>
            <pc:docMk/>
            <pc:sldMk cId="3645328970" sldId="730"/>
            <ac:spMk id="8" creationId="{12BD7849-A23A-8384-D7AC-0F7A11E2A166}"/>
          </ac:spMkLst>
        </pc:spChg>
      </pc:sldChg>
      <pc:sldChg chg="add">
        <pc:chgData name="Guerrero Quiros, Jesus" userId="9d53007f-80b5-424a-baef-31d811de0396" providerId="ADAL" clId="{662899BE-1F67-4478-B808-301DF3E01B77}" dt="2024-12-13T15:58:27.523" v="0"/>
        <pc:sldMkLst>
          <pc:docMk/>
          <pc:sldMk cId="1085767525" sldId="731"/>
        </pc:sldMkLst>
      </pc:sldChg>
      <pc:sldChg chg="add">
        <pc:chgData name="Guerrero Quiros, Jesus" userId="9d53007f-80b5-424a-baef-31d811de0396" providerId="ADAL" clId="{662899BE-1F67-4478-B808-301DF3E01B77}" dt="2024-12-13T15:58:27.523" v="0"/>
        <pc:sldMkLst>
          <pc:docMk/>
          <pc:sldMk cId="644547329" sldId="732"/>
        </pc:sldMkLst>
      </pc:sldChg>
      <pc:sldChg chg="add">
        <pc:chgData name="Guerrero Quiros, Jesus" userId="9d53007f-80b5-424a-baef-31d811de0396" providerId="ADAL" clId="{662899BE-1F67-4478-B808-301DF3E01B77}" dt="2024-12-13T15:58:27.523" v="0"/>
        <pc:sldMkLst>
          <pc:docMk/>
          <pc:sldMk cId="4082330215" sldId="733"/>
        </pc:sldMkLst>
      </pc:sldChg>
      <pc:sldChg chg="add">
        <pc:chgData name="Guerrero Quiros, Jesus" userId="9d53007f-80b5-424a-baef-31d811de0396" providerId="ADAL" clId="{662899BE-1F67-4478-B808-301DF3E01B77}" dt="2024-12-13T15:58:27.523" v="0"/>
        <pc:sldMkLst>
          <pc:docMk/>
          <pc:sldMk cId="545616732" sldId="734"/>
        </pc:sldMkLst>
      </pc:sldChg>
    </pc:docChg>
  </pc:docChgLst>
  <pc:docChgLst>
    <pc:chgData name="Ruiz Remolina, Guillermo" userId="4d440337-46f5-416c-8f41-a583735daf57" providerId="ADAL" clId="{E50CE7DA-2C33-4F07-B312-7BE0EC2CB3BF}"/>
    <pc:docChg chg="undo redo custSel addSld delSld modSld sldOrd modMainMaster addSection delSection modSection">
      <pc:chgData name="Ruiz Remolina, Guillermo" userId="4d440337-46f5-416c-8f41-a583735daf57" providerId="ADAL" clId="{E50CE7DA-2C33-4F07-B312-7BE0EC2CB3BF}" dt="2022-12-07T11:46:16.285" v="4458" actId="12"/>
      <pc:docMkLst>
        <pc:docMk/>
      </pc:docMkLst>
      <pc:sldChg chg="add">
        <pc:chgData name="Ruiz Remolina, Guillermo" userId="4d440337-46f5-416c-8f41-a583735daf57" providerId="ADAL" clId="{E50CE7DA-2C33-4F07-B312-7BE0EC2CB3BF}" dt="2022-12-05T11:15:40.725" v="2263"/>
        <pc:sldMkLst>
          <pc:docMk/>
          <pc:sldMk cId="3603411626" sldId="269"/>
        </pc:sldMkLst>
      </pc:sldChg>
      <pc:sldChg chg="addSp delSp modSp mod ord">
        <pc:chgData name="Ruiz Remolina, Guillermo" userId="4d440337-46f5-416c-8f41-a583735daf57" providerId="ADAL" clId="{E50CE7DA-2C33-4F07-B312-7BE0EC2CB3BF}" dt="2022-12-05T11:24:40.001" v="2477" actId="113"/>
        <pc:sldMkLst>
          <pc:docMk/>
          <pc:sldMk cId="1695584765" sldId="463"/>
        </pc:sldMkLst>
      </pc:sldChg>
      <pc:sldChg chg="modSp mod ord">
        <pc:chgData name="Ruiz Remolina, Guillermo" userId="4d440337-46f5-416c-8f41-a583735daf57" providerId="ADAL" clId="{E50CE7DA-2C33-4F07-B312-7BE0EC2CB3BF}" dt="2022-12-05T13:46:31.582" v="2922" actId="404"/>
        <pc:sldMkLst>
          <pc:docMk/>
          <pc:sldMk cId="3258412667" sldId="549"/>
        </pc:sldMkLst>
      </pc:sldChg>
      <pc:sldChg chg="addSp delSp modSp mod">
        <pc:chgData name="Ruiz Remolina, Guillermo" userId="4d440337-46f5-416c-8f41-a583735daf57" providerId="ADAL" clId="{E50CE7DA-2C33-4F07-B312-7BE0EC2CB3BF}" dt="2022-12-07T11:42:30.178" v="4445" actId="14100"/>
        <pc:sldMkLst>
          <pc:docMk/>
          <pc:sldMk cId="303702250" sldId="585"/>
        </pc:sldMkLst>
      </pc:sldChg>
      <pc:sldChg chg="del">
        <pc:chgData name="Ruiz Remolina, Guillermo" userId="4d440337-46f5-416c-8f41-a583735daf57" providerId="ADAL" clId="{E50CE7DA-2C33-4F07-B312-7BE0EC2CB3BF}" dt="2022-12-02T12:37:58.035" v="1339" actId="47"/>
        <pc:sldMkLst>
          <pc:docMk/>
          <pc:sldMk cId="1577314730" sldId="587"/>
        </pc:sldMkLst>
      </pc:sldChg>
      <pc:sldChg chg="del">
        <pc:chgData name="Ruiz Remolina, Guillermo" userId="4d440337-46f5-416c-8f41-a583735daf57" providerId="ADAL" clId="{E50CE7DA-2C33-4F07-B312-7BE0EC2CB3BF}" dt="2022-12-02T12:37:58.035" v="1339" actId="47"/>
        <pc:sldMkLst>
          <pc:docMk/>
          <pc:sldMk cId="3630033725" sldId="588"/>
        </pc:sldMkLst>
      </pc:sldChg>
      <pc:sldChg chg="del">
        <pc:chgData name="Ruiz Remolina, Guillermo" userId="4d440337-46f5-416c-8f41-a583735daf57" providerId="ADAL" clId="{E50CE7DA-2C33-4F07-B312-7BE0EC2CB3BF}" dt="2022-12-02T12:37:58.035" v="1339" actId="47"/>
        <pc:sldMkLst>
          <pc:docMk/>
          <pc:sldMk cId="672982107" sldId="592"/>
        </pc:sldMkLst>
      </pc:sldChg>
      <pc:sldChg chg="del">
        <pc:chgData name="Ruiz Remolina, Guillermo" userId="4d440337-46f5-416c-8f41-a583735daf57" providerId="ADAL" clId="{E50CE7DA-2C33-4F07-B312-7BE0EC2CB3BF}" dt="2022-12-02T12:37:58.035" v="1339" actId="47"/>
        <pc:sldMkLst>
          <pc:docMk/>
          <pc:sldMk cId="1566958432" sldId="593"/>
        </pc:sldMkLst>
      </pc:sldChg>
      <pc:sldChg chg="modSp mod">
        <pc:chgData name="Ruiz Remolina, Guillermo" userId="4d440337-46f5-416c-8f41-a583735daf57" providerId="ADAL" clId="{E50CE7DA-2C33-4F07-B312-7BE0EC2CB3BF}" dt="2022-12-02T11:27:25.041" v="612" actId="20577"/>
        <pc:sldMkLst>
          <pc:docMk/>
          <pc:sldMk cId="2895430981" sldId="599"/>
        </pc:sldMkLst>
      </pc:sldChg>
      <pc:sldChg chg="delSp modSp mod">
        <pc:chgData name="Ruiz Remolina, Guillermo" userId="4d440337-46f5-416c-8f41-a583735daf57" providerId="ADAL" clId="{E50CE7DA-2C33-4F07-B312-7BE0EC2CB3BF}" dt="2022-12-07T11:02:52.472" v="3833" actId="12"/>
        <pc:sldMkLst>
          <pc:docMk/>
          <pc:sldMk cId="2649780473" sldId="600"/>
        </pc:sldMkLst>
      </pc:sldChg>
      <pc:sldChg chg="modSp del mod">
        <pc:chgData name="Ruiz Remolina, Guillermo" userId="4d440337-46f5-416c-8f41-a583735daf57" providerId="ADAL" clId="{E50CE7DA-2C33-4F07-B312-7BE0EC2CB3BF}" dt="2022-12-02T12:37:58.035" v="1339" actId="47"/>
        <pc:sldMkLst>
          <pc:docMk/>
          <pc:sldMk cId="188327378" sldId="601"/>
        </pc:sldMkLst>
      </pc:sldChg>
      <pc:sldChg chg="del">
        <pc:chgData name="Ruiz Remolina, Guillermo" userId="4d440337-46f5-416c-8f41-a583735daf57" providerId="ADAL" clId="{E50CE7DA-2C33-4F07-B312-7BE0EC2CB3BF}" dt="2022-12-02T12:37:58.035" v="1339" actId="47"/>
        <pc:sldMkLst>
          <pc:docMk/>
          <pc:sldMk cId="4167470335" sldId="602"/>
        </pc:sldMkLst>
      </pc:sldChg>
      <pc:sldChg chg="del">
        <pc:chgData name="Ruiz Remolina, Guillermo" userId="4d440337-46f5-416c-8f41-a583735daf57" providerId="ADAL" clId="{E50CE7DA-2C33-4F07-B312-7BE0EC2CB3BF}" dt="2022-12-02T12:37:58.035" v="1339" actId="47"/>
        <pc:sldMkLst>
          <pc:docMk/>
          <pc:sldMk cId="220082769" sldId="605"/>
        </pc:sldMkLst>
      </pc:sldChg>
      <pc:sldChg chg="del">
        <pc:chgData name="Ruiz Remolina, Guillermo" userId="4d440337-46f5-416c-8f41-a583735daf57" providerId="ADAL" clId="{E50CE7DA-2C33-4F07-B312-7BE0EC2CB3BF}" dt="2022-12-02T12:37:58.035" v="1339" actId="47"/>
        <pc:sldMkLst>
          <pc:docMk/>
          <pc:sldMk cId="79660946" sldId="606"/>
        </pc:sldMkLst>
      </pc:sldChg>
      <pc:sldChg chg="del">
        <pc:chgData name="Ruiz Remolina, Guillermo" userId="4d440337-46f5-416c-8f41-a583735daf57" providerId="ADAL" clId="{E50CE7DA-2C33-4F07-B312-7BE0EC2CB3BF}" dt="2022-12-02T12:37:58.035" v="1339" actId="47"/>
        <pc:sldMkLst>
          <pc:docMk/>
          <pc:sldMk cId="2245707376" sldId="608"/>
        </pc:sldMkLst>
      </pc:sldChg>
      <pc:sldChg chg="del">
        <pc:chgData name="Ruiz Remolina, Guillermo" userId="4d440337-46f5-416c-8f41-a583735daf57" providerId="ADAL" clId="{E50CE7DA-2C33-4F07-B312-7BE0EC2CB3BF}" dt="2022-12-02T12:37:58.035" v="1339" actId="47"/>
        <pc:sldMkLst>
          <pc:docMk/>
          <pc:sldMk cId="1625002085" sldId="613"/>
        </pc:sldMkLst>
      </pc:sldChg>
      <pc:sldChg chg="add del ord">
        <pc:chgData name="Ruiz Remolina, Guillermo" userId="4d440337-46f5-416c-8f41-a583735daf57" providerId="ADAL" clId="{E50CE7DA-2C33-4F07-B312-7BE0EC2CB3BF}" dt="2022-12-05T11:09:05.031" v="2248" actId="47"/>
        <pc:sldMkLst>
          <pc:docMk/>
          <pc:sldMk cId="3791069846" sldId="615"/>
        </pc:sldMkLst>
      </pc:sldChg>
      <pc:sldChg chg="del">
        <pc:chgData name="Ruiz Remolina, Guillermo" userId="4d440337-46f5-416c-8f41-a583735daf57" providerId="ADAL" clId="{E50CE7DA-2C33-4F07-B312-7BE0EC2CB3BF}" dt="2022-12-02T12:37:58.035" v="1339" actId="47"/>
        <pc:sldMkLst>
          <pc:docMk/>
          <pc:sldMk cId="2914250421" sldId="617"/>
        </pc:sldMkLst>
      </pc:sldChg>
      <pc:sldChg chg="modSp add mod">
        <pc:chgData name="Ruiz Remolina, Guillermo" userId="4d440337-46f5-416c-8f41-a583735daf57" providerId="ADAL" clId="{E50CE7DA-2C33-4F07-B312-7BE0EC2CB3BF}" dt="2022-12-07T11:02:59.314" v="3834" actId="12"/>
        <pc:sldMkLst>
          <pc:docMk/>
          <pc:sldMk cId="2049436173" sldId="618"/>
        </pc:sldMkLst>
      </pc:sldChg>
      <pc:sldChg chg="addSp modSp add mod">
        <pc:chgData name="Ruiz Remolina, Guillermo" userId="4d440337-46f5-416c-8f41-a583735daf57" providerId="ADAL" clId="{E50CE7DA-2C33-4F07-B312-7BE0EC2CB3BF}" dt="2022-12-02T12:16:40.203" v="1066" actId="20577"/>
        <pc:sldMkLst>
          <pc:docMk/>
          <pc:sldMk cId="8093521" sldId="619"/>
        </pc:sldMkLst>
      </pc:sldChg>
      <pc:sldChg chg="addSp delSp modSp add mod">
        <pc:chgData name="Ruiz Remolina, Guillermo" userId="4d440337-46f5-416c-8f41-a583735daf57" providerId="ADAL" clId="{E50CE7DA-2C33-4F07-B312-7BE0EC2CB3BF}" dt="2022-12-07T11:03:08.897" v="3837" actId="12"/>
        <pc:sldMkLst>
          <pc:docMk/>
          <pc:sldMk cId="1173352176" sldId="620"/>
        </pc:sldMkLst>
      </pc:sldChg>
      <pc:sldChg chg="modSp add mod">
        <pc:chgData name="Ruiz Remolina, Guillermo" userId="4d440337-46f5-416c-8f41-a583735daf57" providerId="ADAL" clId="{E50CE7DA-2C33-4F07-B312-7BE0EC2CB3BF}" dt="2022-12-07T11:03:15.119" v="3838" actId="12"/>
        <pc:sldMkLst>
          <pc:docMk/>
          <pc:sldMk cId="3201792029" sldId="621"/>
        </pc:sldMkLst>
      </pc:sldChg>
      <pc:sldChg chg="modSp add mod">
        <pc:chgData name="Ruiz Remolina, Guillermo" userId="4d440337-46f5-416c-8f41-a583735daf57" providerId="ADAL" clId="{E50CE7DA-2C33-4F07-B312-7BE0EC2CB3BF}" dt="2022-12-07T11:43:12.721" v="4456" actId="404"/>
        <pc:sldMkLst>
          <pc:docMk/>
          <pc:sldMk cId="2827739247" sldId="622"/>
        </pc:sldMkLst>
      </pc:sldChg>
      <pc:sldChg chg="addSp delSp modSp add mod">
        <pc:chgData name="Ruiz Remolina, Guillermo" userId="4d440337-46f5-416c-8f41-a583735daf57" providerId="ADAL" clId="{E50CE7DA-2C33-4F07-B312-7BE0EC2CB3BF}" dt="2022-12-02T12:16:56.488" v="1070" actId="20577"/>
        <pc:sldMkLst>
          <pc:docMk/>
          <pc:sldMk cId="2897691459" sldId="623"/>
        </pc:sldMkLst>
      </pc:sldChg>
      <pc:sldChg chg="delSp modSp add mod">
        <pc:chgData name="Ruiz Remolina, Guillermo" userId="4d440337-46f5-416c-8f41-a583735daf57" providerId="ADAL" clId="{E50CE7DA-2C33-4F07-B312-7BE0EC2CB3BF}" dt="2022-12-02T12:21:56.433" v="1086" actId="2710"/>
        <pc:sldMkLst>
          <pc:docMk/>
          <pc:sldMk cId="1640366717" sldId="624"/>
        </pc:sldMkLst>
      </pc:sldChg>
      <pc:sldChg chg="addSp delSp modSp add mod">
        <pc:chgData name="Ruiz Remolina, Guillermo" userId="4d440337-46f5-416c-8f41-a583735daf57" providerId="ADAL" clId="{E50CE7DA-2C33-4F07-B312-7BE0EC2CB3BF}" dt="2022-12-02T12:36:38.257" v="1338" actId="403"/>
        <pc:sldMkLst>
          <pc:docMk/>
          <pc:sldMk cId="3853023264" sldId="625"/>
        </pc:sldMkLst>
      </pc:sldChg>
      <pc:sldChg chg="addSp delSp modSp add mod">
        <pc:chgData name="Ruiz Remolina, Guillermo" userId="4d440337-46f5-416c-8f41-a583735daf57" providerId="ADAL" clId="{E50CE7DA-2C33-4F07-B312-7BE0EC2CB3BF}" dt="2022-12-05T07:17:47.658" v="1415" actId="20577"/>
        <pc:sldMkLst>
          <pc:docMk/>
          <pc:sldMk cId="3891128358" sldId="626"/>
        </pc:sldMkLst>
      </pc:sldChg>
      <pc:sldChg chg="addSp delSp modSp add mod ord">
        <pc:chgData name="Ruiz Remolina, Guillermo" userId="4d440337-46f5-416c-8f41-a583735daf57" providerId="ADAL" clId="{E50CE7DA-2C33-4F07-B312-7BE0EC2CB3BF}" dt="2022-12-05T11:24:49.642" v="2480"/>
        <pc:sldMkLst>
          <pc:docMk/>
          <pc:sldMk cId="2682466234" sldId="627"/>
        </pc:sldMkLst>
      </pc:sldChg>
      <pc:sldChg chg="modSp add del mod ord">
        <pc:chgData name="Ruiz Remolina, Guillermo" userId="4d440337-46f5-416c-8f41-a583735daf57" providerId="ADAL" clId="{E50CE7DA-2C33-4F07-B312-7BE0EC2CB3BF}" dt="2022-12-05T11:22:21.105" v="2468" actId="47"/>
        <pc:sldMkLst>
          <pc:docMk/>
          <pc:sldMk cId="2559119573" sldId="628"/>
        </pc:sldMkLst>
      </pc:sldChg>
      <pc:sldChg chg="new del">
        <pc:chgData name="Ruiz Remolina, Guillermo" userId="4d440337-46f5-416c-8f41-a583735daf57" providerId="ADAL" clId="{E50CE7DA-2C33-4F07-B312-7BE0EC2CB3BF}" dt="2022-12-05T07:17:20.228" v="1397" actId="680"/>
        <pc:sldMkLst>
          <pc:docMk/>
          <pc:sldMk cId="1569199353" sldId="629"/>
        </pc:sldMkLst>
      </pc:sldChg>
      <pc:sldChg chg="modSp add mod">
        <pc:chgData name="Ruiz Remolina, Guillermo" userId="4d440337-46f5-416c-8f41-a583735daf57" providerId="ADAL" clId="{E50CE7DA-2C33-4F07-B312-7BE0EC2CB3BF}" dt="2022-12-05T07:20:55.244" v="1433" actId="20577"/>
        <pc:sldMkLst>
          <pc:docMk/>
          <pc:sldMk cId="4217373706" sldId="629"/>
        </pc:sldMkLst>
      </pc:sldChg>
      <pc:sldChg chg="delSp modSp add mod ord">
        <pc:chgData name="Ruiz Remolina, Guillermo" userId="4d440337-46f5-416c-8f41-a583735daf57" providerId="ADAL" clId="{E50CE7DA-2C33-4F07-B312-7BE0EC2CB3BF}" dt="2022-12-05T07:22:57.714" v="1449" actId="1076"/>
        <pc:sldMkLst>
          <pc:docMk/>
          <pc:sldMk cId="4224205231" sldId="630"/>
        </pc:sldMkLst>
      </pc:sldChg>
      <pc:sldChg chg="addSp modSp add mod">
        <pc:chgData name="Ruiz Remolina, Guillermo" userId="4d440337-46f5-416c-8f41-a583735daf57" providerId="ADAL" clId="{E50CE7DA-2C33-4F07-B312-7BE0EC2CB3BF}" dt="2022-12-05T07:29:30.427" v="1503" actId="14100"/>
        <pc:sldMkLst>
          <pc:docMk/>
          <pc:sldMk cId="1005079796" sldId="631"/>
        </pc:sldMkLst>
      </pc:sldChg>
      <pc:sldChg chg="delSp modSp add mod">
        <pc:chgData name="Ruiz Remolina, Guillermo" userId="4d440337-46f5-416c-8f41-a583735daf57" providerId="ADAL" clId="{E50CE7DA-2C33-4F07-B312-7BE0EC2CB3BF}" dt="2022-12-05T07:53:00.966" v="1559" actId="12"/>
        <pc:sldMkLst>
          <pc:docMk/>
          <pc:sldMk cId="2185714842" sldId="632"/>
        </pc:sldMkLst>
      </pc:sldChg>
      <pc:sldChg chg="delSp modSp add mod">
        <pc:chgData name="Ruiz Remolina, Guillermo" userId="4d440337-46f5-416c-8f41-a583735daf57" providerId="ADAL" clId="{E50CE7DA-2C33-4F07-B312-7BE0EC2CB3BF}" dt="2022-12-05T07:55:48.137" v="1586" actId="2710"/>
        <pc:sldMkLst>
          <pc:docMk/>
          <pc:sldMk cId="3820936496" sldId="633"/>
        </pc:sldMkLst>
      </pc:sldChg>
      <pc:sldChg chg="addSp modSp add mod">
        <pc:chgData name="Ruiz Remolina, Guillermo" userId="4d440337-46f5-416c-8f41-a583735daf57" providerId="ADAL" clId="{E50CE7DA-2C33-4F07-B312-7BE0EC2CB3BF}" dt="2022-12-05T08:54:57.596" v="1650" actId="5793"/>
        <pc:sldMkLst>
          <pc:docMk/>
          <pc:sldMk cId="4237584382" sldId="634"/>
        </pc:sldMkLst>
      </pc:sldChg>
      <pc:sldChg chg="delSp modSp add mod">
        <pc:chgData name="Ruiz Remolina, Guillermo" userId="4d440337-46f5-416c-8f41-a583735daf57" providerId="ADAL" clId="{E50CE7DA-2C33-4F07-B312-7BE0EC2CB3BF}" dt="2022-12-05T09:08:09.559" v="1672"/>
        <pc:sldMkLst>
          <pc:docMk/>
          <pc:sldMk cId="189996459" sldId="635"/>
        </pc:sldMkLst>
      </pc:sldChg>
      <pc:sldChg chg="addSp modSp add mod">
        <pc:chgData name="Ruiz Remolina, Guillermo" userId="4d440337-46f5-416c-8f41-a583735daf57" providerId="ADAL" clId="{E50CE7DA-2C33-4F07-B312-7BE0EC2CB3BF}" dt="2022-12-05T10:12:49.118" v="1843"/>
        <pc:sldMkLst>
          <pc:docMk/>
          <pc:sldMk cId="4154907406" sldId="636"/>
        </pc:sldMkLst>
      </pc:sldChg>
      <pc:sldChg chg="addSp delSp modSp add mod">
        <pc:chgData name="Ruiz Remolina, Guillermo" userId="4d440337-46f5-416c-8f41-a583735daf57" providerId="ADAL" clId="{E50CE7DA-2C33-4F07-B312-7BE0EC2CB3BF}" dt="2022-12-05T10:26:54.098" v="1916" actId="12"/>
        <pc:sldMkLst>
          <pc:docMk/>
          <pc:sldMk cId="2608483034" sldId="637"/>
        </pc:sldMkLst>
      </pc:sldChg>
      <pc:sldChg chg="addSp delSp modSp add mod ord">
        <pc:chgData name="Ruiz Remolina, Guillermo" userId="4d440337-46f5-416c-8f41-a583735daf57" providerId="ADAL" clId="{E50CE7DA-2C33-4F07-B312-7BE0EC2CB3BF}" dt="2022-12-05T15:19:38.989" v="2947" actId="1076"/>
        <pc:sldMkLst>
          <pc:docMk/>
          <pc:sldMk cId="3406015192" sldId="638"/>
        </pc:sldMkLst>
      </pc:sldChg>
      <pc:sldChg chg="add">
        <pc:chgData name="Ruiz Remolina, Guillermo" userId="4d440337-46f5-416c-8f41-a583735daf57" providerId="ADAL" clId="{E50CE7DA-2C33-4F07-B312-7BE0EC2CB3BF}" dt="2022-12-05T10:53:53.995" v="2033" actId="2890"/>
        <pc:sldMkLst>
          <pc:docMk/>
          <pc:sldMk cId="3710056874" sldId="639"/>
        </pc:sldMkLst>
      </pc:sldChg>
      <pc:sldChg chg="addSp delSp modSp add mod">
        <pc:chgData name="Ruiz Remolina, Guillermo" userId="4d440337-46f5-416c-8f41-a583735daf57" providerId="ADAL" clId="{E50CE7DA-2C33-4F07-B312-7BE0EC2CB3BF}" dt="2022-12-05T11:24:56.458" v="2483"/>
        <pc:sldMkLst>
          <pc:docMk/>
          <pc:sldMk cId="2489703602" sldId="640"/>
        </pc:sldMkLst>
      </pc:sldChg>
      <pc:sldChg chg="add del ord">
        <pc:chgData name="Ruiz Remolina, Guillermo" userId="4d440337-46f5-416c-8f41-a583735daf57" providerId="ADAL" clId="{E50CE7DA-2C33-4F07-B312-7BE0EC2CB3BF}" dt="2022-12-05T11:15:52.185" v="2266" actId="2696"/>
        <pc:sldMkLst>
          <pc:docMk/>
          <pc:sldMk cId="1564739095" sldId="641"/>
        </pc:sldMkLst>
      </pc:sldChg>
      <pc:sldChg chg="modSp add mod">
        <pc:chgData name="Ruiz Remolina, Guillermo" userId="4d440337-46f5-416c-8f41-a583735daf57" providerId="ADAL" clId="{E50CE7DA-2C33-4F07-B312-7BE0EC2CB3BF}" dt="2022-12-07T11:43:04.123" v="4446" actId="1076"/>
        <pc:sldMkLst>
          <pc:docMk/>
          <pc:sldMk cId="2518957465" sldId="641"/>
        </pc:sldMkLst>
      </pc:sldChg>
      <pc:sldChg chg="new del ord">
        <pc:chgData name="Ruiz Remolina, Guillermo" userId="4d440337-46f5-416c-8f41-a583735daf57" providerId="ADAL" clId="{E50CE7DA-2C33-4F07-B312-7BE0EC2CB3BF}" dt="2022-12-05T11:10:13.177" v="2259" actId="47"/>
        <pc:sldMkLst>
          <pc:docMk/>
          <pc:sldMk cId="2559907480" sldId="641"/>
        </pc:sldMkLst>
      </pc:sldChg>
      <pc:sldChg chg="addSp delSp modSp add mod ord">
        <pc:chgData name="Ruiz Remolina, Guillermo" userId="4d440337-46f5-416c-8f41-a583735daf57" providerId="ADAL" clId="{E50CE7DA-2C33-4F07-B312-7BE0EC2CB3BF}" dt="2022-12-07T09:51:57.663" v="3082" actId="1076"/>
        <pc:sldMkLst>
          <pc:docMk/>
          <pc:sldMk cId="725849223" sldId="642"/>
        </pc:sldMkLst>
      </pc:sldChg>
      <pc:sldChg chg="new del">
        <pc:chgData name="Ruiz Remolina, Guillermo" userId="4d440337-46f5-416c-8f41-a583735daf57" providerId="ADAL" clId="{E50CE7DA-2C33-4F07-B312-7BE0EC2CB3BF}" dt="2022-12-05T12:18:35.091" v="2534" actId="47"/>
        <pc:sldMkLst>
          <pc:docMk/>
          <pc:sldMk cId="1147345701" sldId="642"/>
        </pc:sldMkLst>
      </pc:sldChg>
      <pc:sldChg chg="addSp delSp modSp add mod">
        <pc:chgData name="Ruiz Remolina, Guillermo" userId="4d440337-46f5-416c-8f41-a583735daf57" providerId="ADAL" clId="{E50CE7DA-2C33-4F07-B312-7BE0EC2CB3BF}" dt="2022-12-07T10:07:42.457" v="3453" actId="404"/>
        <pc:sldMkLst>
          <pc:docMk/>
          <pc:sldMk cId="1127124678" sldId="643"/>
        </pc:sldMkLst>
      </pc:sldChg>
      <pc:sldChg chg="modSp add mod">
        <pc:chgData name="Ruiz Remolina, Guillermo" userId="4d440337-46f5-416c-8f41-a583735daf57" providerId="ADAL" clId="{E50CE7DA-2C33-4F07-B312-7BE0EC2CB3BF}" dt="2022-12-07T10:07:46.636" v="3454" actId="404"/>
        <pc:sldMkLst>
          <pc:docMk/>
          <pc:sldMk cId="2598646186" sldId="644"/>
        </pc:sldMkLst>
      </pc:sldChg>
      <pc:sldChg chg="modSp add mod">
        <pc:chgData name="Ruiz Remolina, Guillermo" userId="4d440337-46f5-416c-8f41-a583735daf57" providerId="ADAL" clId="{E50CE7DA-2C33-4F07-B312-7BE0EC2CB3BF}" dt="2022-12-07T10:07:53.846" v="3455" actId="404"/>
        <pc:sldMkLst>
          <pc:docMk/>
          <pc:sldMk cId="2812928778" sldId="645"/>
        </pc:sldMkLst>
      </pc:sldChg>
      <pc:sldChg chg="addSp delSp modSp add mod">
        <pc:chgData name="Ruiz Remolina, Guillermo" userId="4d440337-46f5-416c-8f41-a583735daf57" providerId="ADAL" clId="{E50CE7DA-2C33-4F07-B312-7BE0EC2CB3BF}" dt="2022-12-05T16:24:42.255" v="2953" actId="1035"/>
        <pc:sldMkLst>
          <pc:docMk/>
          <pc:sldMk cId="876386789" sldId="646"/>
        </pc:sldMkLst>
      </pc:sldChg>
      <pc:sldChg chg="addSp delSp modSp add mod">
        <pc:chgData name="Ruiz Remolina, Guillermo" userId="4d440337-46f5-416c-8f41-a583735daf57" providerId="ADAL" clId="{E50CE7DA-2C33-4F07-B312-7BE0EC2CB3BF}" dt="2022-12-07T10:04:57.415" v="3409" actId="20577"/>
        <pc:sldMkLst>
          <pc:docMk/>
          <pc:sldMk cId="1192244908" sldId="647"/>
        </pc:sldMkLst>
      </pc:sldChg>
      <pc:sldChg chg="addSp delSp modSp add mod">
        <pc:chgData name="Ruiz Remolina, Guillermo" userId="4d440337-46f5-416c-8f41-a583735daf57" providerId="ADAL" clId="{E50CE7DA-2C33-4F07-B312-7BE0EC2CB3BF}" dt="2022-12-07T11:46:09.632" v="4457" actId="12"/>
        <pc:sldMkLst>
          <pc:docMk/>
          <pc:sldMk cId="3834217345" sldId="648"/>
        </pc:sldMkLst>
      </pc:sldChg>
      <pc:sldChg chg="modSp add mod">
        <pc:chgData name="Ruiz Remolina, Guillermo" userId="4d440337-46f5-416c-8f41-a583735daf57" providerId="ADAL" clId="{E50CE7DA-2C33-4F07-B312-7BE0EC2CB3BF}" dt="2022-12-07T11:46:16.285" v="4458" actId="12"/>
        <pc:sldMkLst>
          <pc:docMk/>
          <pc:sldMk cId="3121905743" sldId="649"/>
        </pc:sldMkLst>
      </pc:sldChg>
      <pc:sldChg chg="addSp delSp modSp add mod">
        <pc:chgData name="Ruiz Remolina, Guillermo" userId="4d440337-46f5-416c-8f41-a583735daf57" providerId="ADAL" clId="{E50CE7DA-2C33-4F07-B312-7BE0EC2CB3BF}" dt="2022-12-07T10:51:07.833" v="3700" actId="1035"/>
        <pc:sldMkLst>
          <pc:docMk/>
          <pc:sldMk cId="4043896630" sldId="650"/>
        </pc:sldMkLst>
      </pc:sldChg>
      <pc:sldChg chg="addSp delSp modSp add mod">
        <pc:chgData name="Ruiz Remolina, Guillermo" userId="4d440337-46f5-416c-8f41-a583735daf57" providerId="ADAL" clId="{E50CE7DA-2C33-4F07-B312-7BE0EC2CB3BF}" dt="2022-12-07T10:57:49.078" v="3751" actId="20577"/>
        <pc:sldMkLst>
          <pc:docMk/>
          <pc:sldMk cId="3772718957" sldId="651"/>
        </pc:sldMkLst>
      </pc:sldChg>
      <pc:sldChg chg="addSp delSp modSp add mod">
        <pc:chgData name="Ruiz Remolina, Guillermo" userId="4d440337-46f5-416c-8f41-a583735daf57" providerId="ADAL" clId="{E50CE7DA-2C33-4F07-B312-7BE0EC2CB3BF}" dt="2022-12-07T11:00:14.290" v="3808" actId="20577"/>
        <pc:sldMkLst>
          <pc:docMk/>
          <pc:sldMk cId="1644302475" sldId="652"/>
        </pc:sldMkLst>
      </pc:sldChg>
      <pc:sldChg chg="delSp modSp add mod">
        <pc:chgData name="Ruiz Remolina, Guillermo" userId="4d440337-46f5-416c-8f41-a583735daf57" providerId="ADAL" clId="{E50CE7DA-2C33-4F07-B312-7BE0EC2CB3BF}" dt="2022-12-07T11:02:23.818" v="3828" actId="20577"/>
        <pc:sldMkLst>
          <pc:docMk/>
          <pc:sldMk cId="220928335" sldId="653"/>
        </pc:sldMkLst>
      </pc:sldChg>
      <pc:sldChg chg="modSp add mod">
        <pc:chgData name="Ruiz Remolina, Guillermo" userId="4d440337-46f5-416c-8f41-a583735daf57" providerId="ADAL" clId="{E50CE7DA-2C33-4F07-B312-7BE0EC2CB3BF}" dt="2022-12-07T11:07:28.471" v="3928" actId="5793"/>
        <pc:sldMkLst>
          <pc:docMk/>
          <pc:sldMk cId="653322716" sldId="654"/>
        </pc:sldMkLst>
      </pc:sldChg>
      <pc:sldChg chg="modSp add mod">
        <pc:chgData name="Ruiz Remolina, Guillermo" userId="4d440337-46f5-416c-8f41-a583735daf57" providerId="ADAL" clId="{E50CE7DA-2C33-4F07-B312-7BE0EC2CB3BF}" dt="2022-12-07T11:09:39.984" v="3965" actId="113"/>
        <pc:sldMkLst>
          <pc:docMk/>
          <pc:sldMk cId="780575756" sldId="655"/>
        </pc:sldMkLst>
      </pc:sldChg>
      <pc:sldChg chg="addSp delSp modSp add mod">
        <pc:chgData name="Ruiz Remolina, Guillermo" userId="4d440337-46f5-416c-8f41-a583735daf57" providerId="ADAL" clId="{E50CE7DA-2C33-4F07-B312-7BE0EC2CB3BF}" dt="2022-12-07T11:18:14.034" v="4107" actId="1036"/>
        <pc:sldMkLst>
          <pc:docMk/>
          <pc:sldMk cId="3791608612" sldId="656"/>
        </pc:sldMkLst>
      </pc:sldChg>
      <pc:sldChg chg="addSp delSp modSp add mod">
        <pc:chgData name="Ruiz Remolina, Guillermo" userId="4d440337-46f5-416c-8f41-a583735daf57" providerId="ADAL" clId="{E50CE7DA-2C33-4F07-B312-7BE0EC2CB3BF}" dt="2022-12-07T11:19:28.068" v="4139" actId="1076"/>
        <pc:sldMkLst>
          <pc:docMk/>
          <pc:sldMk cId="187436528" sldId="657"/>
        </pc:sldMkLst>
      </pc:sldChg>
      <pc:sldChg chg="modSp add mod">
        <pc:chgData name="Ruiz Remolina, Guillermo" userId="4d440337-46f5-416c-8f41-a583735daf57" providerId="ADAL" clId="{E50CE7DA-2C33-4F07-B312-7BE0EC2CB3BF}" dt="2022-12-07T11:21:00.722" v="4192" actId="5793"/>
        <pc:sldMkLst>
          <pc:docMk/>
          <pc:sldMk cId="555245980" sldId="658"/>
        </pc:sldMkLst>
      </pc:sldChg>
      <pc:sldChg chg="modSp add mod">
        <pc:chgData name="Ruiz Remolina, Guillermo" userId="4d440337-46f5-416c-8f41-a583735daf57" providerId="ADAL" clId="{E50CE7DA-2C33-4F07-B312-7BE0EC2CB3BF}" dt="2022-12-07T11:20:58.641" v="4191" actId="20577"/>
        <pc:sldMkLst>
          <pc:docMk/>
          <pc:sldMk cId="430795348" sldId="659"/>
        </pc:sldMkLst>
      </pc:sldChg>
      <pc:sldChg chg="modSp add mod">
        <pc:chgData name="Ruiz Remolina, Guillermo" userId="4d440337-46f5-416c-8f41-a583735daf57" providerId="ADAL" clId="{E50CE7DA-2C33-4F07-B312-7BE0EC2CB3BF}" dt="2022-12-07T11:22:06.917" v="4217" actId="20577"/>
        <pc:sldMkLst>
          <pc:docMk/>
          <pc:sldMk cId="1636603585" sldId="660"/>
        </pc:sldMkLst>
      </pc:sldChg>
      <pc:sldChg chg="delSp modSp add mod">
        <pc:chgData name="Ruiz Remolina, Guillermo" userId="4d440337-46f5-416c-8f41-a583735daf57" providerId="ADAL" clId="{E50CE7DA-2C33-4F07-B312-7BE0EC2CB3BF}" dt="2022-12-07T11:23:22.494" v="4229" actId="1076"/>
        <pc:sldMkLst>
          <pc:docMk/>
          <pc:sldMk cId="2708808321" sldId="661"/>
        </pc:sldMkLst>
      </pc:sldChg>
      <pc:sldChg chg="modSp add mod">
        <pc:chgData name="Ruiz Remolina, Guillermo" userId="4d440337-46f5-416c-8f41-a583735daf57" providerId="ADAL" clId="{E50CE7DA-2C33-4F07-B312-7BE0EC2CB3BF}" dt="2022-12-07T11:24:01.792" v="4236"/>
        <pc:sldMkLst>
          <pc:docMk/>
          <pc:sldMk cId="1939526629" sldId="662"/>
        </pc:sldMkLst>
      </pc:sldChg>
      <pc:sldChg chg="modSp add mod">
        <pc:chgData name="Ruiz Remolina, Guillermo" userId="4d440337-46f5-416c-8f41-a583735daf57" providerId="ADAL" clId="{E50CE7DA-2C33-4F07-B312-7BE0EC2CB3BF}" dt="2022-12-07T11:29:13.167" v="4292" actId="1076"/>
        <pc:sldMkLst>
          <pc:docMk/>
          <pc:sldMk cId="38673155" sldId="663"/>
        </pc:sldMkLst>
      </pc:sldChg>
      <pc:sldChg chg="addSp delSp modSp add mod">
        <pc:chgData name="Ruiz Remolina, Guillermo" userId="4d440337-46f5-416c-8f41-a583735daf57" providerId="ADAL" clId="{E50CE7DA-2C33-4F07-B312-7BE0EC2CB3BF}" dt="2022-12-07T11:36:14.473" v="4356" actId="1036"/>
        <pc:sldMkLst>
          <pc:docMk/>
          <pc:sldMk cId="686787945" sldId="664"/>
        </pc:sldMkLst>
      </pc:sldChg>
      <pc:sldChg chg="addSp delSp modSp add mod">
        <pc:chgData name="Ruiz Remolina, Guillermo" userId="4d440337-46f5-416c-8f41-a583735daf57" providerId="ADAL" clId="{E50CE7DA-2C33-4F07-B312-7BE0EC2CB3BF}" dt="2022-12-07T11:37:49.960" v="4372" actId="12"/>
        <pc:sldMkLst>
          <pc:docMk/>
          <pc:sldMk cId="789053417" sldId="665"/>
        </pc:sldMkLst>
      </pc:sldChg>
      <pc:sldChg chg="modSp add mod">
        <pc:chgData name="Ruiz Remolina, Guillermo" userId="4d440337-46f5-416c-8f41-a583735daf57" providerId="ADAL" clId="{E50CE7DA-2C33-4F07-B312-7BE0EC2CB3BF}" dt="2022-12-07T11:38:56.988" v="4387"/>
        <pc:sldMkLst>
          <pc:docMk/>
          <pc:sldMk cId="1783976279" sldId="666"/>
        </pc:sldMkLst>
      </pc:sldChg>
      <pc:sldChg chg="modSp add mod">
        <pc:chgData name="Ruiz Remolina, Guillermo" userId="4d440337-46f5-416c-8f41-a583735daf57" providerId="ADAL" clId="{E50CE7DA-2C33-4F07-B312-7BE0EC2CB3BF}" dt="2022-12-07T11:41:38.020" v="4443" actId="20577"/>
        <pc:sldMkLst>
          <pc:docMk/>
          <pc:sldMk cId="3048999272" sldId="667"/>
        </pc:sldMkLst>
      </pc:sldChg>
      <pc:sldMasterChg chg="modSp mod">
        <pc:chgData name="Ruiz Remolina, Guillermo" userId="4d440337-46f5-416c-8f41-a583735daf57" providerId="ADAL" clId="{E50CE7DA-2C33-4F07-B312-7BE0EC2CB3BF}" dt="2022-12-05T10:05:58.927" v="1839" actId="20577"/>
        <pc:sldMasterMkLst>
          <pc:docMk/>
          <pc:sldMasterMk cId="0" sldId="2147483648"/>
        </pc:sldMasterMkLst>
      </pc:sldMasterChg>
    </pc:docChg>
  </pc:docChgLst>
  <pc:docChgLst>
    <pc:chgData name="Borrachero Mallofret, Claudia Nerea" userId="S::cborracheromallofret@deloitte.es::02a1dbb0-dec9-416c-b7ed-16a327d853e8" providerId="AD" clId="Web-{1A46824E-B497-D849-5FCF-A8B41450AA26}"/>
    <pc:docChg chg="delSld modSld modSection">
      <pc:chgData name="Borrachero Mallofret, Claudia Nerea" userId="S::cborracheromallofret@deloitte.es::02a1dbb0-dec9-416c-b7ed-16a327d853e8" providerId="AD" clId="Web-{1A46824E-B497-D849-5FCF-A8B41450AA26}" dt="2024-12-11T10:53:35.285" v="14"/>
      <pc:docMkLst>
        <pc:docMk/>
      </pc:docMkLst>
      <pc:sldChg chg="del">
        <pc:chgData name="Borrachero Mallofret, Claudia Nerea" userId="S::cborracheromallofret@deloitte.es::02a1dbb0-dec9-416c-b7ed-16a327d853e8" providerId="AD" clId="Web-{1A46824E-B497-D849-5FCF-A8B41450AA26}" dt="2024-12-11T10:53:35.285" v="14"/>
        <pc:sldMkLst>
          <pc:docMk/>
          <pc:sldMk cId="352458009" sldId="711"/>
        </pc:sldMkLst>
      </pc:sldChg>
      <pc:sldChg chg="modSp">
        <pc:chgData name="Borrachero Mallofret, Claudia Nerea" userId="S::cborracheromallofret@deloitte.es::02a1dbb0-dec9-416c-b7ed-16a327d853e8" providerId="AD" clId="Web-{1A46824E-B497-D849-5FCF-A8B41450AA26}" dt="2024-12-11T10:52:16.923" v="0" actId="20577"/>
        <pc:sldMkLst>
          <pc:docMk/>
          <pc:sldMk cId="2565893874" sldId="716"/>
        </pc:sldMkLst>
        <pc:spChg chg="mod">
          <ac:chgData name="Borrachero Mallofret, Claudia Nerea" userId="S::cborracheromallofret@deloitte.es::02a1dbb0-dec9-416c-b7ed-16a327d853e8" providerId="AD" clId="Web-{1A46824E-B497-D849-5FCF-A8B41450AA26}" dt="2024-12-11T10:52:16.923" v="0" actId="20577"/>
          <ac:spMkLst>
            <pc:docMk/>
            <pc:sldMk cId="2565893874" sldId="716"/>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20.782" v="1" actId="20577"/>
        <pc:sldMkLst>
          <pc:docMk/>
          <pc:sldMk cId="3718589891" sldId="717"/>
        </pc:sldMkLst>
        <pc:spChg chg="mod">
          <ac:chgData name="Borrachero Mallofret, Claudia Nerea" userId="S::cborracheromallofret@deloitte.es::02a1dbb0-dec9-416c-b7ed-16a327d853e8" providerId="AD" clId="Web-{1A46824E-B497-D849-5FCF-A8B41450AA26}" dt="2024-12-11T10:52:20.782" v="1" actId="20577"/>
          <ac:spMkLst>
            <pc:docMk/>
            <pc:sldMk cId="3718589891" sldId="717"/>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23.845" v="2" actId="20577"/>
        <pc:sldMkLst>
          <pc:docMk/>
          <pc:sldMk cId="845804137" sldId="718"/>
        </pc:sldMkLst>
        <pc:spChg chg="mod">
          <ac:chgData name="Borrachero Mallofret, Claudia Nerea" userId="S::cborracheromallofret@deloitte.es::02a1dbb0-dec9-416c-b7ed-16a327d853e8" providerId="AD" clId="Web-{1A46824E-B497-D849-5FCF-A8B41450AA26}" dt="2024-12-11T10:52:23.845" v="2" actId="20577"/>
          <ac:spMkLst>
            <pc:docMk/>
            <pc:sldMk cId="845804137" sldId="718"/>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25.579" v="4" actId="20577"/>
        <pc:sldMkLst>
          <pc:docMk/>
          <pc:sldMk cId="1145649624" sldId="719"/>
        </pc:sldMkLst>
        <pc:spChg chg="mod">
          <ac:chgData name="Borrachero Mallofret, Claudia Nerea" userId="S::cborracheromallofret@deloitte.es::02a1dbb0-dec9-416c-b7ed-16a327d853e8" providerId="AD" clId="Web-{1A46824E-B497-D849-5FCF-A8B41450AA26}" dt="2024-12-11T10:52:25.579" v="4" actId="20577"/>
          <ac:spMkLst>
            <pc:docMk/>
            <pc:sldMk cId="1145649624" sldId="719"/>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28.517" v="6" actId="20577"/>
        <pc:sldMkLst>
          <pc:docMk/>
          <pc:sldMk cId="2090245091" sldId="720"/>
        </pc:sldMkLst>
        <pc:spChg chg="mod">
          <ac:chgData name="Borrachero Mallofret, Claudia Nerea" userId="S::cborracheromallofret@deloitte.es::02a1dbb0-dec9-416c-b7ed-16a327d853e8" providerId="AD" clId="Web-{1A46824E-B497-D849-5FCF-A8B41450AA26}" dt="2024-12-11T10:52:28.517" v="6" actId="20577"/>
          <ac:spMkLst>
            <pc:docMk/>
            <pc:sldMk cId="2090245091" sldId="720"/>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32.845" v="7" actId="20577"/>
        <pc:sldMkLst>
          <pc:docMk/>
          <pc:sldMk cId="2906463775" sldId="721"/>
        </pc:sldMkLst>
        <pc:spChg chg="mod">
          <ac:chgData name="Borrachero Mallofret, Claudia Nerea" userId="S::cborracheromallofret@deloitte.es::02a1dbb0-dec9-416c-b7ed-16a327d853e8" providerId="AD" clId="Web-{1A46824E-B497-D849-5FCF-A8B41450AA26}" dt="2024-12-11T10:52:32.845" v="7" actId="20577"/>
          <ac:spMkLst>
            <pc:docMk/>
            <pc:sldMk cId="2906463775" sldId="721"/>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35.799" v="8" actId="20577"/>
        <pc:sldMkLst>
          <pc:docMk/>
          <pc:sldMk cId="2700551340" sldId="722"/>
        </pc:sldMkLst>
        <pc:spChg chg="mod">
          <ac:chgData name="Borrachero Mallofret, Claudia Nerea" userId="S::cborracheromallofret@deloitte.es::02a1dbb0-dec9-416c-b7ed-16a327d853e8" providerId="AD" clId="Web-{1A46824E-B497-D849-5FCF-A8B41450AA26}" dt="2024-12-11T10:52:35.799" v="8" actId="20577"/>
          <ac:spMkLst>
            <pc:docMk/>
            <pc:sldMk cId="2700551340" sldId="722"/>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38.314" v="9" actId="20577"/>
        <pc:sldMkLst>
          <pc:docMk/>
          <pc:sldMk cId="2973831558" sldId="723"/>
        </pc:sldMkLst>
        <pc:spChg chg="mod">
          <ac:chgData name="Borrachero Mallofret, Claudia Nerea" userId="S::cborracheromallofret@deloitte.es::02a1dbb0-dec9-416c-b7ed-16a327d853e8" providerId="AD" clId="Web-{1A46824E-B497-D849-5FCF-A8B41450AA26}" dt="2024-12-11T10:52:38.314" v="9" actId="20577"/>
          <ac:spMkLst>
            <pc:docMk/>
            <pc:sldMk cId="2973831558" sldId="723"/>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42.471" v="10" actId="20577"/>
        <pc:sldMkLst>
          <pc:docMk/>
          <pc:sldMk cId="1953737704" sldId="724"/>
        </pc:sldMkLst>
        <pc:spChg chg="mod">
          <ac:chgData name="Borrachero Mallofret, Claudia Nerea" userId="S::cborracheromallofret@deloitte.es::02a1dbb0-dec9-416c-b7ed-16a327d853e8" providerId="AD" clId="Web-{1A46824E-B497-D849-5FCF-A8B41450AA26}" dt="2024-12-11T10:52:42.471" v="10" actId="20577"/>
          <ac:spMkLst>
            <pc:docMk/>
            <pc:sldMk cId="1953737704" sldId="724"/>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45.846" v="11" actId="20577"/>
        <pc:sldMkLst>
          <pc:docMk/>
          <pc:sldMk cId="2910558873" sldId="725"/>
        </pc:sldMkLst>
        <pc:spChg chg="mod">
          <ac:chgData name="Borrachero Mallofret, Claudia Nerea" userId="S::cborracheromallofret@deloitte.es::02a1dbb0-dec9-416c-b7ed-16a327d853e8" providerId="AD" clId="Web-{1A46824E-B497-D849-5FCF-A8B41450AA26}" dt="2024-12-11T10:52:45.846" v="11" actId="20577"/>
          <ac:spMkLst>
            <pc:docMk/>
            <pc:sldMk cId="2910558873" sldId="725"/>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49.408" v="12" actId="20577"/>
        <pc:sldMkLst>
          <pc:docMk/>
          <pc:sldMk cId="1619307240" sldId="726"/>
        </pc:sldMkLst>
        <pc:spChg chg="mod">
          <ac:chgData name="Borrachero Mallofret, Claudia Nerea" userId="S::cborracheromallofret@deloitte.es::02a1dbb0-dec9-416c-b7ed-16a327d853e8" providerId="AD" clId="Web-{1A46824E-B497-D849-5FCF-A8B41450AA26}" dt="2024-12-11T10:52:49.408" v="12" actId="20577"/>
          <ac:spMkLst>
            <pc:docMk/>
            <pc:sldMk cId="1619307240" sldId="726"/>
            <ac:spMk id="2" creationId="{00000000-0000-0000-0000-000000000000}"/>
          </ac:spMkLst>
        </pc:spChg>
      </pc:sldChg>
      <pc:sldChg chg="modSp">
        <pc:chgData name="Borrachero Mallofret, Claudia Nerea" userId="S::cborracheromallofret@deloitte.es::02a1dbb0-dec9-416c-b7ed-16a327d853e8" providerId="AD" clId="Web-{1A46824E-B497-D849-5FCF-A8B41450AA26}" dt="2024-12-11T10:52:51.705" v="13" actId="20577"/>
        <pc:sldMkLst>
          <pc:docMk/>
          <pc:sldMk cId="1464620082" sldId="727"/>
        </pc:sldMkLst>
        <pc:spChg chg="mod">
          <ac:chgData name="Borrachero Mallofret, Claudia Nerea" userId="S::cborracheromallofret@deloitte.es::02a1dbb0-dec9-416c-b7ed-16a327d853e8" providerId="AD" clId="Web-{1A46824E-B497-D849-5FCF-A8B41450AA26}" dt="2024-12-11T10:52:51.705" v="13" actId="20577"/>
          <ac:spMkLst>
            <pc:docMk/>
            <pc:sldMk cId="1464620082" sldId="727"/>
            <ac:spMk id="2" creationId="{00000000-0000-0000-0000-000000000000}"/>
          </ac:spMkLst>
        </pc:spChg>
      </pc:sldChg>
    </pc:docChg>
  </pc:docChgLst>
  <pc:docChgLst>
    <pc:chgData name="Moro Barroso, Eva" userId="S::emorobarroso@deloitte.es::0d57e1f3-8065-4ce6-9b29-f573f0e9a382" providerId="AD" clId="Web-{62CFA29B-70A1-F5F8-1907-222AC750BD84}"/>
    <pc:docChg chg="sldOrd">
      <pc:chgData name="Moro Barroso, Eva" userId="S::emorobarroso@deloitte.es::0d57e1f3-8065-4ce6-9b29-f573f0e9a382" providerId="AD" clId="Web-{62CFA29B-70A1-F5F8-1907-222AC750BD84}" dt="2024-03-14T16:50:30.982" v="0"/>
      <pc:docMkLst>
        <pc:docMk/>
      </pc:docMkLst>
      <pc:sldChg chg="ord">
        <pc:chgData name="Moro Barroso, Eva" userId="S::emorobarroso@deloitte.es::0d57e1f3-8065-4ce6-9b29-f573f0e9a382" providerId="AD" clId="Web-{62CFA29B-70A1-F5F8-1907-222AC750BD84}" dt="2024-03-14T16:50:30.982" v="0"/>
        <pc:sldMkLst>
          <pc:docMk/>
          <pc:sldMk cId="1640366717" sldId="624"/>
        </pc:sldMkLst>
      </pc:sldChg>
    </pc:docChg>
  </pc:docChgLst>
  <pc:docChgLst>
    <pc:chgData name="Borrachero Mallofret, Claudia Nerea" userId="S::cborracheromallofret@deloitte.es::02a1dbb0-dec9-416c-b7ed-16a327d853e8" providerId="AD" clId="Web-{F9CDC43C-A5B1-212F-7FB2-AFB4D84AE59F}"/>
    <pc:docChg chg="modSld">
      <pc:chgData name="Borrachero Mallofret, Claudia Nerea" userId="S::cborracheromallofret@deloitte.es::02a1dbb0-dec9-416c-b7ed-16a327d853e8" providerId="AD" clId="Web-{F9CDC43C-A5B1-212F-7FB2-AFB4D84AE59F}" dt="2024-12-10T11:30:08.916" v="2" actId="20577"/>
      <pc:docMkLst>
        <pc:docMk/>
      </pc:docMkLst>
      <pc:sldChg chg="modSp">
        <pc:chgData name="Borrachero Mallofret, Claudia Nerea" userId="S::cborracheromallofret@deloitte.es::02a1dbb0-dec9-416c-b7ed-16a327d853e8" providerId="AD" clId="Web-{F9CDC43C-A5B1-212F-7FB2-AFB4D84AE59F}" dt="2024-12-10T11:14:18.403" v="1" actId="1076"/>
        <pc:sldMkLst>
          <pc:docMk/>
          <pc:sldMk cId="3603411626" sldId="269"/>
        </pc:sldMkLst>
        <pc:picChg chg="mod">
          <ac:chgData name="Borrachero Mallofret, Claudia Nerea" userId="S::cborracheromallofret@deloitte.es::02a1dbb0-dec9-416c-b7ed-16a327d853e8" providerId="AD" clId="Web-{F9CDC43C-A5B1-212F-7FB2-AFB4D84AE59F}" dt="2024-12-10T11:14:18.403" v="1" actId="1076"/>
          <ac:picMkLst>
            <pc:docMk/>
            <pc:sldMk cId="3603411626" sldId="269"/>
            <ac:picMk id="4" creationId="{AD2539FF-D1AF-4944-ADCD-73C6B91C1B3A}"/>
          </ac:picMkLst>
        </pc:picChg>
      </pc:sldChg>
      <pc:sldChg chg="modSp">
        <pc:chgData name="Borrachero Mallofret, Claudia Nerea" userId="S::cborracheromallofret@deloitte.es::02a1dbb0-dec9-416c-b7ed-16a327d853e8" providerId="AD" clId="Web-{F9CDC43C-A5B1-212F-7FB2-AFB4D84AE59F}" dt="2024-12-10T11:30:08.916" v="2" actId="20577"/>
        <pc:sldMkLst>
          <pc:docMk/>
          <pc:sldMk cId="2895430981" sldId="599"/>
        </pc:sldMkLst>
        <pc:spChg chg="mod">
          <ac:chgData name="Borrachero Mallofret, Claudia Nerea" userId="S::cborracheromallofret@deloitte.es::02a1dbb0-dec9-416c-b7ed-16a327d853e8" providerId="AD" clId="Web-{F9CDC43C-A5B1-212F-7FB2-AFB4D84AE59F}" dt="2024-12-10T11:30:08.916" v="2" actId="20577"/>
          <ac:spMkLst>
            <pc:docMk/>
            <pc:sldMk cId="2895430981" sldId="599"/>
            <ac:spMk id="2"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8FAC8B-AAAC-4B41-8DD2-642823CDC5EE}" type="doc">
      <dgm:prSet loTypeId="urn:microsoft.com/office/officeart/2005/8/layout/hierarchy4" loCatId="list" qsTypeId="urn:microsoft.com/office/officeart/2005/8/quickstyle/simple1" qsCatId="simple" csTypeId="urn:microsoft.com/office/officeart/2005/8/colors/accent1_1" csCatId="accent1" phldr="1"/>
      <dgm:spPr/>
      <dgm:t>
        <a:bodyPr/>
        <a:lstStyle/>
        <a:p>
          <a:endParaRPr lang="es-ES"/>
        </a:p>
      </dgm:t>
    </dgm:pt>
    <dgm:pt modelId="{904AE583-6E0F-43F4-BAD5-8F9492616128}">
      <dgm:prSet phldrT="[Text]" custT="1"/>
      <dgm:spPr>
        <a:solidFill>
          <a:srgbClr val="046A38"/>
        </a:solidFill>
        <a:ln>
          <a:noFill/>
        </a:ln>
      </dgm:spPr>
      <dgm:t>
        <a:bodyPr/>
        <a:lstStyle/>
        <a:p>
          <a:r>
            <a:rPr lang="es-ES_tradnl" sz="1800" b="1">
              <a:solidFill>
                <a:schemeClr val="bg1"/>
              </a:solidFill>
            </a:rPr>
            <a:t>Beneficios</a:t>
          </a:r>
          <a:endParaRPr lang="es-ES" sz="1400" b="1">
            <a:solidFill>
              <a:schemeClr val="bg1"/>
            </a:solidFill>
          </a:endParaRPr>
        </a:p>
      </dgm:t>
    </dgm:pt>
    <dgm:pt modelId="{347BB4CD-6ED0-46C0-8724-02C921C4CA83}" type="parTrans" cxnId="{1D5FA468-7FDB-40D6-8D9B-B8FB771062F4}">
      <dgm:prSet/>
      <dgm:spPr/>
      <dgm:t>
        <a:bodyPr/>
        <a:lstStyle/>
        <a:p>
          <a:endParaRPr lang="es-ES" sz="1400"/>
        </a:p>
      </dgm:t>
    </dgm:pt>
    <dgm:pt modelId="{7C35F977-3478-407E-8116-26C1CD392281}" type="sibTrans" cxnId="{1D5FA468-7FDB-40D6-8D9B-B8FB771062F4}">
      <dgm:prSet/>
      <dgm:spPr/>
      <dgm:t>
        <a:bodyPr/>
        <a:lstStyle/>
        <a:p>
          <a:endParaRPr lang="es-ES" sz="1400"/>
        </a:p>
      </dgm:t>
    </dgm:pt>
    <dgm:pt modelId="{30913F47-1B9A-4832-8867-22AA2267B831}">
      <dgm:prSet phldrT="[Text]" custT="1"/>
      <dgm:spPr>
        <a:ln>
          <a:solidFill>
            <a:srgbClr val="046A38"/>
          </a:solidFill>
        </a:ln>
      </dgm:spPr>
      <dgm:t>
        <a:bodyPr/>
        <a:lstStyle/>
        <a:p>
          <a:pPr>
            <a:buFont typeface="Wingdings" panose="05000000000000000000" pitchFamily="2" charset="2"/>
            <a:buChar char="§"/>
          </a:pPr>
          <a:r>
            <a:rPr lang="es-ES" sz="1400">
              <a:sym typeface="Wingdings" panose="05000000000000000000" pitchFamily="2" charset="2"/>
            </a:rPr>
            <a:t>Mejorar la comunicación y la colaboración dentro del equipo.</a:t>
          </a:r>
          <a:endParaRPr lang="es-ES" sz="1400"/>
        </a:p>
      </dgm:t>
    </dgm:pt>
    <dgm:pt modelId="{BE85C459-7033-4BBA-9EA5-EB238C3E93C0}" type="parTrans" cxnId="{7766096C-375B-4DFD-8F52-C8EEA5765E15}">
      <dgm:prSet/>
      <dgm:spPr/>
      <dgm:t>
        <a:bodyPr/>
        <a:lstStyle/>
        <a:p>
          <a:endParaRPr lang="es-ES" sz="1400"/>
        </a:p>
      </dgm:t>
    </dgm:pt>
    <dgm:pt modelId="{C1192FBE-BBAD-49BD-AFDB-F550FD70AA6E}" type="sibTrans" cxnId="{7766096C-375B-4DFD-8F52-C8EEA5765E15}">
      <dgm:prSet/>
      <dgm:spPr/>
      <dgm:t>
        <a:bodyPr/>
        <a:lstStyle/>
        <a:p>
          <a:endParaRPr lang="es-ES" sz="1400"/>
        </a:p>
      </dgm:t>
    </dgm:pt>
    <dgm:pt modelId="{7B2FD02F-407C-49E0-8685-73A6413E06DA}">
      <dgm:prSet phldrT="[Text]" custT="1"/>
      <dgm:spPr>
        <a:ln>
          <a:solidFill>
            <a:srgbClr val="046A38"/>
          </a:solidFill>
        </a:ln>
      </dgm:spPr>
      <dgm:t>
        <a:bodyPr/>
        <a:lstStyle/>
        <a:p>
          <a:pPr>
            <a:buFont typeface="Wingdings" panose="05000000000000000000" pitchFamily="2" charset="2"/>
            <a:buChar char="§"/>
          </a:pPr>
          <a:r>
            <a:rPr lang="es-ES" sz="1400">
              <a:sym typeface="Wingdings" panose="05000000000000000000" pitchFamily="2" charset="2"/>
            </a:rPr>
            <a:t>Permitir que se aprovechen las distintas competencias del equipo en beneficio del proyecto.</a:t>
          </a:r>
          <a:endParaRPr lang="es-ES" sz="1400"/>
        </a:p>
      </dgm:t>
    </dgm:pt>
    <dgm:pt modelId="{3CF6D4BD-3F4D-4013-9F63-E984E8DA36D6}" type="parTrans" cxnId="{BDEA43A2-96B0-4AA5-A4AA-1787783F247C}">
      <dgm:prSet/>
      <dgm:spPr/>
      <dgm:t>
        <a:bodyPr/>
        <a:lstStyle/>
        <a:p>
          <a:endParaRPr lang="es-ES" sz="1400"/>
        </a:p>
      </dgm:t>
    </dgm:pt>
    <dgm:pt modelId="{AF3343F0-D4B7-4AE4-AAA4-D6D9B765ADED}" type="sibTrans" cxnId="{BDEA43A2-96B0-4AA5-A4AA-1787783F247C}">
      <dgm:prSet/>
      <dgm:spPr/>
      <dgm:t>
        <a:bodyPr/>
        <a:lstStyle/>
        <a:p>
          <a:endParaRPr lang="es-ES" sz="1400"/>
        </a:p>
      </dgm:t>
    </dgm:pt>
    <dgm:pt modelId="{5C2BC07C-FADC-4AB7-85EE-0183A5C6580B}">
      <dgm:prSet phldrT="[Text]" custT="1"/>
      <dgm:spPr>
        <a:ln>
          <a:solidFill>
            <a:srgbClr val="046A38"/>
          </a:solidFill>
        </a:ln>
      </dgm:spPr>
      <dgm:t>
        <a:bodyPr/>
        <a:lstStyle/>
        <a:p>
          <a:pPr>
            <a:buFont typeface="Wingdings" panose="05000000000000000000" pitchFamily="2" charset="2"/>
            <a:buChar char="§"/>
          </a:pPr>
          <a:r>
            <a:rPr lang="es-ES" sz="1400">
              <a:sym typeface="Wingdings" panose="05000000000000000000" pitchFamily="2" charset="2"/>
            </a:rPr>
            <a:t>Hacer que la calidad sea responsabilidad de todos</a:t>
          </a:r>
          <a:endParaRPr lang="es-ES" sz="1400"/>
        </a:p>
      </dgm:t>
    </dgm:pt>
    <dgm:pt modelId="{481AC85E-2F99-4036-886A-5447A2BB14E8}" type="parTrans" cxnId="{FE399A77-E9C0-4CEA-B608-15A53527099A}">
      <dgm:prSet/>
      <dgm:spPr/>
      <dgm:t>
        <a:bodyPr/>
        <a:lstStyle/>
        <a:p>
          <a:endParaRPr lang="es-ES" sz="1400"/>
        </a:p>
      </dgm:t>
    </dgm:pt>
    <dgm:pt modelId="{621983CD-6C5E-4547-9FA1-362257316699}" type="sibTrans" cxnId="{FE399A77-E9C0-4CEA-B608-15A53527099A}">
      <dgm:prSet/>
      <dgm:spPr/>
      <dgm:t>
        <a:bodyPr/>
        <a:lstStyle/>
        <a:p>
          <a:endParaRPr lang="es-ES" sz="1400"/>
        </a:p>
      </dgm:t>
    </dgm:pt>
    <dgm:pt modelId="{F768CE52-D631-402E-8835-19C4550544A9}" type="pres">
      <dgm:prSet presAssocID="{018FAC8B-AAAC-4B41-8DD2-642823CDC5EE}" presName="Name0" presStyleCnt="0">
        <dgm:presLayoutVars>
          <dgm:chPref val="1"/>
          <dgm:dir/>
          <dgm:animOne val="branch"/>
          <dgm:animLvl val="lvl"/>
          <dgm:resizeHandles/>
        </dgm:presLayoutVars>
      </dgm:prSet>
      <dgm:spPr/>
    </dgm:pt>
    <dgm:pt modelId="{27FA8063-762F-4B15-9A3E-B4A3D0805486}" type="pres">
      <dgm:prSet presAssocID="{904AE583-6E0F-43F4-BAD5-8F9492616128}" presName="vertOne" presStyleCnt="0"/>
      <dgm:spPr/>
    </dgm:pt>
    <dgm:pt modelId="{856FDFFE-15F5-4FCE-A082-5EF2F9BC36BA}" type="pres">
      <dgm:prSet presAssocID="{904AE583-6E0F-43F4-BAD5-8F9492616128}" presName="txOne" presStyleLbl="node0" presStyleIdx="0" presStyleCnt="1" custScaleY="31765" custLinFactNeighborX="36" custLinFactNeighborY="50893">
        <dgm:presLayoutVars>
          <dgm:chPref val="3"/>
        </dgm:presLayoutVars>
      </dgm:prSet>
      <dgm:spPr/>
    </dgm:pt>
    <dgm:pt modelId="{B3E5D1D6-03C0-47E8-AE1E-08A055D4E020}" type="pres">
      <dgm:prSet presAssocID="{904AE583-6E0F-43F4-BAD5-8F9492616128}" presName="parTransOne" presStyleCnt="0"/>
      <dgm:spPr/>
    </dgm:pt>
    <dgm:pt modelId="{560C5C78-248D-43CC-8528-85A4CC0EE687}" type="pres">
      <dgm:prSet presAssocID="{904AE583-6E0F-43F4-BAD5-8F9492616128}" presName="horzOne" presStyleCnt="0"/>
      <dgm:spPr/>
    </dgm:pt>
    <dgm:pt modelId="{22F4EF12-9551-4667-A5F0-1E5F7E1A62E2}" type="pres">
      <dgm:prSet presAssocID="{30913F47-1B9A-4832-8867-22AA2267B831}" presName="vertTwo" presStyleCnt="0"/>
      <dgm:spPr/>
    </dgm:pt>
    <dgm:pt modelId="{F5706349-CAFE-4D34-8A52-3B36F615B3CE}" type="pres">
      <dgm:prSet presAssocID="{30913F47-1B9A-4832-8867-22AA2267B831}" presName="txTwo" presStyleLbl="node2" presStyleIdx="0" presStyleCnt="3" custScaleX="83721">
        <dgm:presLayoutVars>
          <dgm:chPref val="3"/>
        </dgm:presLayoutVars>
      </dgm:prSet>
      <dgm:spPr/>
    </dgm:pt>
    <dgm:pt modelId="{7CE59674-4272-443C-95CD-D094BD3018FE}" type="pres">
      <dgm:prSet presAssocID="{30913F47-1B9A-4832-8867-22AA2267B831}" presName="horzTwo" presStyleCnt="0"/>
      <dgm:spPr/>
    </dgm:pt>
    <dgm:pt modelId="{8D00C26A-57C0-4EED-8E1E-7194AB5DB310}" type="pres">
      <dgm:prSet presAssocID="{C1192FBE-BBAD-49BD-AFDB-F550FD70AA6E}" presName="sibSpaceTwo" presStyleCnt="0"/>
      <dgm:spPr/>
    </dgm:pt>
    <dgm:pt modelId="{8035ACF2-EB13-494A-8708-2686AE4F9582}" type="pres">
      <dgm:prSet presAssocID="{7B2FD02F-407C-49E0-8685-73A6413E06DA}" presName="vertTwo" presStyleCnt="0"/>
      <dgm:spPr/>
    </dgm:pt>
    <dgm:pt modelId="{008FEE1F-5BA2-4442-9843-817330F3A078}" type="pres">
      <dgm:prSet presAssocID="{7B2FD02F-407C-49E0-8685-73A6413E06DA}" presName="txTwo" presStyleLbl="node2" presStyleIdx="1" presStyleCnt="3" custScaleX="77880" custScaleY="112392">
        <dgm:presLayoutVars>
          <dgm:chPref val="3"/>
        </dgm:presLayoutVars>
      </dgm:prSet>
      <dgm:spPr/>
    </dgm:pt>
    <dgm:pt modelId="{B789B108-7E73-458C-9BE7-E3FD2206F1E6}" type="pres">
      <dgm:prSet presAssocID="{7B2FD02F-407C-49E0-8685-73A6413E06DA}" presName="horzTwo" presStyleCnt="0"/>
      <dgm:spPr/>
    </dgm:pt>
    <dgm:pt modelId="{6A5F02DB-DA5E-4EB2-9258-5AF22689CAE4}" type="pres">
      <dgm:prSet presAssocID="{AF3343F0-D4B7-4AE4-AAA4-D6D9B765ADED}" presName="sibSpaceTwo" presStyleCnt="0"/>
      <dgm:spPr/>
    </dgm:pt>
    <dgm:pt modelId="{CECF6A0B-B19D-41D7-978E-CA3757EF6F3E}" type="pres">
      <dgm:prSet presAssocID="{5C2BC07C-FADC-4AB7-85EE-0183A5C6580B}" presName="vertTwo" presStyleCnt="0"/>
      <dgm:spPr/>
    </dgm:pt>
    <dgm:pt modelId="{61CB971E-83EB-4836-BD2A-50AFAAAB55C9}" type="pres">
      <dgm:prSet presAssocID="{5C2BC07C-FADC-4AB7-85EE-0183A5C6580B}" presName="txTwo" presStyleLbl="node2" presStyleIdx="2" presStyleCnt="3" custScaleX="71392">
        <dgm:presLayoutVars>
          <dgm:chPref val="3"/>
        </dgm:presLayoutVars>
      </dgm:prSet>
      <dgm:spPr/>
    </dgm:pt>
    <dgm:pt modelId="{5049C042-6EDF-4EBE-A987-7D391421270B}" type="pres">
      <dgm:prSet presAssocID="{5C2BC07C-FADC-4AB7-85EE-0183A5C6580B}" presName="horzTwo" presStyleCnt="0"/>
      <dgm:spPr/>
    </dgm:pt>
  </dgm:ptLst>
  <dgm:cxnLst>
    <dgm:cxn modelId="{BE83F824-78EF-4A16-8CB1-C9E5E3520E92}" type="presOf" srcId="{904AE583-6E0F-43F4-BAD5-8F9492616128}" destId="{856FDFFE-15F5-4FCE-A082-5EF2F9BC36BA}" srcOrd="0" destOrd="0" presId="urn:microsoft.com/office/officeart/2005/8/layout/hierarchy4"/>
    <dgm:cxn modelId="{1D5FA468-7FDB-40D6-8D9B-B8FB771062F4}" srcId="{018FAC8B-AAAC-4B41-8DD2-642823CDC5EE}" destId="{904AE583-6E0F-43F4-BAD5-8F9492616128}" srcOrd="0" destOrd="0" parTransId="{347BB4CD-6ED0-46C0-8724-02C921C4CA83}" sibTransId="{7C35F977-3478-407E-8116-26C1CD392281}"/>
    <dgm:cxn modelId="{7766096C-375B-4DFD-8F52-C8EEA5765E15}" srcId="{904AE583-6E0F-43F4-BAD5-8F9492616128}" destId="{30913F47-1B9A-4832-8867-22AA2267B831}" srcOrd="0" destOrd="0" parTransId="{BE85C459-7033-4BBA-9EA5-EB238C3E93C0}" sibTransId="{C1192FBE-BBAD-49BD-AFDB-F550FD70AA6E}"/>
    <dgm:cxn modelId="{1D65B951-3679-4E4B-AA69-53299518884B}" type="presOf" srcId="{5C2BC07C-FADC-4AB7-85EE-0183A5C6580B}" destId="{61CB971E-83EB-4836-BD2A-50AFAAAB55C9}" srcOrd="0" destOrd="0" presId="urn:microsoft.com/office/officeart/2005/8/layout/hierarchy4"/>
    <dgm:cxn modelId="{FE399A77-E9C0-4CEA-B608-15A53527099A}" srcId="{904AE583-6E0F-43F4-BAD5-8F9492616128}" destId="{5C2BC07C-FADC-4AB7-85EE-0183A5C6580B}" srcOrd="2" destOrd="0" parTransId="{481AC85E-2F99-4036-886A-5447A2BB14E8}" sibTransId="{621983CD-6C5E-4547-9FA1-362257316699}"/>
    <dgm:cxn modelId="{C5F5DC82-AE93-43D7-91F9-2F294E5B9EE9}" type="presOf" srcId="{7B2FD02F-407C-49E0-8685-73A6413E06DA}" destId="{008FEE1F-5BA2-4442-9843-817330F3A078}" srcOrd="0" destOrd="0" presId="urn:microsoft.com/office/officeart/2005/8/layout/hierarchy4"/>
    <dgm:cxn modelId="{BDEA43A2-96B0-4AA5-A4AA-1787783F247C}" srcId="{904AE583-6E0F-43F4-BAD5-8F9492616128}" destId="{7B2FD02F-407C-49E0-8685-73A6413E06DA}" srcOrd="1" destOrd="0" parTransId="{3CF6D4BD-3F4D-4013-9F63-E984E8DA36D6}" sibTransId="{AF3343F0-D4B7-4AE4-AAA4-D6D9B765ADED}"/>
    <dgm:cxn modelId="{A52347C1-E3B5-4FDB-81D2-C3EFE07DC682}" type="presOf" srcId="{30913F47-1B9A-4832-8867-22AA2267B831}" destId="{F5706349-CAFE-4D34-8A52-3B36F615B3CE}" srcOrd="0" destOrd="0" presId="urn:microsoft.com/office/officeart/2005/8/layout/hierarchy4"/>
    <dgm:cxn modelId="{7808F6C8-80B9-4937-9ACF-EB3E34AE5605}" type="presOf" srcId="{018FAC8B-AAAC-4B41-8DD2-642823CDC5EE}" destId="{F768CE52-D631-402E-8835-19C4550544A9}" srcOrd="0" destOrd="0" presId="urn:microsoft.com/office/officeart/2005/8/layout/hierarchy4"/>
    <dgm:cxn modelId="{8F03B73B-D45D-4C0D-BE27-2C6999381315}" type="presParOf" srcId="{F768CE52-D631-402E-8835-19C4550544A9}" destId="{27FA8063-762F-4B15-9A3E-B4A3D0805486}" srcOrd="0" destOrd="0" presId="urn:microsoft.com/office/officeart/2005/8/layout/hierarchy4"/>
    <dgm:cxn modelId="{532FCC2F-DE35-40F4-B2C0-1888DBA31D23}" type="presParOf" srcId="{27FA8063-762F-4B15-9A3E-B4A3D0805486}" destId="{856FDFFE-15F5-4FCE-A082-5EF2F9BC36BA}" srcOrd="0" destOrd="0" presId="urn:microsoft.com/office/officeart/2005/8/layout/hierarchy4"/>
    <dgm:cxn modelId="{63F1915C-4348-474A-98F2-26B4A8272E83}" type="presParOf" srcId="{27FA8063-762F-4B15-9A3E-B4A3D0805486}" destId="{B3E5D1D6-03C0-47E8-AE1E-08A055D4E020}" srcOrd="1" destOrd="0" presId="urn:microsoft.com/office/officeart/2005/8/layout/hierarchy4"/>
    <dgm:cxn modelId="{5AA82186-721B-4065-88C3-9DC87B1E7D8A}" type="presParOf" srcId="{27FA8063-762F-4B15-9A3E-B4A3D0805486}" destId="{560C5C78-248D-43CC-8528-85A4CC0EE687}" srcOrd="2" destOrd="0" presId="urn:microsoft.com/office/officeart/2005/8/layout/hierarchy4"/>
    <dgm:cxn modelId="{B8DF885D-90C3-46EC-AD4D-5352001BD529}" type="presParOf" srcId="{560C5C78-248D-43CC-8528-85A4CC0EE687}" destId="{22F4EF12-9551-4667-A5F0-1E5F7E1A62E2}" srcOrd="0" destOrd="0" presId="urn:microsoft.com/office/officeart/2005/8/layout/hierarchy4"/>
    <dgm:cxn modelId="{4D9CCECB-8C0F-4F58-987A-0684A2EA9104}" type="presParOf" srcId="{22F4EF12-9551-4667-A5F0-1E5F7E1A62E2}" destId="{F5706349-CAFE-4D34-8A52-3B36F615B3CE}" srcOrd="0" destOrd="0" presId="urn:microsoft.com/office/officeart/2005/8/layout/hierarchy4"/>
    <dgm:cxn modelId="{B540095E-D949-4714-BBCC-506203F0E402}" type="presParOf" srcId="{22F4EF12-9551-4667-A5F0-1E5F7E1A62E2}" destId="{7CE59674-4272-443C-95CD-D094BD3018FE}" srcOrd="1" destOrd="0" presId="urn:microsoft.com/office/officeart/2005/8/layout/hierarchy4"/>
    <dgm:cxn modelId="{772F2671-6571-44A0-B852-A019010C2736}" type="presParOf" srcId="{560C5C78-248D-43CC-8528-85A4CC0EE687}" destId="{8D00C26A-57C0-4EED-8E1E-7194AB5DB310}" srcOrd="1" destOrd="0" presId="urn:microsoft.com/office/officeart/2005/8/layout/hierarchy4"/>
    <dgm:cxn modelId="{E55085A9-465B-4282-B0CF-53B37B76CB04}" type="presParOf" srcId="{560C5C78-248D-43CC-8528-85A4CC0EE687}" destId="{8035ACF2-EB13-494A-8708-2686AE4F9582}" srcOrd="2" destOrd="0" presId="urn:microsoft.com/office/officeart/2005/8/layout/hierarchy4"/>
    <dgm:cxn modelId="{AC65CDC6-3169-4BB1-ABFC-D77546B1671A}" type="presParOf" srcId="{8035ACF2-EB13-494A-8708-2686AE4F9582}" destId="{008FEE1F-5BA2-4442-9843-817330F3A078}" srcOrd="0" destOrd="0" presId="urn:microsoft.com/office/officeart/2005/8/layout/hierarchy4"/>
    <dgm:cxn modelId="{A6FDFB1D-C52F-4598-98E0-862334A4246F}" type="presParOf" srcId="{8035ACF2-EB13-494A-8708-2686AE4F9582}" destId="{B789B108-7E73-458C-9BE7-E3FD2206F1E6}" srcOrd="1" destOrd="0" presId="urn:microsoft.com/office/officeart/2005/8/layout/hierarchy4"/>
    <dgm:cxn modelId="{6A223FC1-F260-4231-A080-E3F6C4242167}" type="presParOf" srcId="{560C5C78-248D-43CC-8528-85A4CC0EE687}" destId="{6A5F02DB-DA5E-4EB2-9258-5AF22689CAE4}" srcOrd="3" destOrd="0" presId="urn:microsoft.com/office/officeart/2005/8/layout/hierarchy4"/>
    <dgm:cxn modelId="{FABD560E-43FE-4F06-B0F2-6525002AFA0D}" type="presParOf" srcId="{560C5C78-248D-43CC-8528-85A4CC0EE687}" destId="{CECF6A0B-B19D-41D7-978E-CA3757EF6F3E}" srcOrd="4" destOrd="0" presId="urn:microsoft.com/office/officeart/2005/8/layout/hierarchy4"/>
    <dgm:cxn modelId="{6E2A5299-9965-44F1-AC2E-F3B7D008C7EA}" type="presParOf" srcId="{CECF6A0B-B19D-41D7-978E-CA3757EF6F3E}" destId="{61CB971E-83EB-4836-BD2A-50AFAAAB55C9}" srcOrd="0" destOrd="0" presId="urn:microsoft.com/office/officeart/2005/8/layout/hierarchy4"/>
    <dgm:cxn modelId="{966CE00E-C3BC-43E3-8909-FA86C1672AF9}" type="presParOf" srcId="{CECF6A0B-B19D-41D7-978E-CA3757EF6F3E}" destId="{5049C042-6EDF-4EBE-A987-7D391421270B}" srcOrd="1" destOrd="0" presId="urn:microsoft.com/office/officeart/2005/8/layout/hierarchy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ECC0BB1-91C2-497B-9AFC-56A85528FFC1}"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s-ES"/>
        </a:p>
      </dgm:t>
    </dgm:pt>
    <dgm:pt modelId="{EDF03BBD-BD96-4174-AB96-8E456D893A21}">
      <dgm:prSet phldrT="[Text]"/>
      <dgm:spPr/>
      <dgm:t>
        <a:bodyPr/>
        <a:lstStyle/>
        <a:p>
          <a:pPr>
            <a:buFont typeface="Wingdings" panose="05000000000000000000" pitchFamily="2" charset="2"/>
            <a:buChar char="§"/>
          </a:pPr>
          <a:r>
            <a:rPr lang="es-ES">
              <a:effectLst/>
              <a:latin typeface="Calibri" panose="020F0502020204030204" pitchFamily="34" charset="0"/>
              <a:ea typeface="Calibri" panose="020F0502020204030204" pitchFamily="34" charset="0"/>
              <a:cs typeface="Times New Roman" panose="02020603050405020304" pitchFamily="18" charset="0"/>
            </a:rPr>
            <a:t>Identificar el alcance del proyecto.</a:t>
          </a:r>
          <a:endParaRPr lang="es-ES"/>
        </a:p>
      </dgm:t>
    </dgm:pt>
    <dgm:pt modelId="{3FE8FF2B-D969-42AC-9828-D923E679E751}" type="parTrans" cxnId="{68749ADC-3F5D-4657-BF5B-2C70B9291F8F}">
      <dgm:prSet/>
      <dgm:spPr/>
      <dgm:t>
        <a:bodyPr/>
        <a:lstStyle/>
        <a:p>
          <a:endParaRPr lang="es-ES"/>
        </a:p>
      </dgm:t>
    </dgm:pt>
    <dgm:pt modelId="{2952D4BF-D963-4AFC-9FED-1DBE29014AE1}" type="sibTrans" cxnId="{68749ADC-3F5D-4657-BF5B-2C70B9291F8F}">
      <dgm:prSet/>
      <dgm:spPr/>
      <dgm:t>
        <a:bodyPr/>
        <a:lstStyle/>
        <a:p>
          <a:endParaRPr lang="es-ES"/>
        </a:p>
      </dgm:t>
    </dgm:pt>
    <dgm:pt modelId="{AD0939ED-E0D6-4E9E-B4BD-4818199CA834}">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Planificar, adquirir e instalar las herramientas necesarias.</a:t>
          </a:r>
        </a:p>
      </dgm:t>
    </dgm:pt>
    <dgm:pt modelId="{40881C57-CEE5-4D29-881D-4C42EB3DB4FA}" type="parTrans" cxnId="{B2040E4A-7BB0-4F50-A8A7-F1945A76D4A4}">
      <dgm:prSet/>
      <dgm:spPr/>
      <dgm:t>
        <a:bodyPr/>
        <a:lstStyle/>
        <a:p>
          <a:endParaRPr lang="es-ES"/>
        </a:p>
      </dgm:t>
    </dgm:pt>
    <dgm:pt modelId="{5B3AA32F-2212-43D8-88D6-2FDA63EC8F14}" type="sibTrans" cxnId="{B2040E4A-7BB0-4F50-A8A7-F1945A76D4A4}">
      <dgm:prSet/>
      <dgm:spPr/>
      <dgm:t>
        <a:bodyPr/>
        <a:lstStyle/>
        <a:p>
          <a:endParaRPr lang="es-ES"/>
        </a:p>
      </dgm:t>
    </dgm:pt>
    <dgm:pt modelId="{D5BEE47F-93EE-4A8B-A680-21877434FB08}">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Crear una estrategia de prueba inicial para todos los niveles de la prueba.</a:t>
          </a:r>
        </a:p>
      </dgm:t>
    </dgm:pt>
    <dgm:pt modelId="{3020D745-0304-403F-BDB9-690D5E0A4061}" type="parTrans" cxnId="{8E309D42-660E-40C9-9D11-BC5EC0C0DEA6}">
      <dgm:prSet/>
      <dgm:spPr/>
      <dgm:t>
        <a:bodyPr/>
        <a:lstStyle/>
        <a:p>
          <a:endParaRPr lang="es-ES"/>
        </a:p>
      </dgm:t>
    </dgm:pt>
    <dgm:pt modelId="{AA9EADE7-FB97-420A-BA7A-4059AE3590F8}" type="sibTrans" cxnId="{8E309D42-660E-40C9-9D11-BC5EC0C0DEA6}">
      <dgm:prSet/>
      <dgm:spPr/>
      <dgm:t>
        <a:bodyPr/>
        <a:lstStyle/>
        <a:p>
          <a:endParaRPr lang="es-ES"/>
        </a:p>
      </dgm:t>
    </dgm:pt>
    <dgm:pt modelId="{EAA1E40B-F6F4-49CC-877B-2484E1B72E68}">
      <dgm:prSet/>
      <dgm:spPr>
        <a:solidFill>
          <a:srgbClr val="6A951B"/>
        </a:solidFill>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Realice un análisis del riesgo de calidad inicial.</a:t>
          </a:r>
        </a:p>
      </dgm:t>
    </dgm:pt>
    <dgm:pt modelId="{26C776F6-39FC-4B19-A780-3CB72890D503}" type="parTrans" cxnId="{E4580ED4-75D8-42C1-8B7D-7E0694DCAE43}">
      <dgm:prSet/>
      <dgm:spPr/>
      <dgm:t>
        <a:bodyPr/>
        <a:lstStyle/>
        <a:p>
          <a:endParaRPr lang="es-ES"/>
        </a:p>
      </dgm:t>
    </dgm:pt>
    <dgm:pt modelId="{D06BCBC9-9ED5-49E6-B2DD-C4BAB1AE26AC}" type="sibTrans" cxnId="{E4580ED4-75D8-42C1-8B7D-7E0694DCAE43}">
      <dgm:prSet/>
      <dgm:spPr/>
      <dgm:t>
        <a:bodyPr/>
        <a:lstStyle/>
        <a:p>
          <a:endParaRPr lang="es-ES"/>
        </a:p>
      </dgm:t>
    </dgm:pt>
    <dgm:pt modelId="{BA323F42-67E3-4404-85CA-1DB4F3D75454}">
      <dgm:prSet/>
      <dgm:spPr>
        <a:solidFill>
          <a:srgbClr val="6A951B"/>
        </a:solidFill>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Definir las métricas de prueba para medir el proceso de prueba</a:t>
          </a:r>
        </a:p>
      </dgm:t>
    </dgm:pt>
    <dgm:pt modelId="{C7E8106B-9262-4C6E-9B89-ED780F8FCEF1}" type="parTrans" cxnId="{374A3886-34CB-412C-85A7-2312798CAC5B}">
      <dgm:prSet/>
      <dgm:spPr/>
      <dgm:t>
        <a:bodyPr/>
        <a:lstStyle/>
        <a:p>
          <a:endParaRPr lang="es-ES"/>
        </a:p>
      </dgm:t>
    </dgm:pt>
    <dgm:pt modelId="{16C82388-3F37-4045-A245-0A7236BF8D69}" type="sibTrans" cxnId="{374A3886-34CB-412C-85A7-2312798CAC5B}">
      <dgm:prSet/>
      <dgm:spPr/>
      <dgm:t>
        <a:bodyPr/>
        <a:lstStyle/>
        <a:p>
          <a:endParaRPr lang="es-ES"/>
        </a:p>
      </dgm:t>
    </dgm:pt>
    <dgm:pt modelId="{9DBDD50B-7FDC-4B28-80E2-04A383961866}">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Especificar la definición de hecho.</a:t>
          </a:r>
        </a:p>
      </dgm:t>
    </dgm:pt>
    <dgm:pt modelId="{9A988599-9E13-43E8-8ADF-914BF3B35D47}" type="parTrans" cxnId="{CAF15DFB-A032-4F0D-ACB6-08BFC3B65603}">
      <dgm:prSet/>
      <dgm:spPr/>
      <dgm:t>
        <a:bodyPr/>
        <a:lstStyle/>
        <a:p>
          <a:endParaRPr lang="es-ES"/>
        </a:p>
      </dgm:t>
    </dgm:pt>
    <dgm:pt modelId="{B63FE8DB-EC06-41F3-90B2-C03F64CDDD3E}" type="sibTrans" cxnId="{CAF15DFB-A032-4F0D-ACB6-08BFC3B65603}">
      <dgm:prSet/>
      <dgm:spPr/>
      <dgm:t>
        <a:bodyPr/>
        <a:lstStyle/>
        <a:p>
          <a:endParaRPr lang="es-ES"/>
        </a:p>
      </dgm:t>
    </dgm:pt>
    <dgm:pt modelId="{9F724759-1A69-49A2-A6BC-856A3C383D41}">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Cree el tablero de tareas.</a:t>
          </a:r>
        </a:p>
      </dgm:t>
    </dgm:pt>
    <dgm:pt modelId="{F8E6FD61-523A-4857-9681-1B43F72FA952}" type="parTrans" cxnId="{01925E4E-EA33-4104-8095-B5A550E68A79}">
      <dgm:prSet/>
      <dgm:spPr/>
      <dgm:t>
        <a:bodyPr/>
        <a:lstStyle/>
        <a:p>
          <a:endParaRPr lang="es-ES"/>
        </a:p>
      </dgm:t>
    </dgm:pt>
    <dgm:pt modelId="{638B87C4-37B9-4250-B5BE-CD47EC5FB296}" type="sibTrans" cxnId="{01925E4E-EA33-4104-8095-B5A550E68A79}">
      <dgm:prSet/>
      <dgm:spPr/>
      <dgm:t>
        <a:bodyPr/>
        <a:lstStyle/>
        <a:p>
          <a:endParaRPr lang="es-ES"/>
        </a:p>
      </dgm:t>
    </dgm:pt>
    <dgm:pt modelId="{779D3903-CA9A-474D-9358-A2AC7936F7AA}">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Definir cuándo continuar o detener la prueba antes de entregar el sistema al cliente.</a:t>
          </a:r>
        </a:p>
      </dgm:t>
    </dgm:pt>
    <dgm:pt modelId="{A59F95B2-A0B9-4F98-8C91-C436861EAAD2}" type="parTrans" cxnId="{9340F8A2-AF0F-4F9F-91FC-AF05EA8FBE99}">
      <dgm:prSet/>
      <dgm:spPr/>
      <dgm:t>
        <a:bodyPr/>
        <a:lstStyle/>
        <a:p>
          <a:endParaRPr lang="es-ES"/>
        </a:p>
      </dgm:t>
    </dgm:pt>
    <dgm:pt modelId="{6F626BA8-73CC-4E91-AD15-6902B26F47D9}" type="sibTrans" cxnId="{9340F8A2-AF0F-4F9F-91FC-AF05EA8FBE99}">
      <dgm:prSet/>
      <dgm:spPr/>
      <dgm:t>
        <a:bodyPr/>
        <a:lstStyle/>
        <a:p>
          <a:endParaRPr lang="es-ES"/>
        </a:p>
      </dgm:t>
    </dgm:pt>
    <dgm:pt modelId="{7AF0B6A9-A52D-4BE1-BD9D-EDBD896A3A16}">
      <dgm:prSet phldrT="[Text]"/>
      <dgm:spPr/>
      <dgm:t>
        <a:bodyPr/>
        <a:lstStyle/>
        <a:p>
          <a:pPr>
            <a:buFont typeface="Wingdings" panose="05000000000000000000" pitchFamily="2" charset="2"/>
            <a:buChar char="§"/>
          </a:pPr>
          <a:r>
            <a:rPr lang="es-ES">
              <a:effectLst/>
              <a:latin typeface="Calibri" panose="020F0502020204030204" pitchFamily="34" charset="0"/>
              <a:ea typeface="Calibri" panose="020F0502020204030204" pitchFamily="34" charset="0"/>
              <a:cs typeface="Times New Roman" panose="02020603050405020304" pitchFamily="18" charset="0"/>
            </a:rPr>
            <a:t>Crear una arquitectura inicial del sistema y prototipos de alto nivel.</a:t>
          </a:r>
          <a:endParaRPr lang="es-ES"/>
        </a:p>
      </dgm:t>
    </dgm:pt>
    <dgm:pt modelId="{D0347351-759B-4B46-BAAA-BD624F2976F9}" type="parTrans" cxnId="{0954C730-8C6F-4D6C-B016-3FCD1483D1D7}">
      <dgm:prSet/>
      <dgm:spPr/>
      <dgm:t>
        <a:bodyPr/>
        <a:lstStyle/>
        <a:p>
          <a:endParaRPr lang="en-US"/>
        </a:p>
      </dgm:t>
    </dgm:pt>
    <dgm:pt modelId="{ECBD9FF5-5FF5-45DB-9509-BBE4A349B7F7}" type="sibTrans" cxnId="{0954C730-8C6F-4D6C-B016-3FCD1483D1D7}">
      <dgm:prSet/>
      <dgm:spPr/>
      <dgm:t>
        <a:bodyPr/>
        <a:lstStyle/>
        <a:p>
          <a:endParaRPr lang="en-US"/>
        </a:p>
      </dgm:t>
    </dgm:pt>
    <dgm:pt modelId="{7D86F0C9-2357-4741-92C8-8B262D7C5DED}" type="pres">
      <dgm:prSet presAssocID="{2ECC0BB1-91C2-497B-9AFC-56A85528FFC1}" presName="linear" presStyleCnt="0">
        <dgm:presLayoutVars>
          <dgm:animLvl val="lvl"/>
          <dgm:resizeHandles val="exact"/>
        </dgm:presLayoutVars>
      </dgm:prSet>
      <dgm:spPr/>
    </dgm:pt>
    <dgm:pt modelId="{A9BCD2D4-AAB1-47AE-8982-34D31D0E7C43}" type="pres">
      <dgm:prSet presAssocID="{EDF03BBD-BD96-4174-AB96-8E456D893A21}" presName="parentText" presStyleLbl="node1" presStyleIdx="0" presStyleCnt="9">
        <dgm:presLayoutVars>
          <dgm:chMax val="0"/>
          <dgm:bulletEnabled val="1"/>
        </dgm:presLayoutVars>
      </dgm:prSet>
      <dgm:spPr/>
    </dgm:pt>
    <dgm:pt modelId="{3F604B01-CA4C-4138-A57F-67A879FEAE02}" type="pres">
      <dgm:prSet presAssocID="{2952D4BF-D963-4AFC-9FED-1DBE29014AE1}" presName="spacer" presStyleCnt="0"/>
      <dgm:spPr/>
    </dgm:pt>
    <dgm:pt modelId="{07591C53-7AFA-423F-8A18-116579AE44CD}" type="pres">
      <dgm:prSet presAssocID="{AD0939ED-E0D6-4E9E-B4BD-4818199CA834}" presName="parentText" presStyleLbl="node1" presStyleIdx="1" presStyleCnt="9" custLinFactY="100802" custLinFactNeighborY="200000">
        <dgm:presLayoutVars>
          <dgm:chMax val="0"/>
          <dgm:bulletEnabled val="1"/>
        </dgm:presLayoutVars>
      </dgm:prSet>
      <dgm:spPr/>
    </dgm:pt>
    <dgm:pt modelId="{E9D1C3DE-6121-489E-9930-44C7950AC7FA}" type="pres">
      <dgm:prSet presAssocID="{5B3AA32F-2212-43D8-88D6-2FDA63EC8F14}" presName="spacer" presStyleCnt="0"/>
      <dgm:spPr/>
    </dgm:pt>
    <dgm:pt modelId="{E0E9CAEA-E76F-432D-97AA-24D58ABF6A12}" type="pres">
      <dgm:prSet presAssocID="{7AF0B6A9-A52D-4BE1-BD9D-EDBD896A3A16}" presName="parentText" presStyleLbl="node1" presStyleIdx="2" presStyleCnt="9" custLinFactY="-100000" custLinFactNeighborY="-117490">
        <dgm:presLayoutVars>
          <dgm:chMax val="0"/>
          <dgm:bulletEnabled val="1"/>
        </dgm:presLayoutVars>
      </dgm:prSet>
      <dgm:spPr/>
    </dgm:pt>
    <dgm:pt modelId="{EEA84784-22A4-4A0E-9237-374DF5AA0726}" type="pres">
      <dgm:prSet presAssocID="{ECBD9FF5-5FF5-45DB-9509-BBE4A349B7F7}" presName="spacer" presStyleCnt="0"/>
      <dgm:spPr/>
    </dgm:pt>
    <dgm:pt modelId="{A88877E6-CC20-4FF1-B51F-9EDE41075463}" type="pres">
      <dgm:prSet presAssocID="{D5BEE47F-93EE-4A8B-A680-21877434FB08}" presName="parentText" presStyleLbl="node1" presStyleIdx="3" presStyleCnt="9">
        <dgm:presLayoutVars>
          <dgm:chMax val="0"/>
          <dgm:bulletEnabled val="1"/>
        </dgm:presLayoutVars>
      </dgm:prSet>
      <dgm:spPr/>
    </dgm:pt>
    <dgm:pt modelId="{D1521BB4-5902-4A71-BF11-3E85128839C8}" type="pres">
      <dgm:prSet presAssocID="{AA9EADE7-FB97-420A-BA7A-4059AE3590F8}" presName="spacer" presStyleCnt="0"/>
      <dgm:spPr/>
    </dgm:pt>
    <dgm:pt modelId="{D631BE18-542A-4519-9D76-49EB6001817F}" type="pres">
      <dgm:prSet presAssocID="{EAA1E40B-F6F4-49CC-877B-2484E1B72E68}" presName="parentText" presStyleLbl="node1" presStyleIdx="4" presStyleCnt="9">
        <dgm:presLayoutVars>
          <dgm:chMax val="0"/>
          <dgm:bulletEnabled val="1"/>
        </dgm:presLayoutVars>
      </dgm:prSet>
      <dgm:spPr/>
    </dgm:pt>
    <dgm:pt modelId="{2A5C90B0-63E2-4884-AF8E-5175F827320C}" type="pres">
      <dgm:prSet presAssocID="{D06BCBC9-9ED5-49E6-B2DD-C4BAB1AE26AC}" presName="spacer" presStyleCnt="0"/>
      <dgm:spPr/>
    </dgm:pt>
    <dgm:pt modelId="{C2538D62-D643-4CF6-A364-F155A668B141}" type="pres">
      <dgm:prSet presAssocID="{BA323F42-67E3-4404-85CA-1DB4F3D75454}" presName="parentText" presStyleLbl="node1" presStyleIdx="5" presStyleCnt="9">
        <dgm:presLayoutVars>
          <dgm:chMax val="0"/>
          <dgm:bulletEnabled val="1"/>
        </dgm:presLayoutVars>
      </dgm:prSet>
      <dgm:spPr/>
    </dgm:pt>
    <dgm:pt modelId="{E45E3897-DA1E-4D43-9377-C1C669BB3197}" type="pres">
      <dgm:prSet presAssocID="{16C82388-3F37-4045-A245-0A7236BF8D69}" presName="spacer" presStyleCnt="0"/>
      <dgm:spPr/>
    </dgm:pt>
    <dgm:pt modelId="{E66D1C14-0595-4673-B6E7-DB900F2ECF41}" type="pres">
      <dgm:prSet presAssocID="{9DBDD50B-7FDC-4B28-80E2-04A383961866}" presName="parentText" presStyleLbl="node1" presStyleIdx="6" presStyleCnt="9">
        <dgm:presLayoutVars>
          <dgm:chMax val="0"/>
          <dgm:bulletEnabled val="1"/>
        </dgm:presLayoutVars>
      </dgm:prSet>
      <dgm:spPr/>
    </dgm:pt>
    <dgm:pt modelId="{260DB949-9E73-458C-A552-264AD3368254}" type="pres">
      <dgm:prSet presAssocID="{B63FE8DB-EC06-41F3-90B2-C03F64CDDD3E}" presName="spacer" presStyleCnt="0"/>
      <dgm:spPr/>
    </dgm:pt>
    <dgm:pt modelId="{9E3C52D2-5DB4-4023-9134-F352FFF1F4ED}" type="pres">
      <dgm:prSet presAssocID="{9F724759-1A69-49A2-A6BC-856A3C383D41}" presName="parentText" presStyleLbl="node1" presStyleIdx="7" presStyleCnt="9">
        <dgm:presLayoutVars>
          <dgm:chMax val="0"/>
          <dgm:bulletEnabled val="1"/>
        </dgm:presLayoutVars>
      </dgm:prSet>
      <dgm:spPr/>
    </dgm:pt>
    <dgm:pt modelId="{13C61742-EEB3-40F4-9F57-2574E566BB35}" type="pres">
      <dgm:prSet presAssocID="{638B87C4-37B9-4250-B5BE-CD47EC5FB296}" presName="spacer" presStyleCnt="0"/>
      <dgm:spPr/>
    </dgm:pt>
    <dgm:pt modelId="{D7C32973-CA51-4031-9B30-FA176EF0FA0D}" type="pres">
      <dgm:prSet presAssocID="{779D3903-CA9A-474D-9358-A2AC7936F7AA}" presName="parentText" presStyleLbl="node1" presStyleIdx="8" presStyleCnt="9">
        <dgm:presLayoutVars>
          <dgm:chMax val="0"/>
          <dgm:bulletEnabled val="1"/>
        </dgm:presLayoutVars>
      </dgm:prSet>
      <dgm:spPr/>
    </dgm:pt>
  </dgm:ptLst>
  <dgm:cxnLst>
    <dgm:cxn modelId="{2CEFF004-E535-4152-AC81-864B313955C8}" type="presOf" srcId="{7AF0B6A9-A52D-4BE1-BD9D-EDBD896A3A16}" destId="{E0E9CAEA-E76F-432D-97AA-24D58ABF6A12}" srcOrd="0" destOrd="0" presId="urn:microsoft.com/office/officeart/2005/8/layout/vList2"/>
    <dgm:cxn modelId="{E47F2008-1599-445D-B1C8-955452C9AEAC}" type="presOf" srcId="{BA323F42-67E3-4404-85CA-1DB4F3D75454}" destId="{C2538D62-D643-4CF6-A364-F155A668B141}" srcOrd="0" destOrd="0" presId="urn:microsoft.com/office/officeart/2005/8/layout/vList2"/>
    <dgm:cxn modelId="{0954C730-8C6F-4D6C-B016-3FCD1483D1D7}" srcId="{2ECC0BB1-91C2-497B-9AFC-56A85528FFC1}" destId="{7AF0B6A9-A52D-4BE1-BD9D-EDBD896A3A16}" srcOrd="2" destOrd="0" parTransId="{D0347351-759B-4B46-BAAA-BD624F2976F9}" sibTransId="{ECBD9FF5-5FF5-45DB-9509-BBE4A349B7F7}"/>
    <dgm:cxn modelId="{3049EF32-CBDD-4554-8FD0-4F7B8398E1A3}" type="presOf" srcId="{EAA1E40B-F6F4-49CC-877B-2484E1B72E68}" destId="{D631BE18-542A-4519-9D76-49EB6001817F}" srcOrd="0" destOrd="0" presId="urn:microsoft.com/office/officeart/2005/8/layout/vList2"/>
    <dgm:cxn modelId="{8E309D42-660E-40C9-9D11-BC5EC0C0DEA6}" srcId="{2ECC0BB1-91C2-497B-9AFC-56A85528FFC1}" destId="{D5BEE47F-93EE-4A8B-A680-21877434FB08}" srcOrd="3" destOrd="0" parTransId="{3020D745-0304-403F-BDB9-690D5E0A4061}" sibTransId="{AA9EADE7-FB97-420A-BA7A-4059AE3590F8}"/>
    <dgm:cxn modelId="{A6B82047-15BD-40BD-991B-ACF0BE02BBD0}" type="presOf" srcId="{9F724759-1A69-49A2-A6BC-856A3C383D41}" destId="{9E3C52D2-5DB4-4023-9134-F352FFF1F4ED}" srcOrd="0" destOrd="0" presId="urn:microsoft.com/office/officeart/2005/8/layout/vList2"/>
    <dgm:cxn modelId="{B2040E4A-7BB0-4F50-A8A7-F1945A76D4A4}" srcId="{2ECC0BB1-91C2-497B-9AFC-56A85528FFC1}" destId="{AD0939ED-E0D6-4E9E-B4BD-4818199CA834}" srcOrd="1" destOrd="0" parTransId="{40881C57-CEE5-4D29-881D-4C42EB3DB4FA}" sibTransId="{5B3AA32F-2212-43D8-88D6-2FDA63EC8F14}"/>
    <dgm:cxn modelId="{76FCC46D-3870-4AF1-868F-6E62856AE196}" type="presOf" srcId="{AD0939ED-E0D6-4E9E-B4BD-4818199CA834}" destId="{07591C53-7AFA-423F-8A18-116579AE44CD}" srcOrd="0" destOrd="0" presId="urn:microsoft.com/office/officeart/2005/8/layout/vList2"/>
    <dgm:cxn modelId="{01925E4E-EA33-4104-8095-B5A550E68A79}" srcId="{2ECC0BB1-91C2-497B-9AFC-56A85528FFC1}" destId="{9F724759-1A69-49A2-A6BC-856A3C383D41}" srcOrd="7" destOrd="0" parTransId="{F8E6FD61-523A-4857-9681-1B43F72FA952}" sibTransId="{638B87C4-37B9-4250-B5BE-CD47EC5FB296}"/>
    <dgm:cxn modelId="{5C996073-5469-465D-AAD5-8E9D6F87CBC3}" type="presOf" srcId="{D5BEE47F-93EE-4A8B-A680-21877434FB08}" destId="{A88877E6-CC20-4FF1-B51F-9EDE41075463}" srcOrd="0" destOrd="0" presId="urn:microsoft.com/office/officeart/2005/8/layout/vList2"/>
    <dgm:cxn modelId="{5258AD74-DFB6-4C86-B1E6-1FE447404D1F}" type="presOf" srcId="{EDF03BBD-BD96-4174-AB96-8E456D893A21}" destId="{A9BCD2D4-AAB1-47AE-8982-34D31D0E7C43}" srcOrd="0" destOrd="0" presId="urn:microsoft.com/office/officeart/2005/8/layout/vList2"/>
    <dgm:cxn modelId="{374A3886-34CB-412C-85A7-2312798CAC5B}" srcId="{2ECC0BB1-91C2-497B-9AFC-56A85528FFC1}" destId="{BA323F42-67E3-4404-85CA-1DB4F3D75454}" srcOrd="5" destOrd="0" parTransId="{C7E8106B-9262-4C6E-9B89-ED780F8FCEF1}" sibTransId="{16C82388-3F37-4045-A245-0A7236BF8D69}"/>
    <dgm:cxn modelId="{106A9BA2-78D2-4883-B077-D8FBCEC0D8FD}" type="presOf" srcId="{2ECC0BB1-91C2-497B-9AFC-56A85528FFC1}" destId="{7D86F0C9-2357-4741-92C8-8B262D7C5DED}" srcOrd="0" destOrd="0" presId="urn:microsoft.com/office/officeart/2005/8/layout/vList2"/>
    <dgm:cxn modelId="{9340F8A2-AF0F-4F9F-91FC-AF05EA8FBE99}" srcId="{2ECC0BB1-91C2-497B-9AFC-56A85528FFC1}" destId="{779D3903-CA9A-474D-9358-A2AC7936F7AA}" srcOrd="8" destOrd="0" parTransId="{A59F95B2-A0B9-4F98-8C91-C436861EAAD2}" sibTransId="{6F626BA8-73CC-4E91-AD15-6902B26F47D9}"/>
    <dgm:cxn modelId="{84F7B0B6-4EF6-4266-95B4-5638873C77DB}" type="presOf" srcId="{9DBDD50B-7FDC-4B28-80E2-04A383961866}" destId="{E66D1C14-0595-4673-B6E7-DB900F2ECF41}" srcOrd="0" destOrd="0" presId="urn:microsoft.com/office/officeart/2005/8/layout/vList2"/>
    <dgm:cxn modelId="{E61E36C9-37DB-4AFB-A814-499BEF46496D}" type="presOf" srcId="{779D3903-CA9A-474D-9358-A2AC7936F7AA}" destId="{D7C32973-CA51-4031-9B30-FA176EF0FA0D}" srcOrd="0" destOrd="0" presId="urn:microsoft.com/office/officeart/2005/8/layout/vList2"/>
    <dgm:cxn modelId="{E4580ED4-75D8-42C1-8B7D-7E0694DCAE43}" srcId="{2ECC0BB1-91C2-497B-9AFC-56A85528FFC1}" destId="{EAA1E40B-F6F4-49CC-877B-2484E1B72E68}" srcOrd="4" destOrd="0" parTransId="{26C776F6-39FC-4B19-A780-3CB72890D503}" sibTransId="{D06BCBC9-9ED5-49E6-B2DD-C4BAB1AE26AC}"/>
    <dgm:cxn modelId="{68749ADC-3F5D-4657-BF5B-2C70B9291F8F}" srcId="{2ECC0BB1-91C2-497B-9AFC-56A85528FFC1}" destId="{EDF03BBD-BD96-4174-AB96-8E456D893A21}" srcOrd="0" destOrd="0" parTransId="{3FE8FF2B-D969-42AC-9828-D923E679E751}" sibTransId="{2952D4BF-D963-4AFC-9FED-1DBE29014AE1}"/>
    <dgm:cxn modelId="{CAF15DFB-A032-4F0D-ACB6-08BFC3B65603}" srcId="{2ECC0BB1-91C2-497B-9AFC-56A85528FFC1}" destId="{9DBDD50B-7FDC-4B28-80E2-04A383961866}" srcOrd="6" destOrd="0" parTransId="{9A988599-9E13-43E8-8ADF-914BF3B35D47}" sibTransId="{B63FE8DB-EC06-41F3-90B2-C03F64CDDD3E}"/>
    <dgm:cxn modelId="{1EBD7E67-CFB9-42A6-ACC1-AE86DA3B3A76}" type="presParOf" srcId="{7D86F0C9-2357-4741-92C8-8B262D7C5DED}" destId="{A9BCD2D4-AAB1-47AE-8982-34D31D0E7C43}" srcOrd="0" destOrd="0" presId="urn:microsoft.com/office/officeart/2005/8/layout/vList2"/>
    <dgm:cxn modelId="{2EEBAE2F-7956-4D42-B6E4-B8C302C0E989}" type="presParOf" srcId="{7D86F0C9-2357-4741-92C8-8B262D7C5DED}" destId="{3F604B01-CA4C-4138-A57F-67A879FEAE02}" srcOrd="1" destOrd="0" presId="urn:microsoft.com/office/officeart/2005/8/layout/vList2"/>
    <dgm:cxn modelId="{D91CDAA5-2A06-4021-9FA9-0071FFF4399E}" type="presParOf" srcId="{7D86F0C9-2357-4741-92C8-8B262D7C5DED}" destId="{07591C53-7AFA-423F-8A18-116579AE44CD}" srcOrd="2" destOrd="0" presId="urn:microsoft.com/office/officeart/2005/8/layout/vList2"/>
    <dgm:cxn modelId="{85ECA092-0E10-4EE1-95A8-C18D56AFB96F}" type="presParOf" srcId="{7D86F0C9-2357-4741-92C8-8B262D7C5DED}" destId="{E9D1C3DE-6121-489E-9930-44C7950AC7FA}" srcOrd="3" destOrd="0" presId="urn:microsoft.com/office/officeart/2005/8/layout/vList2"/>
    <dgm:cxn modelId="{FE1599F0-E5A6-4380-9DCA-D333C865902F}" type="presParOf" srcId="{7D86F0C9-2357-4741-92C8-8B262D7C5DED}" destId="{E0E9CAEA-E76F-432D-97AA-24D58ABF6A12}" srcOrd="4" destOrd="0" presId="urn:microsoft.com/office/officeart/2005/8/layout/vList2"/>
    <dgm:cxn modelId="{6FCC7DA4-CDDC-4E82-915D-0E8C2218B883}" type="presParOf" srcId="{7D86F0C9-2357-4741-92C8-8B262D7C5DED}" destId="{EEA84784-22A4-4A0E-9237-374DF5AA0726}" srcOrd="5" destOrd="0" presId="urn:microsoft.com/office/officeart/2005/8/layout/vList2"/>
    <dgm:cxn modelId="{197A32A2-9BBA-499C-A3C6-748A3D6D3C99}" type="presParOf" srcId="{7D86F0C9-2357-4741-92C8-8B262D7C5DED}" destId="{A88877E6-CC20-4FF1-B51F-9EDE41075463}" srcOrd="6" destOrd="0" presId="urn:microsoft.com/office/officeart/2005/8/layout/vList2"/>
    <dgm:cxn modelId="{4377F84F-D6E3-4C75-A3D9-3153FB2C00C2}" type="presParOf" srcId="{7D86F0C9-2357-4741-92C8-8B262D7C5DED}" destId="{D1521BB4-5902-4A71-BF11-3E85128839C8}" srcOrd="7" destOrd="0" presId="urn:microsoft.com/office/officeart/2005/8/layout/vList2"/>
    <dgm:cxn modelId="{3BC1CCDF-F431-42C5-A27E-8E99E5544369}" type="presParOf" srcId="{7D86F0C9-2357-4741-92C8-8B262D7C5DED}" destId="{D631BE18-542A-4519-9D76-49EB6001817F}" srcOrd="8" destOrd="0" presId="urn:microsoft.com/office/officeart/2005/8/layout/vList2"/>
    <dgm:cxn modelId="{CD595645-2BCA-4CDA-99ED-0A34C4E8AA02}" type="presParOf" srcId="{7D86F0C9-2357-4741-92C8-8B262D7C5DED}" destId="{2A5C90B0-63E2-4884-AF8E-5175F827320C}" srcOrd="9" destOrd="0" presId="urn:microsoft.com/office/officeart/2005/8/layout/vList2"/>
    <dgm:cxn modelId="{72CDFA3C-839F-437D-A09D-4E77F983F860}" type="presParOf" srcId="{7D86F0C9-2357-4741-92C8-8B262D7C5DED}" destId="{C2538D62-D643-4CF6-A364-F155A668B141}" srcOrd="10" destOrd="0" presId="urn:microsoft.com/office/officeart/2005/8/layout/vList2"/>
    <dgm:cxn modelId="{14AA785A-4B76-4702-AF29-D68E69A36090}" type="presParOf" srcId="{7D86F0C9-2357-4741-92C8-8B262D7C5DED}" destId="{E45E3897-DA1E-4D43-9377-C1C669BB3197}" srcOrd="11" destOrd="0" presId="urn:microsoft.com/office/officeart/2005/8/layout/vList2"/>
    <dgm:cxn modelId="{B13E53CB-A8BD-4E72-8F3E-4B2C47D5D244}" type="presParOf" srcId="{7D86F0C9-2357-4741-92C8-8B262D7C5DED}" destId="{E66D1C14-0595-4673-B6E7-DB900F2ECF41}" srcOrd="12" destOrd="0" presId="urn:microsoft.com/office/officeart/2005/8/layout/vList2"/>
    <dgm:cxn modelId="{9D25AB5B-388C-48BE-9C47-EC719CFAD2DB}" type="presParOf" srcId="{7D86F0C9-2357-4741-92C8-8B262D7C5DED}" destId="{260DB949-9E73-458C-A552-264AD3368254}" srcOrd="13" destOrd="0" presId="urn:microsoft.com/office/officeart/2005/8/layout/vList2"/>
    <dgm:cxn modelId="{C2BAE1A4-8D64-4DDD-A377-69EB8E8FBFED}" type="presParOf" srcId="{7D86F0C9-2357-4741-92C8-8B262D7C5DED}" destId="{9E3C52D2-5DB4-4023-9134-F352FFF1F4ED}" srcOrd="14" destOrd="0" presId="urn:microsoft.com/office/officeart/2005/8/layout/vList2"/>
    <dgm:cxn modelId="{87479774-FECC-4227-A65D-C2CC658B2D40}" type="presParOf" srcId="{7D86F0C9-2357-4741-92C8-8B262D7C5DED}" destId="{13C61742-EEB3-40F4-9F57-2574E566BB35}" srcOrd="15" destOrd="0" presId="urn:microsoft.com/office/officeart/2005/8/layout/vList2"/>
    <dgm:cxn modelId="{AB5D77A6-F9CE-4BD1-B838-06F0FFD80889}" type="presParOf" srcId="{7D86F0C9-2357-4741-92C8-8B262D7C5DED}" destId="{D7C32973-CA51-4031-9B30-FA176EF0FA0D}" srcOrd="16"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9C9FFDC-8237-4CF7-96CF-C6BF5518FE44}" type="doc">
      <dgm:prSet loTypeId="urn:microsoft.com/office/officeart/2005/8/layout/bProcess3" loCatId="process" qsTypeId="urn:microsoft.com/office/officeart/2005/8/quickstyle/simple1" qsCatId="simple" csTypeId="urn:microsoft.com/office/officeart/2005/8/colors/accent1_4" csCatId="accent1" phldr="1"/>
      <dgm:spPr/>
      <dgm:t>
        <a:bodyPr/>
        <a:lstStyle/>
        <a:p>
          <a:endParaRPr lang="en-US"/>
        </a:p>
      </dgm:t>
    </dgm:pt>
    <dgm:pt modelId="{77DCADAC-E510-490F-B616-53A9DB1CE953}">
      <dgm:prSet phldrT="[Text]" custT="1"/>
      <dgm:spPr/>
      <dgm:t>
        <a:bodyPr/>
        <a:lstStyle/>
        <a:p>
          <a:pPr algn="ctr"/>
          <a:r>
            <a:rPr lang="es-ES" sz="1200"/>
            <a:t>Seleccionar las técnicas de prueba adecuadas para mitigar cada riesgo, basándose en el riesgo, el nivel de riesgo y la característica de calidad pertinente.</a:t>
          </a:r>
          <a:endParaRPr lang="en-US" sz="1200"/>
        </a:p>
      </dgm:t>
    </dgm:pt>
    <dgm:pt modelId="{152AD6B3-EFC6-4461-B510-F4A2D35A6E0C}" type="sibTrans" cxnId="{942527E7-70E9-4799-B5BF-61F08D6EA138}">
      <dgm:prSet/>
      <dgm:spPr/>
      <dgm:t>
        <a:bodyPr/>
        <a:lstStyle/>
        <a:p>
          <a:pPr algn="ctr"/>
          <a:endParaRPr lang="en-US"/>
        </a:p>
      </dgm:t>
    </dgm:pt>
    <dgm:pt modelId="{3829B5BB-9107-43C0-A72D-950C2D9C88EB}" type="parTrans" cxnId="{942527E7-70E9-4799-B5BF-61F08D6EA138}">
      <dgm:prSet/>
      <dgm:spPr/>
      <dgm:t>
        <a:bodyPr/>
        <a:lstStyle/>
        <a:p>
          <a:pPr algn="ctr"/>
          <a:endParaRPr lang="en-US"/>
        </a:p>
      </dgm:t>
    </dgm:pt>
    <dgm:pt modelId="{8F250492-29E7-46F4-AAD1-B9AEF8D9248E}">
      <dgm:prSet phldrT="[Text]" custT="1"/>
      <dgm:spPr/>
      <dgm:t>
        <a:bodyPr/>
        <a:lstStyle/>
        <a:p>
          <a:pPr algn="ctr"/>
          <a:r>
            <a:rPr lang="es-ES" sz="1200"/>
            <a:t>Determinar el alcance de la prueba de forma proporcional al nivel de riesgo.</a:t>
          </a:r>
          <a:endParaRPr lang="en-US" sz="1200"/>
        </a:p>
      </dgm:t>
    </dgm:pt>
    <dgm:pt modelId="{01209BCF-2162-4E84-BE07-F6378FCFE8E3}" type="sibTrans" cxnId="{43FAEEC8-D482-4A85-ACB6-C5FB8E759B34}">
      <dgm:prSet/>
      <dgm:spPr/>
      <dgm:t>
        <a:bodyPr/>
        <a:lstStyle/>
        <a:p>
          <a:pPr algn="ctr"/>
          <a:endParaRPr lang="en-US"/>
        </a:p>
      </dgm:t>
    </dgm:pt>
    <dgm:pt modelId="{51777E26-E223-4E77-9B49-DDA7DFF224FF}" type="parTrans" cxnId="{43FAEEC8-D482-4A85-ACB6-C5FB8E759B34}">
      <dgm:prSet/>
      <dgm:spPr/>
      <dgm:t>
        <a:bodyPr/>
        <a:lstStyle/>
        <a:p>
          <a:pPr algn="ctr"/>
          <a:endParaRPr lang="en-US"/>
        </a:p>
      </dgm:t>
    </dgm:pt>
    <dgm:pt modelId="{E457D54D-933D-484C-B9BB-ACA38B4BD1B2}">
      <dgm:prSet phldrT="[Text]" custT="1"/>
      <dgm:spPr>
        <a:solidFill>
          <a:srgbClr val="6A951B"/>
        </a:solidFill>
      </dgm:spPr>
      <dgm:t>
        <a:bodyPr/>
        <a:lstStyle/>
        <a:p>
          <a:pPr algn="ctr">
            <a:buFont typeface="+mj-lt"/>
            <a:buAutoNum type="arabicParenR"/>
          </a:pPr>
          <a:r>
            <a:rPr lang="es-ES" sz="1200"/>
            <a:t>Evaluar cada riesgo identificado, lo que incluye dos actividades: categorizar el riesgo y determinar su nivel de riesgo basándose en el impacto y la probabilidad de defectos.</a:t>
          </a:r>
          <a:endParaRPr lang="en-US" sz="1200"/>
        </a:p>
      </dgm:t>
    </dgm:pt>
    <dgm:pt modelId="{3628DCE4-16D2-4DF8-AE5D-821237B66DFF}" type="sibTrans" cxnId="{51CB4550-AA45-441A-8DDB-B3E261E7B1DD}">
      <dgm:prSet/>
      <dgm:spPr/>
      <dgm:t>
        <a:bodyPr/>
        <a:lstStyle/>
        <a:p>
          <a:pPr algn="ctr"/>
          <a:endParaRPr lang="en-US"/>
        </a:p>
      </dgm:t>
    </dgm:pt>
    <dgm:pt modelId="{4730FF64-5C02-4467-B6BB-C3D521B2BAA7}" type="parTrans" cxnId="{51CB4550-AA45-441A-8DDB-B3E261E7B1DD}">
      <dgm:prSet/>
      <dgm:spPr/>
      <dgm:t>
        <a:bodyPr/>
        <a:lstStyle/>
        <a:p>
          <a:pPr algn="ctr"/>
          <a:endParaRPr lang="en-US"/>
        </a:p>
      </dgm:t>
    </dgm:pt>
    <dgm:pt modelId="{CD529ED7-7CF7-4BFF-B14C-DC39011B59DF}">
      <dgm:prSet phldrT="[Text]" custT="1"/>
      <dgm:spPr/>
      <dgm:t>
        <a:bodyPr/>
        <a:lstStyle/>
        <a:p>
          <a:pPr algn="ctr"/>
          <a:r>
            <a:rPr lang="es-ES" sz="1200"/>
            <a:t>Identificar los riesgos de calidad asociados a cada elemento, teniendo en cuenta todas las características de calidad pertinentes.</a:t>
          </a:r>
          <a:endParaRPr lang="en-US" sz="1200"/>
        </a:p>
      </dgm:t>
    </dgm:pt>
    <dgm:pt modelId="{EBD64675-DB3C-4A3E-8E5F-E99992D5320B}" type="sibTrans" cxnId="{52E8E76D-3EFC-404F-AE74-45CE167734FA}">
      <dgm:prSet/>
      <dgm:spPr/>
      <dgm:t>
        <a:bodyPr/>
        <a:lstStyle/>
        <a:p>
          <a:pPr algn="ctr"/>
          <a:endParaRPr lang="en-US"/>
        </a:p>
      </dgm:t>
    </dgm:pt>
    <dgm:pt modelId="{DA43BAF5-DCCC-45CB-813D-446581EA2D4A}" type="parTrans" cxnId="{52E8E76D-3EFC-404F-AE74-45CE167734FA}">
      <dgm:prSet/>
      <dgm:spPr/>
      <dgm:t>
        <a:bodyPr/>
        <a:lstStyle/>
        <a:p>
          <a:pPr algn="ctr"/>
          <a:endParaRPr lang="en-US"/>
        </a:p>
      </dgm:t>
    </dgm:pt>
    <dgm:pt modelId="{706ADE8D-9934-42EE-AFE6-DC5D0955827F}">
      <dgm:prSet phldrT="[Text]" custT="1"/>
      <dgm:spPr/>
      <dgm:t>
        <a:bodyPr/>
        <a:lstStyle/>
        <a:p>
          <a:pPr algn="ctr"/>
          <a:r>
            <a:rPr lang="es-ES" sz="1200"/>
            <a:t>Hacer una lista de todos los elementos de la lista de trabajo acumulado para la iteración actual (por ejemplo, en un tablero de tareas)</a:t>
          </a:r>
          <a:endParaRPr lang="en-US" sz="1200"/>
        </a:p>
      </dgm:t>
    </dgm:pt>
    <dgm:pt modelId="{6F2892C8-2B66-4734-B263-AAD903D79316}" type="sibTrans" cxnId="{78661453-CC5A-4122-A94D-CA8506A765AF}">
      <dgm:prSet/>
      <dgm:spPr/>
      <dgm:t>
        <a:bodyPr/>
        <a:lstStyle/>
        <a:p>
          <a:pPr algn="ctr"/>
          <a:endParaRPr lang="en-US"/>
        </a:p>
      </dgm:t>
    </dgm:pt>
    <dgm:pt modelId="{77AE6244-8E70-4BE3-B838-80B001859BEC}" type="parTrans" cxnId="{78661453-CC5A-4122-A94D-CA8506A765AF}">
      <dgm:prSet/>
      <dgm:spPr/>
      <dgm:t>
        <a:bodyPr/>
        <a:lstStyle/>
        <a:p>
          <a:pPr algn="ctr"/>
          <a:endParaRPr lang="en-US"/>
        </a:p>
      </dgm:t>
    </dgm:pt>
    <dgm:pt modelId="{5797BCC5-0E5B-4566-97F8-610563266B69}">
      <dgm:prSet phldrT="[Text]" custT="1"/>
      <dgm:spPr/>
      <dgm:t>
        <a:bodyPr/>
        <a:lstStyle/>
        <a:p>
          <a:pPr algn="ctr"/>
          <a:r>
            <a:rPr lang="es-ES" sz="1200"/>
            <a:t>Reunir a los miembros del equipo ágil, incluido el probador o probadores</a:t>
          </a:r>
          <a:endParaRPr lang="en-US" sz="1200"/>
        </a:p>
      </dgm:t>
    </dgm:pt>
    <dgm:pt modelId="{A9730AD3-585C-4CE3-93E7-6A5E931FF197}" type="sibTrans" cxnId="{1ED8A2E7-1149-4AA7-B32F-F091B1E85B0D}">
      <dgm:prSet/>
      <dgm:spPr/>
      <dgm:t>
        <a:bodyPr/>
        <a:lstStyle/>
        <a:p>
          <a:pPr algn="ctr"/>
          <a:endParaRPr lang="en-US"/>
        </a:p>
      </dgm:t>
    </dgm:pt>
    <dgm:pt modelId="{CABE3104-DD59-442F-B81A-8BC98B1CFBF6}" type="parTrans" cxnId="{1ED8A2E7-1149-4AA7-B32F-F091B1E85B0D}">
      <dgm:prSet/>
      <dgm:spPr/>
      <dgm:t>
        <a:bodyPr/>
        <a:lstStyle/>
        <a:p>
          <a:pPr algn="ctr"/>
          <a:endParaRPr lang="en-US"/>
        </a:p>
      </dgm:t>
    </dgm:pt>
    <dgm:pt modelId="{7BC1C647-28CA-490B-A2FC-C8E7733F4D73}" type="pres">
      <dgm:prSet presAssocID="{F9C9FFDC-8237-4CF7-96CF-C6BF5518FE44}" presName="Name0" presStyleCnt="0">
        <dgm:presLayoutVars>
          <dgm:dir/>
          <dgm:resizeHandles val="exact"/>
        </dgm:presLayoutVars>
      </dgm:prSet>
      <dgm:spPr/>
    </dgm:pt>
    <dgm:pt modelId="{C3971F73-BFA3-4AE3-8766-04E3F705BF68}" type="pres">
      <dgm:prSet presAssocID="{5797BCC5-0E5B-4566-97F8-610563266B69}" presName="node" presStyleLbl="node1" presStyleIdx="0" presStyleCnt="6">
        <dgm:presLayoutVars>
          <dgm:bulletEnabled val="1"/>
        </dgm:presLayoutVars>
      </dgm:prSet>
      <dgm:spPr/>
    </dgm:pt>
    <dgm:pt modelId="{62E07125-DDE9-4688-9808-A228CEF13F62}" type="pres">
      <dgm:prSet presAssocID="{A9730AD3-585C-4CE3-93E7-6A5E931FF197}" presName="sibTrans" presStyleLbl="sibTrans1D1" presStyleIdx="0" presStyleCnt="5"/>
      <dgm:spPr/>
    </dgm:pt>
    <dgm:pt modelId="{0301AD94-9F85-4ED9-820D-5AFA13213EAA}" type="pres">
      <dgm:prSet presAssocID="{A9730AD3-585C-4CE3-93E7-6A5E931FF197}" presName="connectorText" presStyleLbl="sibTrans1D1" presStyleIdx="0" presStyleCnt="5"/>
      <dgm:spPr/>
    </dgm:pt>
    <dgm:pt modelId="{F518C10B-1380-4F78-96AF-82BEE8FF7A09}" type="pres">
      <dgm:prSet presAssocID="{706ADE8D-9934-42EE-AFE6-DC5D0955827F}" presName="node" presStyleLbl="node1" presStyleIdx="1" presStyleCnt="6">
        <dgm:presLayoutVars>
          <dgm:bulletEnabled val="1"/>
        </dgm:presLayoutVars>
      </dgm:prSet>
      <dgm:spPr/>
    </dgm:pt>
    <dgm:pt modelId="{98E9AC0E-4331-4D55-847F-233633985A5F}" type="pres">
      <dgm:prSet presAssocID="{6F2892C8-2B66-4734-B263-AAD903D79316}" presName="sibTrans" presStyleLbl="sibTrans1D1" presStyleIdx="1" presStyleCnt="5"/>
      <dgm:spPr/>
    </dgm:pt>
    <dgm:pt modelId="{D8FDC4C7-6025-4A25-BF95-D03AC21BF736}" type="pres">
      <dgm:prSet presAssocID="{6F2892C8-2B66-4734-B263-AAD903D79316}" presName="connectorText" presStyleLbl="sibTrans1D1" presStyleIdx="1" presStyleCnt="5"/>
      <dgm:spPr/>
    </dgm:pt>
    <dgm:pt modelId="{89443AE1-69F8-469E-9058-60B854AB0D10}" type="pres">
      <dgm:prSet presAssocID="{CD529ED7-7CF7-4BFF-B14C-DC39011B59DF}" presName="node" presStyleLbl="node1" presStyleIdx="2" presStyleCnt="6">
        <dgm:presLayoutVars>
          <dgm:bulletEnabled val="1"/>
        </dgm:presLayoutVars>
      </dgm:prSet>
      <dgm:spPr/>
    </dgm:pt>
    <dgm:pt modelId="{F8EB4308-4373-409B-B416-957B6893CAEE}" type="pres">
      <dgm:prSet presAssocID="{EBD64675-DB3C-4A3E-8E5F-E99992D5320B}" presName="sibTrans" presStyleLbl="sibTrans1D1" presStyleIdx="2" presStyleCnt="5"/>
      <dgm:spPr/>
    </dgm:pt>
    <dgm:pt modelId="{8FDCE073-718F-4CA5-B47D-F9450BD27569}" type="pres">
      <dgm:prSet presAssocID="{EBD64675-DB3C-4A3E-8E5F-E99992D5320B}" presName="connectorText" presStyleLbl="sibTrans1D1" presStyleIdx="2" presStyleCnt="5"/>
      <dgm:spPr/>
    </dgm:pt>
    <dgm:pt modelId="{215FF43D-C9AB-463E-B816-E40B34EFB2A3}" type="pres">
      <dgm:prSet presAssocID="{E457D54D-933D-484C-B9BB-ACA38B4BD1B2}" presName="node" presStyleLbl="node1" presStyleIdx="3" presStyleCnt="6">
        <dgm:presLayoutVars>
          <dgm:bulletEnabled val="1"/>
        </dgm:presLayoutVars>
      </dgm:prSet>
      <dgm:spPr/>
    </dgm:pt>
    <dgm:pt modelId="{E132D9BB-582F-4F7F-B22E-2CF462BC9DCD}" type="pres">
      <dgm:prSet presAssocID="{3628DCE4-16D2-4DF8-AE5D-821237B66DFF}" presName="sibTrans" presStyleLbl="sibTrans1D1" presStyleIdx="3" presStyleCnt="5"/>
      <dgm:spPr/>
    </dgm:pt>
    <dgm:pt modelId="{BEBF7441-4F8A-48D8-8166-3953445FE09D}" type="pres">
      <dgm:prSet presAssocID="{3628DCE4-16D2-4DF8-AE5D-821237B66DFF}" presName="connectorText" presStyleLbl="sibTrans1D1" presStyleIdx="3" presStyleCnt="5"/>
      <dgm:spPr/>
    </dgm:pt>
    <dgm:pt modelId="{487A8A77-165D-4B14-96FA-501E1F065927}" type="pres">
      <dgm:prSet presAssocID="{8F250492-29E7-46F4-AAD1-B9AEF8D9248E}" presName="node" presStyleLbl="node1" presStyleIdx="4" presStyleCnt="6">
        <dgm:presLayoutVars>
          <dgm:bulletEnabled val="1"/>
        </dgm:presLayoutVars>
      </dgm:prSet>
      <dgm:spPr/>
    </dgm:pt>
    <dgm:pt modelId="{DD4E7149-FF4A-43FE-9A7C-E77A00B5E095}" type="pres">
      <dgm:prSet presAssocID="{01209BCF-2162-4E84-BE07-F6378FCFE8E3}" presName="sibTrans" presStyleLbl="sibTrans1D1" presStyleIdx="4" presStyleCnt="5"/>
      <dgm:spPr/>
    </dgm:pt>
    <dgm:pt modelId="{D3BBFF56-8508-49D4-9AD4-B4941237D45C}" type="pres">
      <dgm:prSet presAssocID="{01209BCF-2162-4E84-BE07-F6378FCFE8E3}" presName="connectorText" presStyleLbl="sibTrans1D1" presStyleIdx="4" presStyleCnt="5"/>
      <dgm:spPr/>
    </dgm:pt>
    <dgm:pt modelId="{28776B2B-7797-4200-8F8F-B524B014D434}" type="pres">
      <dgm:prSet presAssocID="{77DCADAC-E510-490F-B616-53A9DB1CE953}" presName="node" presStyleLbl="node1" presStyleIdx="5" presStyleCnt="6">
        <dgm:presLayoutVars>
          <dgm:bulletEnabled val="1"/>
        </dgm:presLayoutVars>
      </dgm:prSet>
      <dgm:spPr/>
    </dgm:pt>
  </dgm:ptLst>
  <dgm:cxnLst>
    <dgm:cxn modelId="{C2027901-913D-4ACF-91D9-0B1BA6212F42}" type="presOf" srcId="{3628DCE4-16D2-4DF8-AE5D-821237B66DFF}" destId="{E132D9BB-582F-4F7F-B22E-2CF462BC9DCD}" srcOrd="0" destOrd="0" presId="urn:microsoft.com/office/officeart/2005/8/layout/bProcess3"/>
    <dgm:cxn modelId="{A060811A-1DD6-4A36-A837-78898E2BF7D7}" type="presOf" srcId="{5797BCC5-0E5B-4566-97F8-610563266B69}" destId="{C3971F73-BFA3-4AE3-8766-04E3F705BF68}" srcOrd="0" destOrd="0" presId="urn:microsoft.com/office/officeart/2005/8/layout/bProcess3"/>
    <dgm:cxn modelId="{AB8A982A-7BFD-42CF-9591-89C33155C3E3}" type="presOf" srcId="{01209BCF-2162-4E84-BE07-F6378FCFE8E3}" destId="{DD4E7149-FF4A-43FE-9A7C-E77A00B5E095}" srcOrd="0" destOrd="0" presId="urn:microsoft.com/office/officeart/2005/8/layout/bProcess3"/>
    <dgm:cxn modelId="{E4544032-E93D-4502-9847-0B7E084C0C93}" type="presOf" srcId="{EBD64675-DB3C-4A3E-8E5F-E99992D5320B}" destId="{8FDCE073-718F-4CA5-B47D-F9450BD27569}" srcOrd="1" destOrd="0" presId="urn:microsoft.com/office/officeart/2005/8/layout/bProcess3"/>
    <dgm:cxn modelId="{572CAB6B-7239-4D0F-99BB-C8144576ADE1}" type="presOf" srcId="{706ADE8D-9934-42EE-AFE6-DC5D0955827F}" destId="{F518C10B-1380-4F78-96AF-82BEE8FF7A09}" srcOrd="0" destOrd="0" presId="urn:microsoft.com/office/officeart/2005/8/layout/bProcess3"/>
    <dgm:cxn modelId="{B96DE36C-0AC1-4A41-A36E-8C5A3B868CB2}" type="presOf" srcId="{F9C9FFDC-8237-4CF7-96CF-C6BF5518FE44}" destId="{7BC1C647-28CA-490B-A2FC-C8E7733F4D73}" srcOrd="0" destOrd="0" presId="urn:microsoft.com/office/officeart/2005/8/layout/bProcess3"/>
    <dgm:cxn modelId="{52E8E76D-3EFC-404F-AE74-45CE167734FA}" srcId="{F9C9FFDC-8237-4CF7-96CF-C6BF5518FE44}" destId="{CD529ED7-7CF7-4BFF-B14C-DC39011B59DF}" srcOrd="2" destOrd="0" parTransId="{DA43BAF5-DCCC-45CB-813D-446581EA2D4A}" sibTransId="{EBD64675-DB3C-4A3E-8E5F-E99992D5320B}"/>
    <dgm:cxn modelId="{51CB4550-AA45-441A-8DDB-B3E261E7B1DD}" srcId="{F9C9FFDC-8237-4CF7-96CF-C6BF5518FE44}" destId="{E457D54D-933D-484C-B9BB-ACA38B4BD1B2}" srcOrd="3" destOrd="0" parTransId="{4730FF64-5C02-4467-B6BB-C3D521B2BAA7}" sibTransId="{3628DCE4-16D2-4DF8-AE5D-821237B66DFF}"/>
    <dgm:cxn modelId="{78661453-CC5A-4122-A94D-CA8506A765AF}" srcId="{F9C9FFDC-8237-4CF7-96CF-C6BF5518FE44}" destId="{706ADE8D-9934-42EE-AFE6-DC5D0955827F}" srcOrd="1" destOrd="0" parTransId="{77AE6244-8E70-4BE3-B838-80B001859BEC}" sibTransId="{6F2892C8-2B66-4734-B263-AAD903D79316}"/>
    <dgm:cxn modelId="{C5907658-F87F-488F-BEC8-19F90923A5E8}" type="presOf" srcId="{6F2892C8-2B66-4734-B263-AAD903D79316}" destId="{D8FDC4C7-6025-4A25-BF95-D03AC21BF736}" srcOrd="1" destOrd="0" presId="urn:microsoft.com/office/officeart/2005/8/layout/bProcess3"/>
    <dgm:cxn modelId="{F3CAAF80-BDDF-49C9-8BFB-3B3BFED7F144}" type="presOf" srcId="{CD529ED7-7CF7-4BFF-B14C-DC39011B59DF}" destId="{89443AE1-69F8-469E-9058-60B854AB0D10}" srcOrd="0" destOrd="0" presId="urn:microsoft.com/office/officeart/2005/8/layout/bProcess3"/>
    <dgm:cxn modelId="{DC0E8B87-CAD9-4BAA-B14B-0BB229C39B1B}" type="presOf" srcId="{01209BCF-2162-4E84-BE07-F6378FCFE8E3}" destId="{D3BBFF56-8508-49D4-9AD4-B4941237D45C}" srcOrd="1" destOrd="0" presId="urn:microsoft.com/office/officeart/2005/8/layout/bProcess3"/>
    <dgm:cxn modelId="{E3B17491-E60E-4587-88F0-077DDC61CD64}" type="presOf" srcId="{3628DCE4-16D2-4DF8-AE5D-821237B66DFF}" destId="{BEBF7441-4F8A-48D8-8166-3953445FE09D}" srcOrd="1" destOrd="0" presId="urn:microsoft.com/office/officeart/2005/8/layout/bProcess3"/>
    <dgm:cxn modelId="{15651595-0600-4471-911C-960B6003BAB8}" type="presOf" srcId="{E457D54D-933D-484C-B9BB-ACA38B4BD1B2}" destId="{215FF43D-C9AB-463E-B816-E40B34EFB2A3}" srcOrd="0" destOrd="0" presId="urn:microsoft.com/office/officeart/2005/8/layout/bProcess3"/>
    <dgm:cxn modelId="{01E13AA1-3AB6-451E-9303-C89F1A0F03C1}" type="presOf" srcId="{EBD64675-DB3C-4A3E-8E5F-E99992D5320B}" destId="{F8EB4308-4373-409B-B416-957B6893CAEE}" srcOrd="0" destOrd="0" presId="urn:microsoft.com/office/officeart/2005/8/layout/bProcess3"/>
    <dgm:cxn modelId="{1FD31AA9-B7DC-451B-88BA-C0148D763EAC}" type="presOf" srcId="{77DCADAC-E510-490F-B616-53A9DB1CE953}" destId="{28776B2B-7797-4200-8F8F-B524B014D434}" srcOrd="0" destOrd="0" presId="urn:microsoft.com/office/officeart/2005/8/layout/bProcess3"/>
    <dgm:cxn modelId="{4651C0B5-2156-4D03-8FB5-2DE443B3C4C6}" type="presOf" srcId="{6F2892C8-2B66-4734-B263-AAD903D79316}" destId="{98E9AC0E-4331-4D55-847F-233633985A5F}" srcOrd="0" destOrd="0" presId="urn:microsoft.com/office/officeart/2005/8/layout/bProcess3"/>
    <dgm:cxn modelId="{7B5284BA-42DE-409A-855B-84D22505BE90}" type="presOf" srcId="{8F250492-29E7-46F4-AAD1-B9AEF8D9248E}" destId="{487A8A77-165D-4B14-96FA-501E1F065927}" srcOrd="0" destOrd="0" presId="urn:microsoft.com/office/officeart/2005/8/layout/bProcess3"/>
    <dgm:cxn modelId="{43FAEEC8-D482-4A85-ACB6-C5FB8E759B34}" srcId="{F9C9FFDC-8237-4CF7-96CF-C6BF5518FE44}" destId="{8F250492-29E7-46F4-AAD1-B9AEF8D9248E}" srcOrd="4" destOrd="0" parTransId="{51777E26-E223-4E77-9B49-DDA7DFF224FF}" sibTransId="{01209BCF-2162-4E84-BE07-F6378FCFE8E3}"/>
    <dgm:cxn modelId="{FE202EDC-4D19-4B2C-A114-FAE047DFD663}" type="presOf" srcId="{A9730AD3-585C-4CE3-93E7-6A5E931FF197}" destId="{0301AD94-9F85-4ED9-820D-5AFA13213EAA}" srcOrd="1" destOrd="0" presId="urn:microsoft.com/office/officeart/2005/8/layout/bProcess3"/>
    <dgm:cxn modelId="{8A89DFE5-97CD-4253-BB71-7960D3B1EDD5}" type="presOf" srcId="{A9730AD3-585C-4CE3-93E7-6A5E931FF197}" destId="{62E07125-DDE9-4688-9808-A228CEF13F62}" srcOrd="0" destOrd="0" presId="urn:microsoft.com/office/officeart/2005/8/layout/bProcess3"/>
    <dgm:cxn modelId="{942527E7-70E9-4799-B5BF-61F08D6EA138}" srcId="{F9C9FFDC-8237-4CF7-96CF-C6BF5518FE44}" destId="{77DCADAC-E510-490F-B616-53A9DB1CE953}" srcOrd="5" destOrd="0" parTransId="{3829B5BB-9107-43C0-A72D-950C2D9C88EB}" sibTransId="{152AD6B3-EFC6-4461-B510-F4A2D35A6E0C}"/>
    <dgm:cxn modelId="{1ED8A2E7-1149-4AA7-B32F-F091B1E85B0D}" srcId="{F9C9FFDC-8237-4CF7-96CF-C6BF5518FE44}" destId="{5797BCC5-0E5B-4566-97F8-610563266B69}" srcOrd="0" destOrd="0" parTransId="{CABE3104-DD59-442F-B81A-8BC98B1CFBF6}" sibTransId="{A9730AD3-585C-4CE3-93E7-6A5E931FF197}"/>
    <dgm:cxn modelId="{CF0F99EF-2881-42F5-90AC-17A8AB9B5AF4}" type="presParOf" srcId="{7BC1C647-28CA-490B-A2FC-C8E7733F4D73}" destId="{C3971F73-BFA3-4AE3-8766-04E3F705BF68}" srcOrd="0" destOrd="0" presId="urn:microsoft.com/office/officeart/2005/8/layout/bProcess3"/>
    <dgm:cxn modelId="{221A6302-E889-4D5D-A4C2-676AD24569FF}" type="presParOf" srcId="{7BC1C647-28CA-490B-A2FC-C8E7733F4D73}" destId="{62E07125-DDE9-4688-9808-A228CEF13F62}" srcOrd="1" destOrd="0" presId="urn:microsoft.com/office/officeart/2005/8/layout/bProcess3"/>
    <dgm:cxn modelId="{961E7E3B-EC81-43D3-A29C-5FE72B801685}" type="presParOf" srcId="{62E07125-DDE9-4688-9808-A228CEF13F62}" destId="{0301AD94-9F85-4ED9-820D-5AFA13213EAA}" srcOrd="0" destOrd="0" presId="urn:microsoft.com/office/officeart/2005/8/layout/bProcess3"/>
    <dgm:cxn modelId="{534935E5-4B2A-4E2B-8F1D-A25B7F332B0C}" type="presParOf" srcId="{7BC1C647-28CA-490B-A2FC-C8E7733F4D73}" destId="{F518C10B-1380-4F78-96AF-82BEE8FF7A09}" srcOrd="2" destOrd="0" presId="urn:microsoft.com/office/officeart/2005/8/layout/bProcess3"/>
    <dgm:cxn modelId="{BE8637A8-6E52-4E8E-BF82-CBC55309F71D}" type="presParOf" srcId="{7BC1C647-28CA-490B-A2FC-C8E7733F4D73}" destId="{98E9AC0E-4331-4D55-847F-233633985A5F}" srcOrd="3" destOrd="0" presId="urn:microsoft.com/office/officeart/2005/8/layout/bProcess3"/>
    <dgm:cxn modelId="{B6DBDC90-BC48-4309-9358-74CC0DF0B2E4}" type="presParOf" srcId="{98E9AC0E-4331-4D55-847F-233633985A5F}" destId="{D8FDC4C7-6025-4A25-BF95-D03AC21BF736}" srcOrd="0" destOrd="0" presId="urn:microsoft.com/office/officeart/2005/8/layout/bProcess3"/>
    <dgm:cxn modelId="{C0AAA836-C004-4A00-A160-2088EDE353CC}" type="presParOf" srcId="{7BC1C647-28CA-490B-A2FC-C8E7733F4D73}" destId="{89443AE1-69F8-469E-9058-60B854AB0D10}" srcOrd="4" destOrd="0" presId="urn:microsoft.com/office/officeart/2005/8/layout/bProcess3"/>
    <dgm:cxn modelId="{77EF8747-E7ED-4373-8741-1DF626D28FC4}" type="presParOf" srcId="{7BC1C647-28CA-490B-A2FC-C8E7733F4D73}" destId="{F8EB4308-4373-409B-B416-957B6893CAEE}" srcOrd="5" destOrd="0" presId="urn:microsoft.com/office/officeart/2005/8/layout/bProcess3"/>
    <dgm:cxn modelId="{248B97E7-50FA-4A16-BA38-3D20BBC604F8}" type="presParOf" srcId="{F8EB4308-4373-409B-B416-957B6893CAEE}" destId="{8FDCE073-718F-4CA5-B47D-F9450BD27569}" srcOrd="0" destOrd="0" presId="urn:microsoft.com/office/officeart/2005/8/layout/bProcess3"/>
    <dgm:cxn modelId="{42318331-5341-4249-8072-CA8F7A15C9D8}" type="presParOf" srcId="{7BC1C647-28CA-490B-A2FC-C8E7733F4D73}" destId="{215FF43D-C9AB-463E-B816-E40B34EFB2A3}" srcOrd="6" destOrd="0" presId="urn:microsoft.com/office/officeart/2005/8/layout/bProcess3"/>
    <dgm:cxn modelId="{7E7C6D2A-F63E-4E0B-A949-09C75E7A426F}" type="presParOf" srcId="{7BC1C647-28CA-490B-A2FC-C8E7733F4D73}" destId="{E132D9BB-582F-4F7F-B22E-2CF462BC9DCD}" srcOrd="7" destOrd="0" presId="urn:microsoft.com/office/officeart/2005/8/layout/bProcess3"/>
    <dgm:cxn modelId="{652EE2EB-702C-4406-A187-853D5AE5C9E2}" type="presParOf" srcId="{E132D9BB-582F-4F7F-B22E-2CF462BC9DCD}" destId="{BEBF7441-4F8A-48D8-8166-3953445FE09D}" srcOrd="0" destOrd="0" presId="urn:microsoft.com/office/officeart/2005/8/layout/bProcess3"/>
    <dgm:cxn modelId="{35F4B415-7D51-4A42-8A96-87297C6F7CCD}" type="presParOf" srcId="{7BC1C647-28CA-490B-A2FC-C8E7733F4D73}" destId="{487A8A77-165D-4B14-96FA-501E1F065927}" srcOrd="8" destOrd="0" presId="urn:microsoft.com/office/officeart/2005/8/layout/bProcess3"/>
    <dgm:cxn modelId="{D8CF5B44-0134-4A61-BF7B-A04AC20D4B27}" type="presParOf" srcId="{7BC1C647-28CA-490B-A2FC-C8E7733F4D73}" destId="{DD4E7149-FF4A-43FE-9A7C-E77A00B5E095}" srcOrd="9" destOrd="0" presId="urn:microsoft.com/office/officeart/2005/8/layout/bProcess3"/>
    <dgm:cxn modelId="{A2CFDBA7-7C49-43C3-BCD3-949EDF36E739}" type="presParOf" srcId="{DD4E7149-FF4A-43FE-9A7C-E77A00B5E095}" destId="{D3BBFF56-8508-49D4-9AD4-B4941237D45C}" srcOrd="0" destOrd="0" presId="urn:microsoft.com/office/officeart/2005/8/layout/bProcess3"/>
    <dgm:cxn modelId="{918206AD-251A-4691-8552-DA1600F0C015}" type="presParOf" srcId="{7BC1C647-28CA-490B-A2FC-C8E7733F4D73}" destId="{28776B2B-7797-4200-8F8F-B524B014D434}" srcOrd="10" destOrd="0" presId="urn:microsoft.com/office/officeart/2005/8/layout/bProcess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3244672-EC92-4AF1-BF7D-452387E154AA}"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s-ES"/>
        </a:p>
      </dgm:t>
    </dgm:pt>
    <dgm:pt modelId="{0AC20DC5-DE18-4732-893B-E8E0E4356283}">
      <dgm:prSet phldrT="[Text]"/>
      <dgm:spPr/>
      <dgm:t>
        <a:bodyPr/>
        <a:lstStyle/>
        <a:p>
          <a:pPr>
            <a:buFont typeface="Courier New" panose="02070309020205020404" pitchFamily="49" charset="0"/>
            <a:buChar char="o"/>
          </a:pPr>
          <a:r>
            <a:rPr lang="es-ES">
              <a:effectLst/>
              <a:latin typeface="Calibri" panose="020F0502020204030204" pitchFamily="34" charset="0"/>
              <a:ea typeface="Calibri" panose="020F0502020204030204" pitchFamily="34" charset="0"/>
              <a:cs typeface="Times New Roman" panose="02020603050405020304" pitchFamily="18" charset="0"/>
            </a:rPr>
            <a:t>Experiencia de proyectos anteriores.</a:t>
          </a:r>
          <a:endParaRPr lang="es-ES"/>
        </a:p>
      </dgm:t>
    </dgm:pt>
    <dgm:pt modelId="{F0CC8336-A0BC-414F-8C45-8CBA13369E5A}" type="parTrans" cxnId="{208E39C6-D11F-4A99-9E19-EECB03DA9802}">
      <dgm:prSet/>
      <dgm:spPr/>
      <dgm:t>
        <a:bodyPr/>
        <a:lstStyle/>
        <a:p>
          <a:endParaRPr lang="es-ES"/>
        </a:p>
      </dgm:t>
    </dgm:pt>
    <dgm:pt modelId="{C9D5424B-B6C0-4B32-B716-EDA241C7C5DC}" type="sibTrans" cxnId="{208E39C6-D11F-4A99-9E19-EECB03DA9802}">
      <dgm:prSet/>
      <dgm:spPr/>
      <dgm:t>
        <a:bodyPr/>
        <a:lstStyle/>
        <a:p>
          <a:endParaRPr lang="es-ES"/>
        </a:p>
      </dgm:t>
    </dgm:pt>
    <dgm:pt modelId="{B84610A8-5684-47B9-824C-1A9C80896A4B}">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Funciones, prestaciones y características de calidad existentes en el sistema.</a:t>
          </a:r>
        </a:p>
      </dgm:t>
    </dgm:pt>
    <dgm:pt modelId="{C073EDFE-C4A5-467A-A6C9-55B199ACF66D}" type="parTrans" cxnId="{96AFE44C-DE30-497A-8915-2419C0A36616}">
      <dgm:prSet/>
      <dgm:spPr/>
      <dgm:t>
        <a:bodyPr/>
        <a:lstStyle/>
        <a:p>
          <a:endParaRPr lang="es-ES"/>
        </a:p>
      </dgm:t>
    </dgm:pt>
    <dgm:pt modelId="{7F53CB53-AFB3-4DC7-9EC2-17B30BB1E14D}" type="sibTrans" cxnId="{96AFE44C-DE30-497A-8915-2419C0A36616}">
      <dgm:prSet/>
      <dgm:spPr/>
      <dgm:t>
        <a:bodyPr/>
        <a:lstStyle/>
        <a:p>
          <a:endParaRPr lang="es-ES"/>
        </a:p>
      </dgm:t>
    </dgm:pt>
    <dgm:pt modelId="{D2E426B6-570A-4B53-936E-B40A12651552}">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Código, arquitectura y diseño.</a:t>
          </a:r>
        </a:p>
      </dgm:t>
    </dgm:pt>
    <dgm:pt modelId="{A98E8510-ACF8-4704-B338-7373018BC653}" type="parTrans" cxnId="{A9B08689-1F0C-4207-A535-2116F08B38EF}">
      <dgm:prSet/>
      <dgm:spPr/>
      <dgm:t>
        <a:bodyPr/>
        <a:lstStyle/>
        <a:p>
          <a:endParaRPr lang="es-ES"/>
        </a:p>
      </dgm:t>
    </dgm:pt>
    <dgm:pt modelId="{406F90BA-693D-466F-BFC0-3D57AAF85651}" type="sibTrans" cxnId="{A9B08689-1F0C-4207-A535-2116F08B38EF}">
      <dgm:prSet/>
      <dgm:spPr/>
      <dgm:t>
        <a:bodyPr/>
        <a:lstStyle/>
        <a:p>
          <a:endParaRPr lang="es-ES"/>
        </a:p>
      </dgm:t>
    </dgm:pt>
    <dgm:pt modelId="{82001CDA-4AB9-47B7-873F-6E82DCE26365}">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Perfiles de usuario.</a:t>
          </a:r>
        </a:p>
      </dgm:t>
    </dgm:pt>
    <dgm:pt modelId="{6E4D6E31-490D-4009-9CFC-787112713B77}" type="parTrans" cxnId="{E15A700F-CD3C-4D06-B8F5-945A47C2B3F7}">
      <dgm:prSet/>
      <dgm:spPr/>
      <dgm:t>
        <a:bodyPr/>
        <a:lstStyle/>
        <a:p>
          <a:endParaRPr lang="es-ES"/>
        </a:p>
      </dgm:t>
    </dgm:pt>
    <dgm:pt modelId="{5ED94E84-0878-4E48-B5D8-88FD2A18E656}" type="sibTrans" cxnId="{E15A700F-CD3C-4D06-B8F5-945A47C2B3F7}">
      <dgm:prSet/>
      <dgm:spPr/>
      <dgm:t>
        <a:bodyPr/>
        <a:lstStyle/>
        <a:p>
          <a:endParaRPr lang="es-ES"/>
        </a:p>
      </dgm:t>
    </dgm:pt>
    <dgm:pt modelId="{E2B69877-5B93-46F9-A0B4-E4AE381687DD}">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Información sobre defectos de proyectos existentes y anteriores</a:t>
          </a:r>
        </a:p>
      </dgm:t>
    </dgm:pt>
    <dgm:pt modelId="{1BD71E47-82D0-44BB-870A-F1F95B6CDFF9}" type="parTrans" cxnId="{BA0597D8-F705-4B90-93ED-431F71CA3F78}">
      <dgm:prSet/>
      <dgm:spPr/>
      <dgm:t>
        <a:bodyPr/>
        <a:lstStyle/>
        <a:p>
          <a:endParaRPr lang="es-ES"/>
        </a:p>
      </dgm:t>
    </dgm:pt>
    <dgm:pt modelId="{A2EBBCD8-3609-480C-96C5-862380CB0092}" type="sibTrans" cxnId="{BA0597D8-F705-4B90-93ED-431F71CA3F78}">
      <dgm:prSet/>
      <dgm:spPr/>
      <dgm:t>
        <a:bodyPr/>
        <a:lstStyle/>
        <a:p>
          <a:endParaRPr lang="es-ES"/>
        </a:p>
      </dgm:t>
    </dgm:pt>
    <dgm:pt modelId="{98EC7C3C-7012-4C7D-B32E-2001DF222F65}">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Una categorización de los defectos en una taxonomía de defectos.</a:t>
          </a:r>
        </a:p>
      </dgm:t>
    </dgm:pt>
    <dgm:pt modelId="{34140BE6-6654-447A-BA6A-A93EB6AC72C7}" type="parTrans" cxnId="{FACC7469-D4CD-4977-A132-9DF4699FF5DC}">
      <dgm:prSet/>
      <dgm:spPr/>
      <dgm:t>
        <a:bodyPr/>
        <a:lstStyle/>
        <a:p>
          <a:endParaRPr lang="es-ES"/>
        </a:p>
      </dgm:t>
    </dgm:pt>
    <dgm:pt modelId="{0784A6B1-2C52-4436-9731-F1C7EBAC47DF}" type="sibTrans" cxnId="{FACC7469-D4CD-4977-A132-9DF4699FF5DC}">
      <dgm:prSet/>
      <dgm:spPr/>
      <dgm:t>
        <a:bodyPr/>
        <a:lstStyle/>
        <a:p>
          <a:endParaRPr lang="es-ES"/>
        </a:p>
      </dgm:t>
    </dgm:pt>
    <dgm:pt modelId="{388F8DD5-3730-46E1-B39C-469DD31AA169}">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Estándares aplicables </a:t>
          </a:r>
        </a:p>
      </dgm:t>
    </dgm:pt>
    <dgm:pt modelId="{6DBBFD82-3D19-40BF-B53F-3B40240F3486}" type="parTrans" cxnId="{4C4CA756-A315-4BAB-8C30-F4B491A50EDD}">
      <dgm:prSet/>
      <dgm:spPr/>
      <dgm:t>
        <a:bodyPr/>
        <a:lstStyle/>
        <a:p>
          <a:endParaRPr lang="es-ES"/>
        </a:p>
      </dgm:t>
    </dgm:pt>
    <dgm:pt modelId="{C1A0F1E5-98C4-47A6-BE6E-6E49BD3F39F7}" type="sibTrans" cxnId="{4C4CA756-A315-4BAB-8C30-F4B491A50EDD}">
      <dgm:prSet/>
      <dgm:spPr/>
      <dgm:t>
        <a:bodyPr/>
        <a:lstStyle/>
        <a:p>
          <a:endParaRPr lang="es-ES"/>
        </a:p>
      </dgm:t>
    </dgm:pt>
    <dgm:pt modelId="{7A832E7A-001C-4E2F-85F0-B11D6D3E0FE7}">
      <dgm:prSet/>
      <dgm:spPr/>
      <dgm:t>
        <a:bodyPr/>
        <a:lstStyle/>
        <a:p>
          <a:r>
            <a:rPr lang="es-ES">
              <a:effectLst/>
              <a:latin typeface="Calibri" panose="020F0502020204030204" pitchFamily="34" charset="0"/>
              <a:ea typeface="Calibri" panose="020F0502020204030204" pitchFamily="34" charset="0"/>
              <a:cs typeface="Times New Roman" panose="02020603050405020304" pitchFamily="18" charset="0"/>
            </a:rPr>
            <a:t>Riesgos de calidad</a:t>
          </a:r>
        </a:p>
      </dgm:t>
    </dgm:pt>
    <dgm:pt modelId="{50E03A35-257E-4090-92A0-4AD098237B54}" type="parTrans" cxnId="{8876FDB5-3AFC-48A5-82A7-2B53B13036A9}">
      <dgm:prSet/>
      <dgm:spPr/>
      <dgm:t>
        <a:bodyPr/>
        <a:lstStyle/>
        <a:p>
          <a:endParaRPr lang="es-ES"/>
        </a:p>
      </dgm:t>
    </dgm:pt>
    <dgm:pt modelId="{92D58789-6DD7-4060-AA65-C8B9D50DE972}" type="sibTrans" cxnId="{8876FDB5-3AFC-48A5-82A7-2B53B13036A9}">
      <dgm:prSet/>
      <dgm:spPr/>
      <dgm:t>
        <a:bodyPr/>
        <a:lstStyle/>
        <a:p>
          <a:endParaRPr lang="es-ES"/>
        </a:p>
      </dgm:t>
    </dgm:pt>
    <dgm:pt modelId="{1ED3AFDC-1B58-4FAC-A1BB-EBD7E2BAB23B}" type="pres">
      <dgm:prSet presAssocID="{C3244672-EC92-4AF1-BF7D-452387E154AA}" presName="diagram" presStyleCnt="0">
        <dgm:presLayoutVars>
          <dgm:dir/>
          <dgm:resizeHandles val="exact"/>
        </dgm:presLayoutVars>
      </dgm:prSet>
      <dgm:spPr/>
    </dgm:pt>
    <dgm:pt modelId="{7A089642-E5CD-4AD3-BFBA-E08C1390A2BF}" type="pres">
      <dgm:prSet presAssocID="{0AC20DC5-DE18-4732-893B-E8E0E4356283}" presName="node" presStyleLbl="node1" presStyleIdx="0" presStyleCnt="8">
        <dgm:presLayoutVars>
          <dgm:bulletEnabled val="1"/>
        </dgm:presLayoutVars>
      </dgm:prSet>
      <dgm:spPr/>
    </dgm:pt>
    <dgm:pt modelId="{1AA2016B-BA8A-4D00-9692-DF611CF0CCF3}" type="pres">
      <dgm:prSet presAssocID="{C9D5424B-B6C0-4B32-B716-EDA241C7C5DC}" presName="sibTrans" presStyleCnt="0"/>
      <dgm:spPr/>
    </dgm:pt>
    <dgm:pt modelId="{2203C4F3-AF70-4874-80EE-0ECA13B79068}" type="pres">
      <dgm:prSet presAssocID="{B84610A8-5684-47B9-824C-1A9C80896A4B}" presName="node" presStyleLbl="node1" presStyleIdx="1" presStyleCnt="8">
        <dgm:presLayoutVars>
          <dgm:bulletEnabled val="1"/>
        </dgm:presLayoutVars>
      </dgm:prSet>
      <dgm:spPr/>
    </dgm:pt>
    <dgm:pt modelId="{07D8E3DC-DBC5-4F51-A689-F3C0591B6559}" type="pres">
      <dgm:prSet presAssocID="{7F53CB53-AFB3-4DC7-9EC2-17B30BB1E14D}" presName="sibTrans" presStyleCnt="0"/>
      <dgm:spPr/>
    </dgm:pt>
    <dgm:pt modelId="{42F61936-C95C-45DB-A4E7-A66D55CD6A89}" type="pres">
      <dgm:prSet presAssocID="{D2E426B6-570A-4B53-936E-B40A12651552}" presName="node" presStyleLbl="node1" presStyleIdx="2" presStyleCnt="8">
        <dgm:presLayoutVars>
          <dgm:bulletEnabled val="1"/>
        </dgm:presLayoutVars>
      </dgm:prSet>
      <dgm:spPr/>
    </dgm:pt>
    <dgm:pt modelId="{F4530652-B6E6-43BB-A426-D6263FF73DD7}" type="pres">
      <dgm:prSet presAssocID="{406F90BA-693D-466F-BFC0-3D57AAF85651}" presName="sibTrans" presStyleCnt="0"/>
      <dgm:spPr/>
    </dgm:pt>
    <dgm:pt modelId="{C9333446-8B24-4BF7-A9C2-65FD63F42B38}" type="pres">
      <dgm:prSet presAssocID="{82001CDA-4AB9-47B7-873F-6E82DCE26365}" presName="node" presStyleLbl="node1" presStyleIdx="3" presStyleCnt="8">
        <dgm:presLayoutVars>
          <dgm:bulletEnabled val="1"/>
        </dgm:presLayoutVars>
      </dgm:prSet>
      <dgm:spPr/>
    </dgm:pt>
    <dgm:pt modelId="{0B11C845-5CB7-4283-8552-96CF61D6C586}" type="pres">
      <dgm:prSet presAssocID="{5ED94E84-0878-4E48-B5D8-88FD2A18E656}" presName="sibTrans" presStyleCnt="0"/>
      <dgm:spPr/>
    </dgm:pt>
    <dgm:pt modelId="{0C6CBA21-9117-405B-853B-08CF6EDEBA28}" type="pres">
      <dgm:prSet presAssocID="{E2B69877-5B93-46F9-A0B4-E4AE381687DD}" presName="node" presStyleLbl="node1" presStyleIdx="4" presStyleCnt="8">
        <dgm:presLayoutVars>
          <dgm:bulletEnabled val="1"/>
        </dgm:presLayoutVars>
      </dgm:prSet>
      <dgm:spPr/>
    </dgm:pt>
    <dgm:pt modelId="{5ADDAB2B-D724-4230-836F-07FDE040433F}" type="pres">
      <dgm:prSet presAssocID="{A2EBBCD8-3609-480C-96C5-862380CB0092}" presName="sibTrans" presStyleCnt="0"/>
      <dgm:spPr/>
    </dgm:pt>
    <dgm:pt modelId="{B5641825-AFF1-471C-AC61-6EC72978F0A1}" type="pres">
      <dgm:prSet presAssocID="{98EC7C3C-7012-4C7D-B32E-2001DF222F65}" presName="node" presStyleLbl="node1" presStyleIdx="5" presStyleCnt="8">
        <dgm:presLayoutVars>
          <dgm:bulletEnabled val="1"/>
        </dgm:presLayoutVars>
      </dgm:prSet>
      <dgm:spPr/>
    </dgm:pt>
    <dgm:pt modelId="{129791EE-383C-4E04-B594-7C8926AD8B2A}" type="pres">
      <dgm:prSet presAssocID="{0784A6B1-2C52-4436-9731-F1C7EBAC47DF}" presName="sibTrans" presStyleCnt="0"/>
      <dgm:spPr/>
    </dgm:pt>
    <dgm:pt modelId="{EEE4DF82-D31A-44EC-9181-0289FCAAB1AE}" type="pres">
      <dgm:prSet presAssocID="{388F8DD5-3730-46E1-B39C-469DD31AA169}" presName="node" presStyleLbl="node1" presStyleIdx="6" presStyleCnt="8">
        <dgm:presLayoutVars>
          <dgm:bulletEnabled val="1"/>
        </dgm:presLayoutVars>
      </dgm:prSet>
      <dgm:spPr/>
    </dgm:pt>
    <dgm:pt modelId="{E02AEDD2-D418-4681-A5A1-20E9E6D88AF6}" type="pres">
      <dgm:prSet presAssocID="{C1A0F1E5-98C4-47A6-BE6E-6E49BD3F39F7}" presName="sibTrans" presStyleCnt="0"/>
      <dgm:spPr/>
    </dgm:pt>
    <dgm:pt modelId="{3053CAB4-294A-477C-8194-74849B51634B}" type="pres">
      <dgm:prSet presAssocID="{7A832E7A-001C-4E2F-85F0-B11D6D3E0FE7}" presName="node" presStyleLbl="node1" presStyleIdx="7" presStyleCnt="8">
        <dgm:presLayoutVars>
          <dgm:bulletEnabled val="1"/>
        </dgm:presLayoutVars>
      </dgm:prSet>
      <dgm:spPr/>
    </dgm:pt>
  </dgm:ptLst>
  <dgm:cxnLst>
    <dgm:cxn modelId="{E15A700F-CD3C-4D06-B8F5-945A47C2B3F7}" srcId="{C3244672-EC92-4AF1-BF7D-452387E154AA}" destId="{82001CDA-4AB9-47B7-873F-6E82DCE26365}" srcOrd="3" destOrd="0" parTransId="{6E4D6E31-490D-4009-9CFC-787112713B77}" sibTransId="{5ED94E84-0878-4E48-B5D8-88FD2A18E656}"/>
    <dgm:cxn modelId="{B8694018-C005-4F34-A752-11049C142EAB}" type="presOf" srcId="{7A832E7A-001C-4E2F-85F0-B11D6D3E0FE7}" destId="{3053CAB4-294A-477C-8194-74849B51634B}" srcOrd="0" destOrd="0" presId="urn:microsoft.com/office/officeart/2005/8/layout/default"/>
    <dgm:cxn modelId="{65E7C71E-F962-4C79-9DA4-D4B14D6BD42F}" type="presOf" srcId="{B84610A8-5684-47B9-824C-1A9C80896A4B}" destId="{2203C4F3-AF70-4874-80EE-0ECA13B79068}" srcOrd="0" destOrd="0" presId="urn:microsoft.com/office/officeart/2005/8/layout/default"/>
    <dgm:cxn modelId="{DBDCDB41-B524-4D80-9E27-A80B6810FD5A}" type="presOf" srcId="{98EC7C3C-7012-4C7D-B32E-2001DF222F65}" destId="{B5641825-AFF1-471C-AC61-6EC72978F0A1}" srcOrd="0" destOrd="0" presId="urn:microsoft.com/office/officeart/2005/8/layout/default"/>
    <dgm:cxn modelId="{7CA6F866-F5C8-4181-A98E-058BD7954905}" type="presOf" srcId="{E2B69877-5B93-46F9-A0B4-E4AE381687DD}" destId="{0C6CBA21-9117-405B-853B-08CF6EDEBA28}" srcOrd="0" destOrd="0" presId="urn:microsoft.com/office/officeart/2005/8/layout/default"/>
    <dgm:cxn modelId="{FACC7469-D4CD-4977-A132-9DF4699FF5DC}" srcId="{C3244672-EC92-4AF1-BF7D-452387E154AA}" destId="{98EC7C3C-7012-4C7D-B32E-2001DF222F65}" srcOrd="5" destOrd="0" parTransId="{34140BE6-6654-447A-BA6A-A93EB6AC72C7}" sibTransId="{0784A6B1-2C52-4436-9731-F1C7EBAC47DF}"/>
    <dgm:cxn modelId="{96AFE44C-DE30-497A-8915-2419C0A36616}" srcId="{C3244672-EC92-4AF1-BF7D-452387E154AA}" destId="{B84610A8-5684-47B9-824C-1A9C80896A4B}" srcOrd="1" destOrd="0" parTransId="{C073EDFE-C4A5-467A-A6C9-55B199ACF66D}" sibTransId="{7F53CB53-AFB3-4DC7-9EC2-17B30BB1E14D}"/>
    <dgm:cxn modelId="{2B0D4A71-D979-4C7E-BA0A-429B807CCE7C}" type="presOf" srcId="{388F8DD5-3730-46E1-B39C-469DD31AA169}" destId="{EEE4DF82-D31A-44EC-9181-0289FCAAB1AE}" srcOrd="0" destOrd="0" presId="urn:microsoft.com/office/officeart/2005/8/layout/default"/>
    <dgm:cxn modelId="{4C4CA756-A315-4BAB-8C30-F4B491A50EDD}" srcId="{C3244672-EC92-4AF1-BF7D-452387E154AA}" destId="{388F8DD5-3730-46E1-B39C-469DD31AA169}" srcOrd="6" destOrd="0" parTransId="{6DBBFD82-3D19-40BF-B53F-3B40240F3486}" sibTransId="{C1A0F1E5-98C4-47A6-BE6E-6E49BD3F39F7}"/>
    <dgm:cxn modelId="{A9B08689-1F0C-4207-A535-2116F08B38EF}" srcId="{C3244672-EC92-4AF1-BF7D-452387E154AA}" destId="{D2E426B6-570A-4B53-936E-B40A12651552}" srcOrd="2" destOrd="0" parTransId="{A98E8510-ACF8-4704-B338-7373018BC653}" sibTransId="{406F90BA-693D-466F-BFC0-3D57AAF85651}"/>
    <dgm:cxn modelId="{F3CEE28F-E653-4AAE-B03B-692A4CB99F88}" type="presOf" srcId="{82001CDA-4AB9-47B7-873F-6E82DCE26365}" destId="{C9333446-8B24-4BF7-A9C2-65FD63F42B38}" srcOrd="0" destOrd="0" presId="urn:microsoft.com/office/officeart/2005/8/layout/default"/>
    <dgm:cxn modelId="{4ACEBB91-E5AA-4F9A-840E-1177DD68A5DA}" type="presOf" srcId="{0AC20DC5-DE18-4732-893B-E8E0E4356283}" destId="{7A089642-E5CD-4AD3-BFBA-E08C1390A2BF}" srcOrd="0" destOrd="0" presId="urn:microsoft.com/office/officeart/2005/8/layout/default"/>
    <dgm:cxn modelId="{CC95E1A4-E6B0-4538-8488-4327C55EBE16}" type="presOf" srcId="{C3244672-EC92-4AF1-BF7D-452387E154AA}" destId="{1ED3AFDC-1B58-4FAC-A1BB-EBD7E2BAB23B}" srcOrd="0" destOrd="0" presId="urn:microsoft.com/office/officeart/2005/8/layout/default"/>
    <dgm:cxn modelId="{8876FDB5-3AFC-48A5-82A7-2B53B13036A9}" srcId="{C3244672-EC92-4AF1-BF7D-452387E154AA}" destId="{7A832E7A-001C-4E2F-85F0-B11D6D3E0FE7}" srcOrd="7" destOrd="0" parTransId="{50E03A35-257E-4090-92A0-4AD098237B54}" sibTransId="{92D58789-6DD7-4060-AA65-C8B9D50DE972}"/>
    <dgm:cxn modelId="{208E39C6-D11F-4A99-9E19-EECB03DA9802}" srcId="{C3244672-EC92-4AF1-BF7D-452387E154AA}" destId="{0AC20DC5-DE18-4732-893B-E8E0E4356283}" srcOrd="0" destOrd="0" parTransId="{F0CC8336-A0BC-414F-8C45-8CBA13369E5A}" sibTransId="{C9D5424B-B6C0-4B32-B716-EDA241C7C5DC}"/>
    <dgm:cxn modelId="{CC824CD1-398D-4A5B-B791-E9BF1EA4B321}" type="presOf" srcId="{D2E426B6-570A-4B53-936E-B40A12651552}" destId="{42F61936-C95C-45DB-A4E7-A66D55CD6A89}" srcOrd="0" destOrd="0" presId="urn:microsoft.com/office/officeart/2005/8/layout/default"/>
    <dgm:cxn modelId="{BA0597D8-F705-4B90-93ED-431F71CA3F78}" srcId="{C3244672-EC92-4AF1-BF7D-452387E154AA}" destId="{E2B69877-5B93-46F9-A0B4-E4AE381687DD}" srcOrd="4" destOrd="0" parTransId="{1BD71E47-82D0-44BB-870A-F1F95B6CDFF9}" sibTransId="{A2EBBCD8-3609-480C-96C5-862380CB0092}"/>
    <dgm:cxn modelId="{54E66B94-8B43-4EB1-9DC3-C6555A8E9B3C}" type="presParOf" srcId="{1ED3AFDC-1B58-4FAC-A1BB-EBD7E2BAB23B}" destId="{7A089642-E5CD-4AD3-BFBA-E08C1390A2BF}" srcOrd="0" destOrd="0" presId="urn:microsoft.com/office/officeart/2005/8/layout/default"/>
    <dgm:cxn modelId="{09B30D03-BAF3-4785-AD7F-75D41CCD7BA2}" type="presParOf" srcId="{1ED3AFDC-1B58-4FAC-A1BB-EBD7E2BAB23B}" destId="{1AA2016B-BA8A-4D00-9692-DF611CF0CCF3}" srcOrd="1" destOrd="0" presId="urn:microsoft.com/office/officeart/2005/8/layout/default"/>
    <dgm:cxn modelId="{6170B12F-C888-4236-BABF-91A2DBBD9CAD}" type="presParOf" srcId="{1ED3AFDC-1B58-4FAC-A1BB-EBD7E2BAB23B}" destId="{2203C4F3-AF70-4874-80EE-0ECA13B79068}" srcOrd="2" destOrd="0" presId="urn:microsoft.com/office/officeart/2005/8/layout/default"/>
    <dgm:cxn modelId="{B0EA6863-F61C-4FB6-80A8-DB5C51EBB8B8}" type="presParOf" srcId="{1ED3AFDC-1B58-4FAC-A1BB-EBD7E2BAB23B}" destId="{07D8E3DC-DBC5-4F51-A689-F3C0591B6559}" srcOrd="3" destOrd="0" presId="urn:microsoft.com/office/officeart/2005/8/layout/default"/>
    <dgm:cxn modelId="{57E901F9-3F88-49A4-898F-CA95ED3DE2F1}" type="presParOf" srcId="{1ED3AFDC-1B58-4FAC-A1BB-EBD7E2BAB23B}" destId="{42F61936-C95C-45DB-A4E7-A66D55CD6A89}" srcOrd="4" destOrd="0" presId="urn:microsoft.com/office/officeart/2005/8/layout/default"/>
    <dgm:cxn modelId="{A44FF633-8838-4380-A65E-D4BE07F22A65}" type="presParOf" srcId="{1ED3AFDC-1B58-4FAC-A1BB-EBD7E2BAB23B}" destId="{F4530652-B6E6-43BB-A426-D6263FF73DD7}" srcOrd="5" destOrd="0" presId="urn:microsoft.com/office/officeart/2005/8/layout/default"/>
    <dgm:cxn modelId="{A81D9F87-CF55-4108-B783-729EE369ABA6}" type="presParOf" srcId="{1ED3AFDC-1B58-4FAC-A1BB-EBD7E2BAB23B}" destId="{C9333446-8B24-4BF7-A9C2-65FD63F42B38}" srcOrd="6" destOrd="0" presId="urn:microsoft.com/office/officeart/2005/8/layout/default"/>
    <dgm:cxn modelId="{4D768C33-4BB9-468E-8EB2-5500327D94D6}" type="presParOf" srcId="{1ED3AFDC-1B58-4FAC-A1BB-EBD7E2BAB23B}" destId="{0B11C845-5CB7-4283-8552-96CF61D6C586}" srcOrd="7" destOrd="0" presId="urn:microsoft.com/office/officeart/2005/8/layout/default"/>
    <dgm:cxn modelId="{265E9B8A-6CD6-4FD6-ACFD-9027D8591241}" type="presParOf" srcId="{1ED3AFDC-1B58-4FAC-A1BB-EBD7E2BAB23B}" destId="{0C6CBA21-9117-405B-853B-08CF6EDEBA28}" srcOrd="8" destOrd="0" presId="urn:microsoft.com/office/officeart/2005/8/layout/default"/>
    <dgm:cxn modelId="{8CEC9779-34D5-494E-96FB-B1A716C1A1C2}" type="presParOf" srcId="{1ED3AFDC-1B58-4FAC-A1BB-EBD7E2BAB23B}" destId="{5ADDAB2B-D724-4230-836F-07FDE040433F}" srcOrd="9" destOrd="0" presId="urn:microsoft.com/office/officeart/2005/8/layout/default"/>
    <dgm:cxn modelId="{0D0F16C3-171F-4BBC-9FFC-5C37F58C0867}" type="presParOf" srcId="{1ED3AFDC-1B58-4FAC-A1BB-EBD7E2BAB23B}" destId="{B5641825-AFF1-471C-AC61-6EC72978F0A1}" srcOrd="10" destOrd="0" presId="urn:microsoft.com/office/officeart/2005/8/layout/default"/>
    <dgm:cxn modelId="{60607B21-AE12-42E0-A9A9-13ED860365A7}" type="presParOf" srcId="{1ED3AFDC-1B58-4FAC-A1BB-EBD7E2BAB23B}" destId="{129791EE-383C-4E04-B594-7C8926AD8B2A}" srcOrd="11" destOrd="0" presId="urn:microsoft.com/office/officeart/2005/8/layout/default"/>
    <dgm:cxn modelId="{ADE52BB4-79FF-4A2B-B70D-4A498C9B957A}" type="presParOf" srcId="{1ED3AFDC-1B58-4FAC-A1BB-EBD7E2BAB23B}" destId="{EEE4DF82-D31A-44EC-9181-0289FCAAB1AE}" srcOrd="12" destOrd="0" presId="urn:microsoft.com/office/officeart/2005/8/layout/default"/>
    <dgm:cxn modelId="{EDF0F81F-FE41-42FC-8831-ABCECC8E4D31}" type="presParOf" srcId="{1ED3AFDC-1B58-4FAC-A1BB-EBD7E2BAB23B}" destId="{E02AEDD2-D418-4681-A5A1-20E9E6D88AF6}" srcOrd="13" destOrd="0" presId="urn:microsoft.com/office/officeart/2005/8/layout/default"/>
    <dgm:cxn modelId="{5690014C-4911-4864-A2C5-06E1B0E116AB}" type="presParOf" srcId="{1ED3AFDC-1B58-4FAC-A1BB-EBD7E2BAB23B}" destId="{3053CAB4-294A-477C-8194-74849B51634B}" srcOrd="14"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465A83E-9777-4870-8DA1-16A4D912CDC9}"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s-ES"/>
        </a:p>
      </dgm:t>
    </dgm:pt>
    <dgm:pt modelId="{6FCD7B84-2188-4C30-A9C4-36B28CB31AF4}">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Comportamiento funcional: </a:t>
          </a:r>
          <a:r>
            <a:rPr lang="es-ES">
              <a:effectLst/>
              <a:latin typeface="Calibri" panose="020F0502020204030204" pitchFamily="34" charset="0"/>
              <a:ea typeface="Calibri" panose="020F0502020204030204" pitchFamily="34" charset="0"/>
              <a:cs typeface="Times New Roman" panose="02020603050405020304" pitchFamily="18" charset="0"/>
            </a:rPr>
            <a:t>El comportamiento observable externamente con las acciones del usuario como entrada que opera bajo determinadas configuraciones.</a:t>
          </a:r>
          <a:endParaRPr lang="es-ES"/>
        </a:p>
      </dgm:t>
    </dgm:pt>
    <dgm:pt modelId="{96BA0AAA-8714-424E-AF40-6C121D4B1A39}" type="parTrans" cxnId="{77AE4FFB-A5FF-40B2-B5FE-7780FE51C761}">
      <dgm:prSet/>
      <dgm:spPr/>
      <dgm:t>
        <a:bodyPr/>
        <a:lstStyle/>
        <a:p>
          <a:endParaRPr lang="es-ES"/>
        </a:p>
      </dgm:t>
    </dgm:pt>
    <dgm:pt modelId="{F322D00B-1F97-4AB1-8945-13C48D2F73FC}" type="sibTrans" cxnId="{77AE4FFB-A5FF-40B2-B5FE-7780FE51C761}">
      <dgm:prSet/>
      <dgm:spPr/>
      <dgm:t>
        <a:bodyPr/>
        <a:lstStyle/>
        <a:p>
          <a:endParaRPr lang="es-ES"/>
        </a:p>
      </dgm:t>
    </dgm:pt>
    <dgm:pt modelId="{DA8A50D4-D171-429F-B5C7-56D6069C0645}">
      <dgm:prSet/>
      <dgm:spPr/>
      <dgm:t>
        <a:bodyPr/>
        <a:lstStyle/>
        <a:p>
          <a:r>
            <a:rPr lang="es-ES" b="1">
              <a:effectLst/>
              <a:latin typeface="Calibri" panose="020F0502020204030204" pitchFamily="34" charset="0"/>
              <a:ea typeface="Calibri" panose="020F0502020204030204" pitchFamily="34" charset="0"/>
              <a:cs typeface="Times New Roman" panose="02020603050405020304" pitchFamily="18" charset="0"/>
            </a:rPr>
            <a:t>Características de calidad: </a:t>
          </a:r>
          <a:r>
            <a:rPr lang="es-ES">
              <a:effectLst/>
              <a:latin typeface="Calibri" panose="020F0502020204030204" pitchFamily="34" charset="0"/>
              <a:ea typeface="Calibri" panose="020F0502020204030204" pitchFamily="34" charset="0"/>
              <a:cs typeface="Times New Roman" panose="02020603050405020304" pitchFamily="18" charset="0"/>
            </a:rPr>
            <a:t>La forma en que el sistema realiza el comportamiento especificado. Las características también pueden denominarse atributos de calidad o requisitos no funcionales.</a:t>
          </a:r>
        </a:p>
      </dgm:t>
    </dgm:pt>
    <dgm:pt modelId="{4FF6BF77-43CB-4AC7-A8A8-066880EE4D55}" type="parTrans" cxnId="{075EE66A-C28C-4DB0-8123-B73B7559C2A4}">
      <dgm:prSet/>
      <dgm:spPr/>
      <dgm:t>
        <a:bodyPr/>
        <a:lstStyle/>
        <a:p>
          <a:endParaRPr lang="es-ES"/>
        </a:p>
      </dgm:t>
    </dgm:pt>
    <dgm:pt modelId="{03EE15B8-BE24-4355-A52A-43D1FE40C564}" type="sibTrans" cxnId="{075EE66A-C28C-4DB0-8123-B73B7559C2A4}">
      <dgm:prSet/>
      <dgm:spPr/>
      <dgm:t>
        <a:bodyPr/>
        <a:lstStyle/>
        <a:p>
          <a:endParaRPr lang="es-ES"/>
        </a:p>
      </dgm:t>
    </dgm:pt>
    <dgm:pt modelId="{A083D44D-5CF9-4471-AEF8-D45A8286105A}">
      <dgm:prSet/>
      <dgm:spPr/>
      <dgm:t>
        <a:bodyPr/>
        <a:lstStyle/>
        <a:p>
          <a:r>
            <a:rPr lang="es-ES" b="1">
              <a:effectLst/>
              <a:latin typeface="Calibri" panose="020F0502020204030204" pitchFamily="34" charset="0"/>
              <a:ea typeface="Calibri" panose="020F0502020204030204" pitchFamily="34" charset="0"/>
              <a:cs typeface="Times New Roman" panose="02020603050405020304" pitchFamily="18" charset="0"/>
            </a:rPr>
            <a:t>Escenarios (casos de uso): </a:t>
          </a:r>
          <a:r>
            <a:rPr lang="es-ES">
              <a:effectLst/>
              <a:latin typeface="Calibri" panose="020F0502020204030204" pitchFamily="34" charset="0"/>
              <a:ea typeface="Calibri" panose="020F0502020204030204" pitchFamily="34" charset="0"/>
              <a:cs typeface="Times New Roman" panose="02020603050405020304" pitchFamily="18" charset="0"/>
            </a:rPr>
            <a:t>Una secuencia de acciones entre un actor externo (a menudo un usuario) y el sistema, con el fin de lograr un objetivo específico o una tarea de negocio.</a:t>
          </a:r>
        </a:p>
      </dgm:t>
    </dgm:pt>
    <dgm:pt modelId="{6838B87F-89DF-483C-B441-1D8700D5485F}" type="parTrans" cxnId="{B089D31A-EC4A-4DE3-99B9-F8017C25BA9B}">
      <dgm:prSet/>
      <dgm:spPr/>
      <dgm:t>
        <a:bodyPr/>
        <a:lstStyle/>
        <a:p>
          <a:endParaRPr lang="es-ES"/>
        </a:p>
      </dgm:t>
    </dgm:pt>
    <dgm:pt modelId="{A534209E-9A39-4196-9F8C-3BD9656DB0B0}" type="sibTrans" cxnId="{B089D31A-EC4A-4DE3-99B9-F8017C25BA9B}">
      <dgm:prSet/>
      <dgm:spPr/>
      <dgm:t>
        <a:bodyPr/>
        <a:lstStyle/>
        <a:p>
          <a:endParaRPr lang="es-ES"/>
        </a:p>
      </dgm:t>
    </dgm:pt>
    <dgm:pt modelId="{9D154740-F8DB-4DE8-8A57-FC861AF4287A}">
      <dgm:prSet/>
      <dgm:spPr/>
      <dgm:t>
        <a:bodyPr/>
        <a:lstStyle/>
        <a:p>
          <a:r>
            <a:rPr lang="es-ES" b="1">
              <a:effectLst/>
              <a:latin typeface="Calibri" panose="020F0502020204030204" pitchFamily="34" charset="0"/>
              <a:ea typeface="Calibri" panose="020F0502020204030204" pitchFamily="34" charset="0"/>
              <a:cs typeface="Times New Roman" panose="02020603050405020304" pitchFamily="18" charset="0"/>
            </a:rPr>
            <a:t>Reglas de negocio: </a:t>
          </a:r>
          <a:r>
            <a:rPr lang="es-ES">
              <a:effectLst/>
              <a:latin typeface="Calibri" panose="020F0502020204030204" pitchFamily="34" charset="0"/>
              <a:ea typeface="Calibri" panose="020F0502020204030204" pitchFamily="34" charset="0"/>
              <a:cs typeface="Times New Roman" panose="02020603050405020304" pitchFamily="18" charset="0"/>
            </a:rPr>
            <a:t>Actividades que sólo pueden realizarse en el sistema bajo ciertas condiciones definidas por procedimientos y restricciones externas.</a:t>
          </a:r>
        </a:p>
      </dgm:t>
    </dgm:pt>
    <dgm:pt modelId="{51411F00-588A-46C6-BA1B-60BC3863E42C}" type="parTrans" cxnId="{0E16C6D0-4666-4868-B20E-024D580BA29A}">
      <dgm:prSet/>
      <dgm:spPr/>
      <dgm:t>
        <a:bodyPr/>
        <a:lstStyle/>
        <a:p>
          <a:endParaRPr lang="es-ES"/>
        </a:p>
      </dgm:t>
    </dgm:pt>
    <dgm:pt modelId="{EBC6EB0E-E3A5-4246-8613-FD11E4BD68B3}" type="sibTrans" cxnId="{0E16C6D0-4666-4868-B20E-024D580BA29A}">
      <dgm:prSet/>
      <dgm:spPr/>
      <dgm:t>
        <a:bodyPr/>
        <a:lstStyle/>
        <a:p>
          <a:endParaRPr lang="es-ES"/>
        </a:p>
      </dgm:t>
    </dgm:pt>
    <dgm:pt modelId="{9B6D5483-9E04-44F2-9E15-3DDB8242463C}">
      <dgm:prSet/>
      <dgm:spPr/>
      <dgm:t>
        <a:bodyPr/>
        <a:lstStyle/>
        <a:p>
          <a:r>
            <a:rPr lang="es-ES" b="1">
              <a:effectLst/>
              <a:latin typeface="Calibri" panose="020F0502020204030204" pitchFamily="34" charset="0"/>
              <a:ea typeface="Calibri" panose="020F0502020204030204" pitchFamily="34" charset="0"/>
              <a:cs typeface="Times New Roman" panose="02020603050405020304" pitchFamily="18" charset="0"/>
            </a:rPr>
            <a:t>Interfaces externas: </a:t>
          </a:r>
          <a:r>
            <a:rPr lang="es-ES">
              <a:effectLst/>
              <a:latin typeface="Calibri" panose="020F0502020204030204" pitchFamily="34" charset="0"/>
              <a:ea typeface="Calibri" panose="020F0502020204030204" pitchFamily="34" charset="0"/>
              <a:cs typeface="Times New Roman" panose="02020603050405020304" pitchFamily="18" charset="0"/>
            </a:rPr>
            <a:t>Descripciones de las conexiones entre el sistema que se va a desarrollar y el mundo exterior. Las interfaces externas pueden dividirse en diferentes tipos.</a:t>
          </a:r>
        </a:p>
      </dgm:t>
    </dgm:pt>
    <dgm:pt modelId="{D55AFD0D-D37E-4485-8136-F97A97590230}" type="parTrans" cxnId="{8E2EC812-9FF9-44CA-98CD-2579BF1C444D}">
      <dgm:prSet/>
      <dgm:spPr/>
      <dgm:t>
        <a:bodyPr/>
        <a:lstStyle/>
        <a:p>
          <a:endParaRPr lang="es-ES"/>
        </a:p>
      </dgm:t>
    </dgm:pt>
    <dgm:pt modelId="{4463F483-B450-4DBF-B559-D8B0C1932D41}" type="sibTrans" cxnId="{8E2EC812-9FF9-44CA-98CD-2579BF1C444D}">
      <dgm:prSet/>
      <dgm:spPr/>
      <dgm:t>
        <a:bodyPr/>
        <a:lstStyle/>
        <a:p>
          <a:endParaRPr lang="es-ES"/>
        </a:p>
      </dgm:t>
    </dgm:pt>
    <dgm:pt modelId="{12FFC310-9765-4745-9ADC-36E52D528868}">
      <dgm:prSet/>
      <dgm:spPr/>
      <dgm:t>
        <a:bodyPr/>
        <a:lstStyle/>
        <a:p>
          <a:r>
            <a:rPr lang="es-ES" b="1">
              <a:effectLst/>
              <a:latin typeface="Calibri" panose="020F0502020204030204" pitchFamily="34" charset="0"/>
              <a:ea typeface="Calibri" panose="020F0502020204030204" pitchFamily="34" charset="0"/>
              <a:cs typeface="Times New Roman" panose="02020603050405020304" pitchFamily="18" charset="0"/>
            </a:rPr>
            <a:t>Restricciones:</a:t>
          </a:r>
          <a:r>
            <a:rPr lang="es-ES">
              <a:effectLst/>
              <a:latin typeface="Calibri" panose="020F0502020204030204" pitchFamily="34" charset="0"/>
              <a:ea typeface="Calibri" panose="020F0502020204030204" pitchFamily="34" charset="0"/>
              <a:cs typeface="Times New Roman" panose="02020603050405020304" pitchFamily="18" charset="0"/>
            </a:rPr>
            <a:t> Cualquier restricción de diseño e implementación que limite las opciones del desarrollador.</a:t>
          </a:r>
        </a:p>
      </dgm:t>
    </dgm:pt>
    <dgm:pt modelId="{E1183EAB-5CC2-46F9-A950-FF44C0768161}" type="parTrans" cxnId="{2F657C23-8EBF-4F2F-B9A2-9F547DB4841B}">
      <dgm:prSet/>
      <dgm:spPr/>
      <dgm:t>
        <a:bodyPr/>
        <a:lstStyle/>
        <a:p>
          <a:endParaRPr lang="es-ES"/>
        </a:p>
      </dgm:t>
    </dgm:pt>
    <dgm:pt modelId="{CD45016A-2B08-41FC-8C89-F0855F33A0DF}" type="sibTrans" cxnId="{2F657C23-8EBF-4F2F-B9A2-9F547DB4841B}">
      <dgm:prSet/>
      <dgm:spPr/>
      <dgm:t>
        <a:bodyPr/>
        <a:lstStyle/>
        <a:p>
          <a:endParaRPr lang="es-ES"/>
        </a:p>
      </dgm:t>
    </dgm:pt>
    <dgm:pt modelId="{0BB9DB75-988B-4CC2-B913-73EBBC03AD9A}">
      <dgm:prSet/>
      <dgm:spPr/>
      <dgm:t>
        <a:bodyPr/>
        <a:lstStyle/>
        <a:p>
          <a:r>
            <a:rPr lang="es-ES" b="1">
              <a:effectLst/>
              <a:latin typeface="Calibri" panose="020F0502020204030204" pitchFamily="34" charset="0"/>
              <a:ea typeface="Calibri" panose="020F0502020204030204" pitchFamily="34" charset="0"/>
              <a:cs typeface="Times New Roman" panose="02020603050405020304" pitchFamily="18" charset="0"/>
            </a:rPr>
            <a:t>Definiciones de datos: </a:t>
          </a:r>
          <a:r>
            <a:rPr lang="es-ES">
              <a:effectLst/>
              <a:latin typeface="Calibri" panose="020F0502020204030204" pitchFamily="34" charset="0"/>
              <a:ea typeface="Calibri" panose="020F0502020204030204" pitchFamily="34" charset="0"/>
              <a:cs typeface="Times New Roman" panose="02020603050405020304" pitchFamily="18" charset="0"/>
            </a:rPr>
            <a:t>El cliente puede describir el formato, el tipo de datos, los valores permitidos y los valores por defecto de un elemento de datos en la composición de una estructura de datos de negocio compleja</a:t>
          </a:r>
        </a:p>
      </dgm:t>
    </dgm:pt>
    <dgm:pt modelId="{8D1D0E54-8D9D-4225-B898-E0876180AA38}" type="parTrans" cxnId="{FD98ED15-D196-4A26-9A06-2E2384992572}">
      <dgm:prSet/>
      <dgm:spPr/>
      <dgm:t>
        <a:bodyPr/>
        <a:lstStyle/>
        <a:p>
          <a:endParaRPr lang="es-ES"/>
        </a:p>
      </dgm:t>
    </dgm:pt>
    <dgm:pt modelId="{31FC200B-C03D-42C5-8332-ABCEFCC96A38}" type="sibTrans" cxnId="{FD98ED15-D196-4A26-9A06-2E2384992572}">
      <dgm:prSet/>
      <dgm:spPr/>
      <dgm:t>
        <a:bodyPr/>
        <a:lstStyle/>
        <a:p>
          <a:endParaRPr lang="es-ES"/>
        </a:p>
      </dgm:t>
    </dgm:pt>
    <dgm:pt modelId="{713EAB00-27AD-4030-9492-1AE7D5A1764A}" type="pres">
      <dgm:prSet presAssocID="{B465A83E-9777-4870-8DA1-16A4D912CDC9}" presName="linear" presStyleCnt="0">
        <dgm:presLayoutVars>
          <dgm:animLvl val="lvl"/>
          <dgm:resizeHandles val="exact"/>
        </dgm:presLayoutVars>
      </dgm:prSet>
      <dgm:spPr/>
    </dgm:pt>
    <dgm:pt modelId="{6BC1908D-D1BC-4837-9548-9F0554F7D518}" type="pres">
      <dgm:prSet presAssocID="{6FCD7B84-2188-4C30-A9C4-36B28CB31AF4}" presName="parentText" presStyleLbl="node1" presStyleIdx="0" presStyleCnt="7">
        <dgm:presLayoutVars>
          <dgm:chMax val="0"/>
          <dgm:bulletEnabled val="1"/>
        </dgm:presLayoutVars>
      </dgm:prSet>
      <dgm:spPr/>
    </dgm:pt>
    <dgm:pt modelId="{2546D923-88AB-414E-A666-86CD720E5B05}" type="pres">
      <dgm:prSet presAssocID="{F322D00B-1F97-4AB1-8945-13C48D2F73FC}" presName="spacer" presStyleCnt="0"/>
      <dgm:spPr/>
    </dgm:pt>
    <dgm:pt modelId="{64E4ADC1-41EF-4410-B835-3428630F8027}" type="pres">
      <dgm:prSet presAssocID="{DA8A50D4-D171-429F-B5C7-56D6069C0645}" presName="parentText" presStyleLbl="node1" presStyleIdx="1" presStyleCnt="7">
        <dgm:presLayoutVars>
          <dgm:chMax val="0"/>
          <dgm:bulletEnabled val="1"/>
        </dgm:presLayoutVars>
      </dgm:prSet>
      <dgm:spPr/>
    </dgm:pt>
    <dgm:pt modelId="{CB64EA5C-0208-4CF2-A2A2-A8B9541BB823}" type="pres">
      <dgm:prSet presAssocID="{03EE15B8-BE24-4355-A52A-43D1FE40C564}" presName="spacer" presStyleCnt="0"/>
      <dgm:spPr/>
    </dgm:pt>
    <dgm:pt modelId="{B09008E1-F92E-4C03-B0BE-2ADE8CED9BCB}" type="pres">
      <dgm:prSet presAssocID="{A083D44D-5CF9-4471-AEF8-D45A8286105A}" presName="parentText" presStyleLbl="node1" presStyleIdx="2" presStyleCnt="7">
        <dgm:presLayoutVars>
          <dgm:chMax val="0"/>
          <dgm:bulletEnabled val="1"/>
        </dgm:presLayoutVars>
      </dgm:prSet>
      <dgm:spPr/>
    </dgm:pt>
    <dgm:pt modelId="{BEF95A65-4FC3-4BA2-9C70-AF7B36E0CF94}" type="pres">
      <dgm:prSet presAssocID="{A534209E-9A39-4196-9F8C-3BD9656DB0B0}" presName="spacer" presStyleCnt="0"/>
      <dgm:spPr/>
    </dgm:pt>
    <dgm:pt modelId="{F5FD4B30-F286-405B-ABD0-6F61C01B8781}" type="pres">
      <dgm:prSet presAssocID="{9D154740-F8DB-4DE8-8A57-FC861AF4287A}" presName="parentText" presStyleLbl="node1" presStyleIdx="3" presStyleCnt="7">
        <dgm:presLayoutVars>
          <dgm:chMax val="0"/>
          <dgm:bulletEnabled val="1"/>
        </dgm:presLayoutVars>
      </dgm:prSet>
      <dgm:spPr/>
    </dgm:pt>
    <dgm:pt modelId="{0598FD4F-4E8B-46C9-BCB0-4E51F27C0C7B}" type="pres">
      <dgm:prSet presAssocID="{EBC6EB0E-E3A5-4246-8613-FD11E4BD68B3}" presName="spacer" presStyleCnt="0"/>
      <dgm:spPr/>
    </dgm:pt>
    <dgm:pt modelId="{699EF7DE-A8C8-47BF-BEC1-A84E07F94AEB}" type="pres">
      <dgm:prSet presAssocID="{9B6D5483-9E04-44F2-9E15-3DDB8242463C}" presName="parentText" presStyleLbl="node1" presStyleIdx="4" presStyleCnt="7">
        <dgm:presLayoutVars>
          <dgm:chMax val="0"/>
          <dgm:bulletEnabled val="1"/>
        </dgm:presLayoutVars>
      </dgm:prSet>
      <dgm:spPr/>
    </dgm:pt>
    <dgm:pt modelId="{36602690-F425-47D8-BA18-92B1C32248C5}" type="pres">
      <dgm:prSet presAssocID="{4463F483-B450-4DBF-B559-D8B0C1932D41}" presName="spacer" presStyleCnt="0"/>
      <dgm:spPr/>
    </dgm:pt>
    <dgm:pt modelId="{D12987BA-31CE-4995-8865-EEC26E3758B5}" type="pres">
      <dgm:prSet presAssocID="{12FFC310-9765-4745-9ADC-36E52D528868}" presName="parentText" presStyleLbl="node1" presStyleIdx="5" presStyleCnt="7">
        <dgm:presLayoutVars>
          <dgm:chMax val="0"/>
          <dgm:bulletEnabled val="1"/>
        </dgm:presLayoutVars>
      </dgm:prSet>
      <dgm:spPr/>
    </dgm:pt>
    <dgm:pt modelId="{CD7338FB-7973-44CA-B70D-008C8459E11C}" type="pres">
      <dgm:prSet presAssocID="{CD45016A-2B08-41FC-8C89-F0855F33A0DF}" presName="spacer" presStyleCnt="0"/>
      <dgm:spPr/>
    </dgm:pt>
    <dgm:pt modelId="{31A96D02-EBC4-4780-8C16-CDF2CB5C6C93}" type="pres">
      <dgm:prSet presAssocID="{0BB9DB75-988B-4CC2-B913-73EBBC03AD9A}" presName="parentText" presStyleLbl="node1" presStyleIdx="6" presStyleCnt="7">
        <dgm:presLayoutVars>
          <dgm:chMax val="0"/>
          <dgm:bulletEnabled val="1"/>
        </dgm:presLayoutVars>
      </dgm:prSet>
      <dgm:spPr/>
    </dgm:pt>
  </dgm:ptLst>
  <dgm:cxnLst>
    <dgm:cxn modelId="{6936010D-771C-4C3F-9306-666FDB7307A6}" type="presOf" srcId="{DA8A50D4-D171-429F-B5C7-56D6069C0645}" destId="{64E4ADC1-41EF-4410-B835-3428630F8027}" srcOrd="0" destOrd="0" presId="urn:microsoft.com/office/officeart/2005/8/layout/vList2"/>
    <dgm:cxn modelId="{8E2EC812-9FF9-44CA-98CD-2579BF1C444D}" srcId="{B465A83E-9777-4870-8DA1-16A4D912CDC9}" destId="{9B6D5483-9E04-44F2-9E15-3DDB8242463C}" srcOrd="4" destOrd="0" parTransId="{D55AFD0D-D37E-4485-8136-F97A97590230}" sibTransId="{4463F483-B450-4DBF-B559-D8B0C1932D41}"/>
    <dgm:cxn modelId="{FD98ED15-D196-4A26-9A06-2E2384992572}" srcId="{B465A83E-9777-4870-8DA1-16A4D912CDC9}" destId="{0BB9DB75-988B-4CC2-B913-73EBBC03AD9A}" srcOrd="6" destOrd="0" parTransId="{8D1D0E54-8D9D-4225-B898-E0876180AA38}" sibTransId="{31FC200B-C03D-42C5-8332-ABCEFCC96A38}"/>
    <dgm:cxn modelId="{B089D31A-EC4A-4DE3-99B9-F8017C25BA9B}" srcId="{B465A83E-9777-4870-8DA1-16A4D912CDC9}" destId="{A083D44D-5CF9-4471-AEF8-D45A8286105A}" srcOrd="2" destOrd="0" parTransId="{6838B87F-89DF-483C-B441-1D8700D5485F}" sibTransId="{A534209E-9A39-4196-9F8C-3BD9656DB0B0}"/>
    <dgm:cxn modelId="{2C5CE41C-7578-4BF1-A92A-F52D7D768ECF}" type="presOf" srcId="{12FFC310-9765-4745-9ADC-36E52D528868}" destId="{D12987BA-31CE-4995-8865-EEC26E3758B5}" srcOrd="0" destOrd="0" presId="urn:microsoft.com/office/officeart/2005/8/layout/vList2"/>
    <dgm:cxn modelId="{BCFC411E-9057-464B-8A55-65F9B15CE330}" type="presOf" srcId="{9D154740-F8DB-4DE8-8A57-FC861AF4287A}" destId="{F5FD4B30-F286-405B-ABD0-6F61C01B8781}" srcOrd="0" destOrd="0" presId="urn:microsoft.com/office/officeart/2005/8/layout/vList2"/>
    <dgm:cxn modelId="{2F657C23-8EBF-4F2F-B9A2-9F547DB4841B}" srcId="{B465A83E-9777-4870-8DA1-16A4D912CDC9}" destId="{12FFC310-9765-4745-9ADC-36E52D528868}" srcOrd="5" destOrd="0" parTransId="{E1183EAB-5CC2-46F9-A950-FF44C0768161}" sibTransId="{CD45016A-2B08-41FC-8C89-F0855F33A0DF}"/>
    <dgm:cxn modelId="{8AD5BD23-AE51-4360-B0B4-7CDF8238E38F}" type="presOf" srcId="{6FCD7B84-2188-4C30-A9C4-36B28CB31AF4}" destId="{6BC1908D-D1BC-4837-9548-9F0554F7D518}" srcOrd="0" destOrd="0" presId="urn:microsoft.com/office/officeart/2005/8/layout/vList2"/>
    <dgm:cxn modelId="{34901F69-DA45-4630-B4AC-FF8E1C35A4DF}" type="presOf" srcId="{A083D44D-5CF9-4471-AEF8-D45A8286105A}" destId="{B09008E1-F92E-4C03-B0BE-2ADE8CED9BCB}" srcOrd="0" destOrd="0" presId="urn:microsoft.com/office/officeart/2005/8/layout/vList2"/>
    <dgm:cxn modelId="{075EE66A-C28C-4DB0-8123-B73B7559C2A4}" srcId="{B465A83E-9777-4870-8DA1-16A4D912CDC9}" destId="{DA8A50D4-D171-429F-B5C7-56D6069C0645}" srcOrd="1" destOrd="0" parTransId="{4FF6BF77-43CB-4AC7-A8A8-066880EE4D55}" sibTransId="{03EE15B8-BE24-4355-A52A-43D1FE40C564}"/>
    <dgm:cxn modelId="{80266296-A938-4C76-B2D0-AA28056EAB96}" type="presOf" srcId="{0BB9DB75-988B-4CC2-B913-73EBBC03AD9A}" destId="{31A96D02-EBC4-4780-8C16-CDF2CB5C6C93}" srcOrd="0" destOrd="0" presId="urn:microsoft.com/office/officeart/2005/8/layout/vList2"/>
    <dgm:cxn modelId="{A1F1EC9D-BB65-4B8D-AFF1-ADE5214BCF9C}" type="presOf" srcId="{9B6D5483-9E04-44F2-9E15-3DDB8242463C}" destId="{699EF7DE-A8C8-47BF-BEC1-A84E07F94AEB}" srcOrd="0" destOrd="0" presId="urn:microsoft.com/office/officeart/2005/8/layout/vList2"/>
    <dgm:cxn modelId="{0E16C6D0-4666-4868-B20E-024D580BA29A}" srcId="{B465A83E-9777-4870-8DA1-16A4D912CDC9}" destId="{9D154740-F8DB-4DE8-8A57-FC861AF4287A}" srcOrd="3" destOrd="0" parTransId="{51411F00-588A-46C6-BA1B-60BC3863E42C}" sibTransId="{EBC6EB0E-E3A5-4246-8613-FD11E4BD68B3}"/>
    <dgm:cxn modelId="{3A74F5F4-515B-4500-846B-91903D1B38D8}" type="presOf" srcId="{B465A83E-9777-4870-8DA1-16A4D912CDC9}" destId="{713EAB00-27AD-4030-9492-1AE7D5A1764A}" srcOrd="0" destOrd="0" presId="urn:microsoft.com/office/officeart/2005/8/layout/vList2"/>
    <dgm:cxn modelId="{77AE4FFB-A5FF-40B2-B5FE-7780FE51C761}" srcId="{B465A83E-9777-4870-8DA1-16A4D912CDC9}" destId="{6FCD7B84-2188-4C30-A9C4-36B28CB31AF4}" srcOrd="0" destOrd="0" parTransId="{96BA0AAA-8714-424E-AF40-6C121D4B1A39}" sibTransId="{F322D00B-1F97-4AB1-8945-13C48D2F73FC}"/>
    <dgm:cxn modelId="{5C53C789-3B01-442F-891C-34CA7AAF9CCE}" type="presParOf" srcId="{713EAB00-27AD-4030-9492-1AE7D5A1764A}" destId="{6BC1908D-D1BC-4837-9548-9F0554F7D518}" srcOrd="0" destOrd="0" presId="urn:microsoft.com/office/officeart/2005/8/layout/vList2"/>
    <dgm:cxn modelId="{64AD37D5-1FCD-490A-9B85-35D9BD5CAAAD}" type="presParOf" srcId="{713EAB00-27AD-4030-9492-1AE7D5A1764A}" destId="{2546D923-88AB-414E-A666-86CD720E5B05}" srcOrd="1" destOrd="0" presId="urn:microsoft.com/office/officeart/2005/8/layout/vList2"/>
    <dgm:cxn modelId="{7CAB8ED1-E1B6-43F3-9143-0CB0F0D94EB7}" type="presParOf" srcId="{713EAB00-27AD-4030-9492-1AE7D5A1764A}" destId="{64E4ADC1-41EF-4410-B835-3428630F8027}" srcOrd="2" destOrd="0" presId="urn:microsoft.com/office/officeart/2005/8/layout/vList2"/>
    <dgm:cxn modelId="{AA9A5DDD-A140-42FD-A6F4-3D33FECD21B5}" type="presParOf" srcId="{713EAB00-27AD-4030-9492-1AE7D5A1764A}" destId="{CB64EA5C-0208-4CF2-A2A2-A8B9541BB823}" srcOrd="3" destOrd="0" presId="urn:microsoft.com/office/officeart/2005/8/layout/vList2"/>
    <dgm:cxn modelId="{CCBF358D-9629-49E2-A065-210681DB40B4}" type="presParOf" srcId="{713EAB00-27AD-4030-9492-1AE7D5A1764A}" destId="{B09008E1-F92E-4C03-B0BE-2ADE8CED9BCB}" srcOrd="4" destOrd="0" presId="urn:microsoft.com/office/officeart/2005/8/layout/vList2"/>
    <dgm:cxn modelId="{5BFBDDE0-8B83-449A-B17A-71991A4960B6}" type="presParOf" srcId="{713EAB00-27AD-4030-9492-1AE7D5A1764A}" destId="{BEF95A65-4FC3-4BA2-9C70-AF7B36E0CF94}" srcOrd="5" destOrd="0" presId="urn:microsoft.com/office/officeart/2005/8/layout/vList2"/>
    <dgm:cxn modelId="{FC71D21B-4F64-4FB7-ADA5-BBBB782090A5}" type="presParOf" srcId="{713EAB00-27AD-4030-9492-1AE7D5A1764A}" destId="{F5FD4B30-F286-405B-ABD0-6F61C01B8781}" srcOrd="6" destOrd="0" presId="urn:microsoft.com/office/officeart/2005/8/layout/vList2"/>
    <dgm:cxn modelId="{192C84D4-BD65-4213-BAAF-2E533C6DE515}" type="presParOf" srcId="{713EAB00-27AD-4030-9492-1AE7D5A1764A}" destId="{0598FD4F-4E8B-46C9-BCB0-4E51F27C0C7B}" srcOrd="7" destOrd="0" presId="urn:microsoft.com/office/officeart/2005/8/layout/vList2"/>
    <dgm:cxn modelId="{732F2E6A-15B7-4230-B9A1-72051B92C37E}" type="presParOf" srcId="{713EAB00-27AD-4030-9492-1AE7D5A1764A}" destId="{699EF7DE-A8C8-47BF-BEC1-A84E07F94AEB}" srcOrd="8" destOrd="0" presId="urn:microsoft.com/office/officeart/2005/8/layout/vList2"/>
    <dgm:cxn modelId="{7E771B08-D899-482F-A93A-C7B9077B73B6}" type="presParOf" srcId="{713EAB00-27AD-4030-9492-1AE7D5A1764A}" destId="{36602690-F425-47D8-BA18-92B1C32248C5}" srcOrd="9" destOrd="0" presId="urn:microsoft.com/office/officeart/2005/8/layout/vList2"/>
    <dgm:cxn modelId="{1D662343-293A-4F59-B60B-B2EC7509BAAF}" type="presParOf" srcId="{713EAB00-27AD-4030-9492-1AE7D5A1764A}" destId="{D12987BA-31CE-4995-8865-EEC26E3758B5}" srcOrd="10" destOrd="0" presId="urn:microsoft.com/office/officeart/2005/8/layout/vList2"/>
    <dgm:cxn modelId="{04257DE0-CF69-4FD5-B838-EE4880E24C6B}" type="presParOf" srcId="{713EAB00-27AD-4030-9492-1AE7D5A1764A}" destId="{CD7338FB-7973-44CA-B70D-008C8459E11C}" srcOrd="11" destOrd="0" presId="urn:microsoft.com/office/officeart/2005/8/layout/vList2"/>
    <dgm:cxn modelId="{40995177-57CD-4E63-888A-4FCD767A7E11}" type="presParOf" srcId="{713EAB00-27AD-4030-9492-1AE7D5A1764A}" destId="{31A96D02-EBC4-4780-8C16-CDF2CB5C6C93}" srcOrd="12"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1ACEF93-CE25-4683-AAB8-1C6195B3E765}" type="doc">
      <dgm:prSet loTypeId="urn:microsoft.com/office/officeart/2005/8/layout/pyramid1" loCatId="pyramid" qsTypeId="urn:microsoft.com/office/officeart/2005/8/quickstyle/simple1" qsCatId="simple" csTypeId="urn:microsoft.com/office/officeart/2005/8/colors/accent1_5" csCatId="accent1" phldr="1"/>
      <dgm:spPr/>
    </dgm:pt>
    <dgm:pt modelId="{75B75279-4C9C-474F-A732-F3BD80846048}">
      <dgm:prSet phldrT="[Text]"/>
      <dgm:spPr/>
      <dgm:t>
        <a:bodyPr/>
        <a:lstStyle/>
        <a:p>
          <a:pPr>
            <a:buFont typeface="Wingdings 2" pitchFamily="18" charset="2"/>
            <a:buNone/>
          </a:pPr>
          <a:r>
            <a:rPr lang="es-ES">
              <a:effectLst/>
              <a:latin typeface="Calibri" panose="020F0502020204030204" pitchFamily="34" charset="0"/>
              <a:ea typeface="Calibri" panose="020F0502020204030204" pitchFamily="34" charset="0"/>
              <a:cs typeface="Times New Roman" panose="02020603050405020304" pitchFamily="18" charset="0"/>
            </a:rPr>
            <a:t>Prueba de Sistema</a:t>
          </a:r>
          <a:endParaRPr lang="es-ES"/>
        </a:p>
      </dgm:t>
    </dgm:pt>
    <dgm:pt modelId="{F56C5AB9-4CF7-4AE8-9109-4E47BE3C0CF2}" type="parTrans" cxnId="{F0B373C7-27DA-4713-B24D-8B47BCB7BCA9}">
      <dgm:prSet/>
      <dgm:spPr/>
      <dgm:t>
        <a:bodyPr/>
        <a:lstStyle/>
        <a:p>
          <a:endParaRPr lang="es-ES"/>
        </a:p>
      </dgm:t>
    </dgm:pt>
    <dgm:pt modelId="{F515060B-12E4-4ED2-99F6-E070AAFFC541}" type="sibTrans" cxnId="{F0B373C7-27DA-4713-B24D-8B47BCB7BCA9}">
      <dgm:prSet/>
      <dgm:spPr/>
      <dgm:t>
        <a:bodyPr/>
        <a:lstStyle/>
        <a:p>
          <a:endParaRPr lang="es-ES"/>
        </a:p>
      </dgm:t>
    </dgm:pt>
    <dgm:pt modelId="{4AB1313E-0661-4AC1-B4D3-718BD46018E1}">
      <dgm:prSet phldrT="[Text]"/>
      <dgm:spPr/>
      <dgm:t>
        <a:bodyPr/>
        <a:lstStyle/>
        <a:p>
          <a:pPr>
            <a:buFont typeface="Wingdings 2" pitchFamily="18" charset="2"/>
            <a:buNone/>
          </a:pPr>
          <a:r>
            <a:rPr lang="es-ES">
              <a:effectLst/>
              <a:latin typeface="Calibri" panose="020F0502020204030204" pitchFamily="34" charset="0"/>
              <a:ea typeface="Calibri" panose="020F0502020204030204" pitchFamily="34" charset="0"/>
              <a:cs typeface="Times New Roman" panose="02020603050405020304" pitchFamily="18" charset="0"/>
            </a:rPr>
            <a:t>Prueba de Integración</a:t>
          </a:r>
          <a:endParaRPr lang="es-ES"/>
        </a:p>
      </dgm:t>
    </dgm:pt>
    <dgm:pt modelId="{D29A2122-6CEF-4319-9EE1-905AEFFD9AB4}" type="parTrans" cxnId="{38CD44C6-5693-4F00-8789-DE5B9CDDD720}">
      <dgm:prSet/>
      <dgm:spPr/>
      <dgm:t>
        <a:bodyPr/>
        <a:lstStyle/>
        <a:p>
          <a:endParaRPr lang="es-ES"/>
        </a:p>
      </dgm:t>
    </dgm:pt>
    <dgm:pt modelId="{32FA1AE9-9AFB-4814-AF4B-55612558D3B7}" type="sibTrans" cxnId="{38CD44C6-5693-4F00-8789-DE5B9CDDD720}">
      <dgm:prSet/>
      <dgm:spPr/>
      <dgm:t>
        <a:bodyPr/>
        <a:lstStyle/>
        <a:p>
          <a:endParaRPr lang="es-ES"/>
        </a:p>
      </dgm:t>
    </dgm:pt>
    <dgm:pt modelId="{26DFF255-DB9C-47AC-85AA-057EC1D4E8BD}">
      <dgm:prSet phldrT="[Text]"/>
      <dgm:spPr/>
      <dgm:t>
        <a:bodyPr/>
        <a:lstStyle/>
        <a:p>
          <a:pPr>
            <a:buFont typeface="Wingdings 2" pitchFamily="18" charset="2"/>
            <a:buNone/>
          </a:pPr>
          <a:r>
            <a:rPr lang="es-ES">
              <a:effectLst/>
              <a:latin typeface="Calibri" panose="020F0502020204030204" pitchFamily="34" charset="0"/>
              <a:ea typeface="Calibri" panose="020F0502020204030204" pitchFamily="34" charset="0"/>
              <a:cs typeface="Times New Roman" panose="02020603050405020304" pitchFamily="18" charset="0"/>
            </a:rPr>
            <a:t>Prueba Unitaria</a:t>
          </a:r>
          <a:endParaRPr lang="es-ES"/>
        </a:p>
      </dgm:t>
    </dgm:pt>
    <dgm:pt modelId="{00AF8C4B-12EF-49EE-86D3-A5167208384D}" type="parTrans" cxnId="{54008DBB-9565-4009-A59C-7680A5F9F1DF}">
      <dgm:prSet/>
      <dgm:spPr/>
      <dgm:t>
        <a:bodyPr/>
        <a:lstStyle/>
        <a:p>
          <a:endParaRPr lang="es-ES"/>
        </a:p>
      </dgm:t>
    </dgm:pt>
    <dgm:pt modelId="{BC15450A-F4D9-4AF6-A683-A49E5F05A063}" type="sibTrans" cxnId="{54008DBB-9565-4009-A59C-7680A5F9F1DF}">
      <dgm:prSet/>
      <dgm:spPr/>
      <dgm:t>
        <a:bodyPr/>
        <a:lstStyle/>
        <a:p>
          <a:endParaRPr lang="es-ES"/>
        </a:p>
      </dgm:t>
    </dgm:pt>
    <dgm:pt modelId="{610D3D17-9F20-4344-9E61-68AD9AD9ADC9}" type="pres">
      <dgm:prSet presAssocID="{11ACEF93-CE25-4683-AAB8-1C6195B3E765}" presName="Name0" presStyleCnt="0">
        <dgm:presLayoutVars>
          <dgm:dir/>
          <dgm:animLvl val="lvl"/>
          <dgm:resizeHandles val="exact"/>
        </dgm:presLayoutVars>
      </dgm:prSet>
      <dgm:spPr/>
    </dgm:pt>
    <dgm:pt modelId="{AFA6C03B-C9F7-42FC-AF80-23EAB715E88B}" type="pres">
      <dgm:prSet presAssocID="{75B75279-4C9C-474F-A732-F3BD80846048}" presName="Name8" presStyleCnt="0"/>
      <dgm:spPr/>
    </dgm:pt>
    <dgm:pt modelId="{A456141E-E6B0-42FD-AB9C-34F3F14EA0E4}" type="pres">
      <dgm:prSet presAssocID="{75B75279-4C9C-474F-A732-F3BD80846048}" presName="level" presStyleLbl="node1" presStyleIdx="0" presStyleCnt="3">
        <dgm:presLayoutVars>
          <dgm:chMax val="1"/>
          <dgm:bulletEnabled val="1"/>
        </dgm:presLayoutVars>
      </dgm:prSet>
      <dgm:spPr/>
    </dgm:pt>
    <dgm:pt modelId="{3A423B24-B27A-455D-B7D5-0FA289F38D87}" type="pres">
      <dgm:prSet presAssocID="{75B75279-4C9C-474F-A732-F3BD80846048}" presName="levelTx" presStyleLbl="revTx" presStyleIdx="0" presStyleCnt="0">
        <dgm:presLayoutVars>
          <dgm:chMax val="1"/>
          <dgm:bulletEnabled val="1"/>
        </dgm:presLayoutVars>
      </dgm:prSet>
      <dgm:spPr/>
    </dgm:pt>
    <dgm:pt modelId="{4FC3B207-9E78-48C9-AD25-E7E6C7333734}" type="pres">
      <dgm:prSet presAssocID="{4AB1313E-0661-4AC1-B4D3-718BD46018E1}" presName="Name8" presStyleCnt="0"/>
      <dgm:spPr/>
    </dgm:pt>
    <dgm:pt modelId="{7BD1A4B7-3EA0-4AB0-A278-B184FA556A45}" type="pres">
      <dgm:prSet presAssocID="{4AB1313E-0661-4AC1-B4D3-718BD46018E1}" presName="level" presStyleLbl="node1" presStyleIdx="1" presStyleCnt="3">
        <dgm:presLayoutVars>
          <dgm:chMax val="1"/>
          <dgm:bulletEnabled val="1"/>
        </dgm:presLayoutVars>
      </dgm:prSet>
      <dgm:spPr/>
    </dgm:pt>
    <dgm:pt modelId="{1FCE065B-00B1-4840-BAD9-667520EF51C4}" type="pres">
      <dgm:prSet presAssocID="{4AB1313E-0661-4AC1-B4D3-718BD46018E1}" presName="levelTx" presStyleLbl="revTx" presStyleIdx="0" presStyleCnt="0">
        <dgm:presLayoutVars>
          <dgm:chMax val="1"/>
          <dgm:bulletEnabled val="1"/>
        </dgm:presLayoutVars>
      </dgm:prSet>
      <dgm:spPr/>
    </dgm:pt>
    <dgm:pt modelId="{1764CAA0-884D-4901-A701-BC451A52D35A}" type="pres">
      <dgm:prSet presAssocID="{26DFF255-DB9C-47AC-85AA-057EC1D4E8BD}" presName="Name8" presStyleCnt="0"/>
      <dgm:spPr/>
    </dgm:pt>
    <dgm:pt modelId="{A34C9DCC-A09D-400F-9F75-7B27F1A429A5}" type="pres">
      <dgm:prSet presAssocID="{26DFF255-DB9C-47AC-85AA-057EC1D4E8BD}" presName="level" presStyleLbl="node1" presStyleIdx="2" presStyleCnt="3">
        <dgm:presLayoutVars>
          <dgm:chMax val="1"/>
          <dgm:bulletEnabled val="1"/>
        </dgm:presLayoutVars>
      </dgm:prSet>
      <dgm:spPr/>
    </dgm:pt>
    <dgm:pt modelId="{5ECCCC89-BEBC-46AB-AE2F-628506E31CAC}" type="pres">
      <dgm:prSet presAssocID="{26DFF255-DB9C-47AC-85AA-057EC1D4E8BD}" presName="levelTx" presStyleLbl="revTx" presStyleIdx="0" presStyleCnt="0">
        <dgm:presLayoutVars>
          <dgm:chMax val="1"/>
          <dgm:bulletEnabled val="1"/>
        </dgm:presLayoutVars>
      </dgm:prSet>
      <dgm:spPr/>
    </dgm:pt>
  </dgm:ptLst>
  <dgm:cxnLst>
    <dgm:cxn modelId="{D11D2D41-CAAA-4F95-8FC6-29C9DC923098}" type="presOf" srcId="{26DFF255-DB9C-47AC-85AA-057EC1D4E8BD}" destId="{5ECCCC89-BEBC-46AB-AE2F-628506E31CAC}" srcOrd="1" destOrd="0" presId="urn:microsoft.com/office/officeart/2005/8/layout/pyramid1"/>
    <dgm:cxn modelId="{0DE2EA49-89B0-4E59-BFF2-6A8C1240CFA8}" type="presOf" srcId="{4AB1313E-0661-4AC1-B4D3-718BD46018E1}" destId="{7BD1A4B7-3EA0-4AB0-A278-B184FA556A45}" srcOrd="0" destOrd="0" presId="urn:microsoft.com/office/officeart/2005/8/layout/pyramid1"/>
    <dgm:cxn modelId="{E73BC374-BB2E-4C4F-940F-CFBDFAF57581}" type="presOf" srcId="{75B75279-4C9C-474F-A732-F3BD80846048}" destId="{A456141E-E6B0-42FD-AB9C-34F3F14EA0E4}" srcOrd="0" destOrd="0" presId="urn:microsoft.com/office/officeart/2005/8/layout/pyramid1"/>
    <dgm:cxn modelId="{7BF0FC83-ED2F-4275-89EF-F9B16A4231D0}" type="presOf" srcId="{75B75279-4C9C-474F-A732-F3BD80846048}" destId="{3A423B24-B27A-455D-B7D5-0FA289F38D87}" srcOrd="1" destOrd="0" presId="urn:microsoft.com/office/officeart/2005/8/layout/pyramid1"/>
    <dgm:cxn modelId="{E4834EB6-D105-4D56-9B7D-788B2CAA4D6A}" type="presOf" srcId="{4AB1313E-0661-4AC1-B4D3-718BD46018E1}" destId="{1FCE065B-00B1-4840-BAD9-667520EF51C4}" srcOrd="1" destOrd="0" presId="urn:microsoft.com/office/officeart/2005/8/layout/pyramid1"/>
    <dgm:cxn modelId="{54008DBB-9565-4009-A59C-7680A5F9F1DF}" srcId="{11ACEF93-CE25-4683-AAB8-1C6195B3E765}" destId="{26DFF255-DB9C-47AC-85AA-057EC1D4E8BD}" srcOrd="2" destOrd="0" parTransId="{00AF8C4B-12EF-49EE-86D3-A5167208384D}" sibTransId="{BC15450A-F4D9-4AF6-A683-A49E5F05A063}"/>
    <dgm:cxn modelId="{38CD44C6-5693-4F00-8789-DE5B9CDDD720}" srcId="{11ACEF93-CE25-4683-AAB8-1C6195B3E765}" destId="{4AB1313E-0661-4AC1-B4D3-718BD46018E1}" srcOrd="1" destOrd="0" parTransId="{D29A2122-6CEF-4319-9EE1-905AEFFD9AB4}" sibTransId="{32FA1AE9-9AFB-4814-AF4B-55612558D3B7}"/>
    <dgm:cxn modelId="{F0B373C7-27DA-4713-B24D-8B47BCB7BCA9}" srcId="{11ACEF93-CE25-4683-AAB8-1C6195B3E765}" destId="{75B75279-4C9C-474F-A732-F3BD80846048}" srcOrd="0" destOrd="0" parTransId="{F56C5AB9-4CF7-4AE8-9109-4E47BE3C0CF2}" sibTransId="{F515060B-12E4-4ED2-99F6-E070AAFFC541}"/>
    <dgm:cxn modelId="{61EEDED7-7CCC-4972-8968-4FE4ABB89B5E}" type="presOf" srcId="{26DFF255-DB9C-47AC-85AA-057EC1D4E8BD}" destId="{A34C9DCC-A09D-400F-9F75-7B27F1A429A5}" srcOrd="0" destOrd="0" presId="urn:microsoft.com/office/officeart/2005/8/layout/pyramid1"/>
    <dgm:cxn modelId="{42D4ACF8-7FA9-4FFC-AC87-C99DF34C676F}" type="presOf" srcId="{11ACEF93-CE25-4683-AAB8-1C6195B3E765}" destId="{610D3D17-9F20-4344-9E61-68AD9AD9ADC9}" srcOrd="0" destOrd="0" presId="urn:microsoft.com/office/officeart/2005/8/layout/pyramid1"/>
    <dgm:cxn modelId="{95E3AFDE-61BF-4403-8CD6-18D952388344}" type="presParOf" srcId="{610D3D17-9F20-4344-9E61-68AD9AD9ADC9}" destId="{AFA6C03B-C9F7-42FC-AF80-23EAB715E88B}" srcOrd="0" destOrd="0" presId="urn:microsoft.com/office/officeart/2005/8/layout/pyramid1"/>
    <dgm:cxn modelId="{1937F774-CA01-4268-BE1C-A4952CB9D84A}" type="presParOf" srcId="{AFA6C03B-C9F7-42FC-AF80-23EAB715E88B}" destId="{A456141E-E6B0-42FD-AB9C-34F3F14EA0E4}" srcOrd="0" destOrd="0" presId="urn:microsoft.com/office/officeart/2005/8/layout/pyramid1"/>
    <dgm:cxn modelId="{F2647100-674C-46C7-A278-6BC8DFB531AA}" type="presParOf" srcId="{AFA6C03B-C9F7-42FC-AF80-23EAB715E88B}" destId="{3A423B24-B27A-455D-B7D5-0FA289F38D87}" srcOrd="1" destOrd="0" presId="urn:microsoft.com/office/officeart/2005/8/layout/pyramid1"/>
    <dgm:cxn modelId="{389991C6-B026-454E-BC72-89284FA9C229}" type="presParOf" srcId="{610D3D17-9F20-4344-9E61-68AD9AD9ADC9}" destId="{4FC3B207-9E78-48C9-AD25-E7E6C7333734}" srcOrd="1" destOrd="0" presId="urn:microsoft.com/office/officeart/2005/8/layout/pyramid1"/>
    <dgm:cxn modelId="{C74C9D73-F13F-4F4F-BF91-D75745C6FCBC}" type="presParOf" srcId="{4FC3B207-9E78-48C9-AD25-E7E6C7333734}" destId="{7BD1A4B7-3EA0-4AB0-A278-B184FA556A45}" srcOrd="0" destOrd="0" presId="urn:microsoft.com/office/officeart/2005/8/layout/pyramid1"/>
    <dgm:cxn modelId="{485054A2-8AFE-4166-B8F7-612F484469DC}" type="presParOf" srcId="{4FC3B207-9E78-48C9-AD25-E7E6C7333734}" destId="{1FCE065B-00B1-4840-BAD9-667520EF51C4}" srcOrd="1" destOrd="0" presId="urn:microsoft.com/office/officeart/2005/8/layout/pyramid1"/>
    <dgm:cxn modelId="{FA85AFB8-2EFF-4493-B031-8B560E700689}" type="presParOf" srcId="{610D3D17-9F20-4344-9E61-68AD9AD9ADC9}" destId="{1764CAA0-884D-4901-A701-BC451A52D35A}" srcOrd="2" destOrd="0" presId="urn:microsoft.com/office/officeart/2005/8/layout/pyramid1"/>
    <dgm:cxn modelId="{C064BD66-8BBA-4056-9AEE-F01A29A50C36}" type="presParOf" srcId="{1764CAA0-884D-4901-A701-BC451A52D35A}" destId="{A34C9DCC-A09D-400F-9F75-7B27F1A429A5}" srcOrd="0" destOrd="0" presId="urn:microsoft.com/office/officeart/2005/8/layout/pyramid1"/>
    <dgm:cxn modelId="{2984D3D0-7C18-4E26-A472-D0C09308DEBD}" type="presParOf" srcId="{1764CAA0-884D-4901-A701-BC451A52D35A}" destId="{5ECCCC89-BEBC-46AB-AE2F-628506E31CAC}" srcOrd="1" destOrd="0" presId="urn:microsoft.com/office/officeart/2005/8/layout/pyramid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4B9F0D9-E5DE-4B65-8AC9-66E7D5EF9793}"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s-ES"/>
        </a:p>
      </dgm:t>
    </dgm:pt>
    <dgm:pt modelId="{77EC4E59-E58B-4DA3-BC2D-EBB71D070159}">
      <dgm:prSet phldrT="[Text]"/>
      <dgm:spPr/>
      <dgm:t>
        <a:bodyPr/>
        <a:lstStyle/>
        <a:p>
          <a:pPr>
            <a:buFont typeface="Wingdings" panose="05000000000000000000" pitchFamily="2" charset="2"/>
            <a:buChar char="Ø"/>
          </a:pPr>
          <a:r>
            <a:rPr lang="es-ES">
              <a:latin typeface="Calibri" panose="020F0502020204030204" pitchFamily="34" charset="0"/>
              <a:cs typeface="Times New Roman" panose="02020603050405020304" pitchFamily="18" charset="0"/>
            </a:rPr>
            <a:t>Las historias de usuario seleccionadas para la iteración están completas, son entendidas por el equipo y tienen criterios de aceptación detallados y que pueden ser probados.</a:t>
          </a:r>
          <a:endParaRPr lang="es-ES"/>
        </a:p>
      </dgm:t>
    </dgm:pt>
    <dgm:pt modelId="{2815D4BC-C741-4C98-8D61-3D3BA4D86909}" type="parTrans" cxnId="{0CEA05B3-561A-4243-9C99-AF8C507534A1}">
      <dgm:prSet/>
      <dgm:spPr/>
      <dgm:t>
        <a:bodyPr/>
        <a:lstStyle/>
        <a:p>
          <a:endParaRPr lang="es-ES"/>
        </a:p>
      </dgm:t>
    </dgm:pt>
    <dgm:pt modelId="{9E00B0E5-5FC5-47D8-A708-A2F6DFE87D4D}" type="sibTrans" cxnId="{0CEA05B3-561A-4243-9C99-AF8C507534A1}">
      <dgm:prSet/>
      <dgm:spPr/>
      <dgm:t>
        <a:bodyPr/>
        <a:lstStyle/>
        <a:p>
          <a:endParaRPr lang="es-ES"/>
        </a:p>
      </dgm:t>
    </dgm:pt>
    <dgm:pt modelId="{33267F5A-1D7C-4E09-AA93-CC2E125FAE2A}">
      <dgm:prSet/>
      <dgm:spPr/>
      <dgm:t>
        <a:bodyPr/>
        <a:lstStyle/>
        <a:p>
          <a:r>
            <a:rPr lang="es-ES">
              <a:latin typeface="Calibri" panose="020F0502020204030204" pitchFamily="34" charset="0"/>
              <a:cs typeface="Times New Roman" panose="02020603050405020304" pitchFamily="18" charset="0"/>
            </a:rPr>
            <a:t>Se han especificado y revisado todos los elementos de la historia de usuario, incluidas las pruebas de aceptación de la historia de usuario.</a:t>
          </a:r>
        </a:p>
      </dgm:t>
    </dgm:pt>
    <dgm:pt modelId="{D599013D-BC43-40D8-85C6-532FFC7DBC13}" type="parTrans" cxnId="{5C817565-E522-4FC1-9F31-73A1365F4697}">
      <dgm:prSet/>
      <dgm:spPr/>
      <dgm:t>
        <a:bodyPr/>
        <a:lstStyle/>
        <a:p>
          <a:endParaRPr lang="es-ES"/>
        </a:p>
      </dgm:t>
    </dgm:pt>
    <dgm:pt modelId="{E392854A-170B-4237-8BB3-0F1B69DF975F}" type="sibTrans" cxnId="{5C817565-E522-4FC1-9F31-73A1365F4697}">
      <dgm:prSet/>
      <dgm:spPr/>
      <dgm:t>
        <a:bodyPr/>
        <a:lstStyle/>
        <a:p>
          <a:endParaRPr lang="es-ES"/>
        </a:p>
      </dgm:t>
    </dgm:pt>
    <dgm:pt modelId="{9C8524D1-EA3B-4608-8618-C0611AB054D7}">
      <dgm:prSet/>
      <dgm:spPr/>
      <dgm:t>
        <a:bodyPr/>
        <a:lstStyle/>
        <a:p>
          <a:r>
            <a:rPr lang="es-ES">
              <a:latin typeface="Calibri" panose="020F0502020204030204" pitchFamily="34" charset="0"/>
              <a:cs typeface="Times New Roman" panose="02020603050405020304" pitchFamily="18" charset="0"/>
            </a:rPr>
            <a:t>Las tareas necesarias para implementar y probar las historias de usuario seleccionadas han sido identificadas y estimadas por el equipo</a:t>
          </a:r>
          <a:endParaRPr lang="es-ES"/>
        </a:p>
      </dgm:t>
    </dgm:pt>
    <dgm:pt modelId="{083FE156-05C9-49F7-BFC8-6DBFB393AB6C}" type="parTrans" cxnId="{F7EBE0A2-007D-4E17-9548-17D59777BD0D}">
      <dgm:prSet/>
      <dgm:spPr/>
      <dgm:t>
        <a:bodyPr/>
        <a:lstStyle/>
        <a:p>
          <a:endParaRPr lang="es-ES"/>
        </a:p>
      </dgm:t>
    </dgm:pt>
    <dgm:pt modelId="{5B0835BB-039A-45C0-806D-0E15545EB972}" type="sibTrans" cxnId="{F7EBE0A2-007D-4E17-9548-17D59777BD0D}">
      <dgm:prSet/>
      <dgm:spPr/>
      <dgm:t>
        <a:bodyPr/>
        <a:lstStyle/>
        <a:p>
          <a:endParaRPr lang="es-ES"/>
        </a:p>
      </dgm:t>
    </dgm:pt>
    <dgm:pt modelId="{5F2A8819-1825-47A8-8BAA-EED85966DF60}" type="pres">
      <dgm:prSet presAssocID="{C4B9F0D9-E5DE-4B65-8AC9-66E7D5EF9793}" presName="linear" presStyleCnt="0">
        <dgm:presLayoutVars>
          <dgm:animLvl val="lvl"/>
          <dgm:resizeHandles val="exact"/>
        </dgm:presLayoutVars>
      </dgm:prSet>
      <dgm:spPr/>
    </dgm:pt>
    <dgm:pt modelId="{752A2507-1144-4875-92BF-3D3D66A9A7F4}" type="pres">
      <dgm:prSet presAssocID="{77EC4E59-E58B-4DA3-BC2D-EBB71D070159}" presName="parentText" presStyleLbl="node1" presStyleIdx="0" presStyleCnt="3">
        <dgm:presLayoutVars>
          <dgm:chMax val="0"/>
          <dgm:bulletEnabled val="1"/>
        </dgm:presLayoutVars>
      </dgm:prSet>
      <dgm:spPr/>
    </dgm:pt>
    <dgm:pt modelId="{2831E7D5-6A2A-4279-8649-693C7D37D440}" type="pres">
      <dgm:prSet presAssocID="{9E00B0E5-5FC5-47D8-A708-A2F6DFE87D4D}" presName="spacer" presStyleCnt="0"/>
      <dgm:spPr/>
    </dgm:pt>
    <dgm:pt modelId="{AE5675A9-64AF-4463-9784-713B499BA471}" type="pres">
      <dgm:prSet presAssocID="{33267F5A-1D7C-4E09-AA93-CC2E125FAE2A}" presName="parentText" presStyleLbl="node1" presStyleIdx="1" presStyleCnt="3">
        <dgm:presLayoutVars>
          <dgm:chMax val="0"/>
          <dgm:bulletEnabled val="1"/>
        </dgm:presLayoutVars>
      </dgm:prSet>
      <dgm:spPr/>
    </dgm:pt>
    <dgm:pt modelId="{8280A1F4-4B12-46B0-A3DB-0163686F4B78}" type="pres">
      <dgm:prSet presAssocID="{E392854A-170B-4237-8BB3-0F1B69DF975F}" presName="spacer" presStyleCnt="0"/>
      <dgm:spPr/>
    </dgm:pt>
    <dgm:pt modelId="{254E55A0-4E34-4476-92F6-60411B8B34E4}" type="pres">
      <dgm:prSet presAssocID="{9C8524D1-EA3B-4608-8618-C0611AB054D7}" presName="parentText" presStyleLbl="node1" presStyleIdx="2" presStyleCnt="3">
        <dgm:presLayoutVars>
          <dgm:chMax val="0"/>
          <dgm:bulletEnabled val="1"/>
        </dgm:presLayoutVars>
      </dgm:prSet>
      <dgm:spPr/>
    </dgm:pt>
  </dgm:ptLst>
  <dgm:cxnLst>
    <dgm:cxn modelId="{485B0506-1403-459B-8254-0579AE583445}" type="presOf" srcId="{9C8524D1-EA3B-4608-8618-C0611AB054D7}" destId="{254E55A0-4E34-4476-92F6-60411B8B34E4}" srcOrd="0" destOrd="0" presId="urn:microsoft.com/office/officeart/2005/8/layout/vList2"/>
    <dgm:cxn modelId="{2C1DD90B-A705-4F7A-9812-6338ACBA7301}" type="presOf" srcId="{77EC4E59-E58B-4DA3-BC2D-EBB71D070159}" destId="{752A2507-1144-4875-92BF-3D3D66A9A7F4}" srcOrd="0" destOrd="0" presId="urn:microsoft.com/office/officeart/2005/8/layout/vList2"/>
    <dgm:cxn modelId="{2A523E1B-0EA9-47C6-9667-BBFDAFB5BB22}" type="presOf" srcId="{C4B9F0D9-E5DE-4B65-8AC9-66E7D5EF9793}" destId="{5F2A8819-1825-47A8-8BAA-EED85966DF60}" srcOrd="0" destOrd="0" presId="urn:microsoft.com/office/officeart/2005/8/layout/vList2"/>
    <dgm:cxn modelId="{5C817565-E522-4FC1-9F31-73A1365F4697}" srcId="{C4B9F0D9-E5DE-4B65-8AC9-66E7D5EF9793}" destId="{33267F5A-1D7C-4E09-AA93-CC2E125FAE2A}" srcOrd="1" destOrd="0" parTransId="{D599013D-BC43-40D8-85C6-532FFC7DBC13}" sibTransId="{E392854A-170B-4237-8BB3-0F1B69DF975F}"/>
    <dgm:cxn modelId="{D23FF04B-FF67-4A46-B886-3753C4C89AA5}" type="presOf" srcId="{33267F5A-1D7C-4E09-AA93-CC2E125FAE2A}" destId="{AE5675A9-64AF-4463-9784-713B499BA471}" srcOrd="0" destOrd="0" presId="urn:microsoft.com/office/officeart/2005/8/layout/vList2"/>
    <dgm:cxn modelId="{F7EBE0A2-007D-4E17-9548-17D59777BD0D}" srcId="{C4B9F0D9-E5DE-4B65-8AC9-66E7D5EF9793}" destId="{9C8524D1-EA3B-4608-8618-C0611AB054D7}" srcOrd="2" destOrd="0" parTransId="{083FE156-05C9-49F7-BFC8-6DBFB393AB6C}" sibTransId="{5B0835BB-039A-45C0-806D-0E15545EB972}"/>
    <dgm:cxn modelId="{0CEA05B3-561A-4243-9C99-AF8C507534A1}" srcId="{C4B9F0D9-E5DE-4B65-8AC9-66E7D5EF9793}" destId="{77EC4E59-E58B-4DA3-BC2D-EBB71D070159}" srcOrd="0" destOrd="0" parTransId="{2815D4BC-C741-4C98-8D61-3D3BA4D86909}" sibTransId="{9E00B0E5-5FC5-47D8-A708-A2F6DFE87D4D}"/>
    <dgm:cxn modelId="{7494C665-2B5E-4ACC-9DE6-3999636FD877}" type="presParOf" srcId="{5F2A8819-1825-47A8-8BAA-EED85966DF60}" destId="{752A2507-1144-4875-92BF-3D3D66A9A7F4}" srcOrd="0" destOrd="0" presId="urn:microsoft.com/office/officeart/2005/8/layout/vList2"/>
    <dgm:cxn modelId="{09B116E2-8468-4D23-9001-247620B8AE2E}" type="presParOf" srcId="{5F2A8819-1825-47A8-8BAA-EED85966DF60}" destId="{2831E7D5-6A2A-4279-8649-693C7D37D440}" srcOrd="1" destOrd="0" presId="urn:microsoft.com/office/officeart/2005/8/layout/vList2"/>
    <dgm:cxn modelId="{B736AA69-DDC0-44B4-8BA8-03AA1F9B4DD4}" type="presParOf" srcId="{5F2A8819-1825-47A8-8BAA-EED85966DF60}" destId="{AE5675A9-64AF-4463-9784-713B499BA471}" srcOrd="2" destOrd="0" presId="urn:microsoft.com/office/officeart/2005/8/layout/vList2"/>
    <dgm:cxn modelId="{81955A4C-5C78-4A8A-B955-403BD61A1117}" type="presParOf" srcId="{5F2A8819-1825-47A8-8BAA-EED85966DF60}" destId="{8280A1F4-4B12-46B0-A3DB-0163686F4B78}" srcOrd="3" destOrd="0" presId="urn:microsoft.com/office/officeart/2005/8/layout/vList2"/>
    <dgm:cxn modelId="{E441E7AC-77A7-4F02-A8FA-83AC0416120F}" type="presParOf" srcId="{5F2A8819-1825-47A8-8BAA-EED85966DF60}" destId="{254E55A0-4E34-4476-92F6-60411B8B34E4}" srcOrd="4"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BA757D9-DD5C-4A0D-A567-A58BDB8994F2}"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s-ES"/>
        </a:p>
      </dgm:t>
    </dgm:pt>
    <dgm:pt modelId="{0E2C166C-CD5E-4A03-BC52-C90B9F1367B1}">
      <dgm:prSet phldrT="[Text]"/>
      <dgm:spPr/>
      <dgm:t>
        <a:bodyPr/>
        <a:lstStyle/>
        <a:p>
          <a:pPr>
            <a:buFont typeface="Wingdings" panose="05000000000000000000" pitchFamily="2" charset="2"/>
            <a:buChar char="§"/>
          </a:pPr>
          <a:r>
            <a:rPr lang="es-ES">
              <a:latin typeface="Calibri" panose="020F0502020204030204" pitchFamily="34" charset="0"/>
              <a:cs typeface="Times New Roman" panose="02020603050405020304" pitchFamily="18" charset="0"/>
            </a:rPr>
            <a:t>Todas las historias de usuario que la componen, con criterios de aceptación, están definidas y aprobadas por el cliente.</a:t>
          </a:r>
          <a:endParaRPr lang="es-ES"/>
        </a:p>
      </dgm:t>
    </dgm:pt>
    <dgm:pt modelId="{C4DB5EA1-B533-4641-AE48-818CA74A21AB}" type="parTrans" cxnId="{ADA3CF7E-3CF9-4201-AB6C-198CF62AA84E}">
      <dgm:prSet/>
      <dgm:spPr/>
      <dgm:t>
        <a:bodyPr/>
        <a:lstStyle/>
        <a:p>
          <a:endParaRPr lang="es-ES"/>
        </a:p>
      </dgm:t>
    </dgm:pt>
    <dgm:pt modelId="{4898BF28-DD3B-4A05-A483-5775BA7898DF}" type="sibTrans" cxnId="{ADA3CF7E-3CF9-4201-AB6C-198CF62AA84E}">
      <dgm:prSet/>
      <dgm:spPr/>
      <dgm:t>
        <a:bodyPr/>
        <a:lstStyle/>
        <a:p>
          <a:endParaRPr lang="es-ES"/>
        </a:p>
      </dgm:t>
    </dgm:pt>
    <dgm:pt modelId="{BF550EC3-AAAD-4D74-A927-C75B94A45694}">
      <dgm:prSet/>
      <dgm:spPr/>
      <dgm:t>
        <a:bodyPr/>
        <a:lstStyle/>
        <a:p>
          <a:r>
            <a:rPr lang="es-ES">
              <a:latin typeface="Calibri" panose="020F0502020204030204" pitchFamily="34" charset="0"/>
              <a:cs typeface="Times New Roman" panose="02020603050405020304" pitchFamily="18" charset="0"/>
            </a:rPr>
            <a:t>El diseño está completo, sin deuda técnica conocida.</a:t>
          </a:r>
        </a:p>
      </dgm:t>
    </dgm:pt>
    <dgm:pt modelId="{3AA649FE-236A-4A79-9919-93B07B8392E7}" type="parTrans" cxnId="{79A64AE4-8369-46FE-A634-0F25061E2B62}">
      <dgm:prSet/>
      <dgm:spPr/>
      <dgm:t>
        <a:bodyPr/>
        <a:lstStyle/>
        <a:p>
          <a:endParaRPr lang="es-ES"/>
        </a:p>
      </dgm:t>
    </dgm:pt>
    <dgm:pt modelId="{90C86B11-8A1D-4FBA-8A5C-FF522921AC3D}" type="sibTrans" cxnId="{79A64AE4-8369-46FE-A634-0F25061E2B62}">
      <dgm:prSet/>
      <dgm:spPr/>
      <dgm:t>
        <a:bodyPr/>
        <a:lstStyle/>
        <a:p>
          <a:endParaRPr lang="es-ES"/>
        </a:p>
      </dgm:t>
    </dgm:pt>
    <dgm:pt modelId="{AB48FFA5-C8E8-4CDC-8386-8BAD3950AB6B}">
      <dgm:prSet/>
      <dgm:spPr/>
      <dgm:t>
        <a:bodyPr/>
        <a:lstStyle/>
        <a:p>
          <a:r>
            <a:rPr lang="es-ES">
              <a:latin typeface="Calibri" panose="020F0502020204030204" pitchFamily="34" charset="0"/>
              <a:cs typeface="Times New Roman" panose="02020603050405020304" pitchFamily="18" charset="0"/>
            </a:rPr>
            <a:t>El código está completo, sin deuda técnica conocida ni refactorización inacabada.</a:t>
          </a:r>
        </a:p>
      </dgm:t>
    </dgm:pt>
    <dgm:pt modelId="{89A07E54-4078-44CF-812B-AB55BE9F62E6}" type="parTrans" cxnId="{D35189D4-A429-42D6-B546-F80070D6AFC1}">
      <dgm:prSet/>
      <dgm:spPr/>
      <dgm:t>
        <a:bodyPr/>
        <a:lstStyle/>
        <a:p>
          <a:endParaRPr lang="es-ES"/>
        </a:p>
      </dgm:t>
    </dgm:pt>
    <dgm:pt modelId="{592D8DF0-C238-42A3-A7FC-AD4FD9058B18}" type="sibTrans" cxnId="{D35189D4-A429-42D6-B546-F80070D6AFC1}">
      <dgm:prSet/>
      <dgm:spPr/>
      <dgm:t>
        <a:bodyPr/>
        <a:lstStyle/>
        <a:p>
          <a:endParaRPr lang="es-ES"/>
        </a:p>
      </dgm:t>
    </dgm:pt>
    <dgm:pt modelId="{C4A3E35C-CCF9-440C-A581-F18CF0328C07}">
      <dgm:prSet/>
      <dgm:spPr/>
      <dgm:t>
        <a:bodyPr/>
        <a:lstStyle/>
        <a:p>
          <a:r>
            <a:rPr lang="es-ES">
              <a:latin typeface="Calibri" panose="020F0502020204030204" pitchFamily="34" charset="0"/>
              <a:cs typeface="Times New Roman" panose="02020603050405020304" pitchFamily="18" charset="0"/>
            </a:rPr>
            <a:t>Se ha realizado la prueba unitaria y se ha alcanzado el nivel de cobertura definido.</a:t>
          </a:r>
        </a:p>
      </dgm:t>
    </dgm:pt>
    <dgm:pt modelId="{87F03D06-548A-477A-856D-6DF81B986F20}" type="parTrans" cxnId="{9EB5F45B-F63F-4907-9690-207E8ECD06C7}">
      <dgm:prSet/>
      <dgm:spPr/>
      <dgm:t>
        <a:bodyPr/>
        <a:lstStyle/>
        <a:p>
          <a:endParaRPr lang="es-ES"/>
        </a:p>
      </dgm:t>
    </dgm:pt>
    <dgm:pt modelId="{3018934A-C745-41F2-A9CB-B6A8A4A2C3AE}" type="sibTrans" cxnId="{9EB5F45B-F63F-4907-9690-207E8ECD06C7}">
      <dgm:prSet/>
      <dgm:spPr/>
      <dgm:t>
        <a:bodyPr/>
        <a:lstStyle/>
        <a:p>
          <a:endParaRPr lang="es-ES"/>
        </a:p>
      </dgm:t>
    </dgm:pt>
    <dgm:pt modelId="{D03648F0-7438-416D-A5C5-4C01DB60E1C0}">
      <dgm:prSet/>
      <dgm:spPr/>
      <dgm:t>
        <a:bodyPr/>
        <a:lstStyle/>
        <a:p>
          <a:r>
            <a:rPr lang="es-ES">
              <a:latin typeface="Calibri" panose="020F0502020204030204" pitchFamily="34" charset="0"/>
              <a:cs typeface="Times New Roman" panose="02020603050405020304" pitchFamily="18" charset="0"/>
            </a:rPr>
            <a:t>Se ha realizado la prueba de integración y prueba de sistema para la prestación de acuerdo con los criterios de cobertura definidos.</a:t>
          </a:r>
        </a:p>
      </dgm:t>
    </dgm:pt>
    <dgm:pt modelId="{A69A1289-6FBA-419B-99DE-ED4EB1CC32E1}" type="parTrans" cxnId="{C1BA3A89-3415-46D1-8B9C-264D8743E609}">
      <dgm:prSet/>
      <dgm:spPr/>
      <dgm:t>
        <a:bodyPr/>
        <a:lstStyle/>
        <a:p>
          <a:endParaRPr lang="es-ES"/>
        </a:p>
      </dgm:t>
    </dgm:pt>
    <dgm:pt modelId="{C24B6A80-DB91-4E0D-9183-E5BC12ED5A4F}" type="sibTrans" cxnId="{C1BA3A89-3415-46D1-8B9C-264D8743E609}">
      <dgm:prSet/>
      <dgm:spPr/>
      <dgm:t>
        <a:bodyPr/>
        <a:lstStyle/>
        <a:p>
          <a:endParaRPr lang="es-ES"/>
        </a:p>
      </dgm:t>
    </dgm:pt>
    <dgm:pt modelId="{2359FFD3-8AAA-4A05-85B7-7D3E9496DD0C}">
      <dgm:prSet/>
      <dgm:spPr/>
      <dgm:t>
        <a:bodyPr/>
        <a:lstStyle/>
        <a:p>
          <a:r>
            <a:rPr lang="es-ES">
              <a:latin typeface="Calibri" panose="020F0502020204030204" pitchFamily="34" charset="0"/>
              <a:cs typeface="Times New Roman" panose="02020603050405020304" pitchFamily="18" charset="0"/>
            </a:rPr>
            <a:t>No quedan defectos importantes por corregir.</a:t>
          </a:r>
        </a:p>
      </dgm:t>
    </dgm:pt>
    <dgm:pt modelId="{D80CB8FF-865B-4900-9501-3142B9DD36CF}" type="parTrans" cxnId="{C03D1405-65D9-4356-B29B-F69B9F5A6D2C}">
      <dgm:prSet/>
      <dgm:spPr/>
      <dgm:t>
        <a:bodyPr/>
        <a:lstStyle/>
        <a:p>
          <a:endParaRPr lang="es-ES"/>
        </a:p>
      </dgm:t>
    </dgm:pt>
    <dgm:pt modelId="{03CCCBC6-6736-451D-9921-B09EB03AFA6F}" type="sibTrans" cxnId="{C03D1405-65D9-4356-B29B-F69B9F5A6D2C}">
      <dgm:prSet/>
      <dgm:spPr/>
      <dgm:t>
        <a:bodyPr/>
        <a:lstStyle/>
        <a:p>
          <a:endParaRPr lang="es-ES"/>
        </a:p>
      </dgm:t>
    </dgm:pt>
    <dgm:pt modelId="{E514EBD6-C8A2-4CBA-9E65-F1E71BDF7CBD}">
      <dgm:prSet/>
      <dgm:spPr/>
      <dgm:t>
        <a:bodyPr/>
        <a:lstStyle/>
        <a:p>
          <a:r>
            <a:rPr lang="es-ES">
              <a:latin typeface="Calibri" panose="020F0502020204030204" pitchFamily="34" charset="0"/>
              <a:cs typeface="Times New Roman" panose="02020603050405020304" pitchFamily="18" charset="0"/>
            </a:rPr>
            <a:t>La documentación de la prestación está completa, lo que puede incluir notas de la publicación, manuales de usuario y funciones de ayuda en línea. </a:t>
          </a:r>
        </a:p>
      </dgm:t>
    </dgm:pt>
    <dgm:pt modelId="{02DF5AC2-D371-4ED8-8EE7-7C48DEA4D488}" type="parTrans" cxnId="{3E528845-0626-4C6D-B8E4-E93D3CA47E62}">
      <dgm:prSet/>
      <dgm:spPr/>
      <dgm:t>
        <a:bodyPr/>
        <a:lstStyle/>
        <a:p>
          <a:endParaRPr lang="es-ES"/>
        </a:p>
      </dgm:t>
    </dgm:pt>
    <dgm:pt modelId="{38E99309-075D-462E-A937-9EB686F32A05}" type="sibTrans" cxnId="{3E528845-0626-4C6D-B8E4-E93D3CA47E62}">
      <dgm:prSet/>
      <dgm:spPr/>
      <dgm:t>
        <a:bodyPr/>
        <a:lstStyle/>
        <a:p>
          <a:endParaRPr lang="es-ES"/>
        </a:p>
      </dgm:t>
    </dgm:pt>
    <dgm:pt modelId="{685D11E5-5C91-4377-A898-B84993F6ABE6}" type="pres">
      <dgm:prSet presAssocID="{7BA757D9-DD5C-4A0D-A567-A58BDB8994F2}" presName="linear" presStyleCnt="0">
        <dgm:presLayoutVars>
          <dgm:animLvl val="lvl"/>
          <dgm:resizeHandles val="exact"/>
        </dgm:presLayoutVars>
      </dgm:prSet>
      <dgm:spPr/>
    </dgm:pt>
    <dgm:pt modelId="{2CC40D85-44DA-48ED-92B2-C970FF060874}" type="pres">
      <dgm:prSet presAssocID="{0E2C166C-CD5E-4A03-BC52-C90B9F1367B1}" presName="parentText" presStyleLbl="node1" presStyleIdx="0" presStyleCnt="7">
        <dgm:presLayoutVars>
          <dgm:chMax val="0"/>
          <dgm:bulletEnabled val="1"/>
        </dgm:presLayoutVars>
      </dgm:prSet>
      <dgm:spPr/>
    </dgm:pt>
    <dgm:pt modelId="{3F41A9BD-83B8-4965-8C69-C1AD798BAFB8}" type="pres">
      <dgm:prSet presAssocID="{4898BF28-DD3B-4A05-A483-5775BA7898DF}" presName="spacer" presStyleCnt="0"/>
      <dgm:spPr/>
    </dgm:pt>
    <dgm:pt modelId="{35132922-6F6D-4F43-91FA-64DD834ABAFD}" type="pres">
      <dgm:prSet presAssocID="{BF550EC3-AAAD-4D74-A927-C75B94A45694}" presName="parentText" presStyleLbl="node1" presStyleIdx="1" presStyleCnt="7">
        <dgm:presLayoutVars>
          <dgm:chMax val="0"/>
          <dgm:bulletEnabled val="1"/>
        </dgm:presLayoutVars>
      </dgm:prSet>
      <dgm:spPr/>
    </dgm:pt>
    <dgm:pt modelId="{5E55F830-7D8D-455D-814A-D64605630CA3}" type="pres">
      <dgm:prSet presAssocID="{90C86B11-8A1D-4FBA-8A5C-FF522921AC3D}" presName="spacer" presStyleCnt="0"/>
      <dgm:spPr/>
    </dgm:pt>
    <dgm:pt modelId="{334AD3B2-0B65-45CE-B69D-F744A43522AA}" type="pres">
      <dgm:prSet presAssocID="{AB48FFA5-C8E8-4CDC-8386-8BAD3950AB6B}" presName="parentText" presStyleLbl="node1" presStyleIdx="2" presStyleCnt="7">
        <dgm:presLayoutVars>
          <dgm:chMax val="0"/>
          <dgm:bulletEnabled val="1"/>
        </dgm:presLayoutVars>
      </dgm:prSet>
      <dgm:spPr/>
    </dgm:pt>
    <dgm:pt modelId="{789C5906-FB09-4B8B-86E0-CB360F1821BC}" type="pres">
      <dgm:prSet presAssocID="{592D8DF0-C238-42A3-A7FC-AD4FD9058B18}" presName="spacer" presStyleCnt="0"/>
      <dgm:spPr/>
    </dgm:pt>
    <dgm:pt modelId="{B519116D-4BA7-4C22-988B-937DEF82F599}" type="pres">
      <dgm:prSet presAssocID="{C4A3E35C-CCF9-440C-A581-F18CF0328C07}" presName="parentText" presStyleLbl="node1" presStyleIdx="3" presStyleCnt="7">
        <dgm:presLayoutVars>
          <dgm:chMax val="0"/>
          <dgm:bulletEnabled val="1"/>
        </dgm:presLayoutVars>
      </dgm:prSet>
      <dgm:spPr/>
    </dgm:pt>
    <dgm:pt modelId="{3200352F-CD1A-41FE-9FEF-7AC8D3E76DF0}" type="pres">
      <dgm:prSet presAssocID="{3018934A-C745-41F2-A9CB-B6A8A4A2C3AE}" presName="spacer" presStyleCnt="0"/>
      <dgm:spPr/>
    </dgm:pt>
    <dgm:pt modelId="{A14CE2C6-FB0E-40C5-927E-EF4B1618F2B2}" type="pres">
      <dgm:prSet presAssocID="{D03648F0-7438-416D-A5C5-4C01DB60E1C0}" presName="parentText" presStyleLbl="node1" presStyleIdx="4" presStyleCnt="7">
        <dgm:presLayoutVars>
          <dgm:chMax val="0"/>
          <dgm:bulletEnabled val="1"/>
        </dgm:presLayoutVars>
      </dgm:prSet>
      <dgm:spPr/>
    </dgm:pt>
    <dgm:pt modelId="{2EA2BAF5-81B0-4E1B-B72C-758525169ED2}" type="pres">
      <dgm:prSet presAssocID="{C24B6A80-DB91-4E0D-9183-E5BC12ED5A4F}" presName="spacer" presStyleCnt="0"/>
      <dgm:spPr/>
    </dgm:pt>
    <dgm:pt modelId="{20B252BD-AF46-40D0-A099-8AC52040706B}" type="pres">
      <dgm:prSet presAssocID="{2359FFD3-8AAA-4A05-85B7-7D3E9496DD0C}" presName="parentText" presStyleLbl="node1" presStyleIdx="5" presStyleCnt="7">
        <dgm:presLayoutVars>
          <dgm:chMax val="0"/>
          <dgm:bulletEnabled val="1"/>
        </dgm:presLayoutVars>
      </dgm:prSet>
      <dgm:spPr/>
    </dgm:pt>
    <dgm:pt modelId="{4BC1A285-2FBD-47F3-AF62-9B74D154C155}" type="pres">
      <dgm:prSet presAssocID="{03CCCBC6-6736-451D-9921-B09EB03AFA6F}" presName="spacer" presStyleCnt="0"/>
      <dgm:spPr/>
    </dgm:pt>
    <dgm:pt modelId="{62983D76-5193-4A55-BC13-4E39A8543DF2}" type="pres">
      <dgm:prSet presAssocID="{E514EBD6-C8A2-4CBA-9E65-F1E71BDF7CBD}" presName="parentText" presStyleLbl="node1" presStyleIdx="6" presStyleCnt="7">
        <dgm:presLayoutVars>
          <dgm:chMax val="0"/>
          <dgm:bulletEnabled val="1"/>
        </dgm:presLayoutVars>
      </dgm:prSet>
      <dgm:spPr/>
    </dgm:pt>
  </dgm:ptLst>
  <dgm:cxnLst>
    <dgm:cxn modelId="{C03D1405-65D9-4356-B29B-F69B9F5A6D2C}" srcId="{7BA757D9-DD5C-4A0D-A567-A58BDB8994F2}" destId="{2359FFD3-8AAA-4A05-85B7-7D3E9496DD0C}" srcOrd="5" destOrd="0" parTransId="{D80CB8FF-865B-4900-9501-3142B9DD36CF}" sibTransId="{03CCCBC6-6736-451D-9921-B09EB03AFA6F}"/>
    <dgm:cxn modelId="{212CD82C-5F25-4314-8943-6A88BC0F5374}" type="presOf" srcId="{C4A3E35C-CCF9-440C-A581-F18CF0328C07}" destId="{B519116D-4BA7-4C22-988B-937DEF82F599}" srcOrd="0" destOrd="0" presId="urn:microsoft.com/office/officeart/2005/8/layout/vList2"/>
    <dgm:cxn modelId="{9EB5F45B-F63F-4907-9690-207E8ECD06C7}" srcId="{7BA757D9-DD5C-4A0D-A567-A58BDB8994F2}" destId="{C4A3E35C-CCF9-440C-A581-F18CF0328C07}" srcOrd="3" destOrd="0" parTransId="{87F03D06-548A-477A-856D-6DF81B986F20}" sibTransId="{3018934A-C745-41F2-A9CB-B6A8A4A2C3AE}"/>
    <dgm:cxn modelId="{3E528845-0626-4C6D-B8E4-E93D3CA47E62}" srcId="{7BA757D9-DD5C-4A0D-A567-A58BDB8994F2}" destId="{E514EBD6-C8A2-4CBA-9E65-F1E71BDF7CBD}" srcOrd="6" destOrd="0" parTransId="{02DF5AC2-D371-4ED8-8EE7-7C48DEA4D488}" sibTransId="{38E99309-075D-462E-A937-9EB686F32A05}"/>
    <dgm:cxn modelId="{230DB365-FCD5-41BB-87EE-393D7DEA8A4A}" type="presOf" srcId="{0E2C166C-CD5E-4A03-BC52-C90B9F1367B1}" destId="{2CC40D85-44DA-48ED-92B2-C970FF060874}" srcOrd="0" destOrd="0" presId="urn:microsoft.com/office/officeart/2005/8/layout/vList2"/>
    <dgm:cxn modelId="{ADA3CF7E-3CF9-4201-AB6C-198CF62AA84E}" srcId="{7BA757D9-DD5C-4A0D-A567-A58BDB8994F2}" destId="{0E2C166C-CD5E-4A03-BC52-C90B9F1367B1}" srcOrd="0" destOrd="0" parTransId="{C4DB5EA1-B533-4641-AE48-818CA74A21AB}" sibTransId="{4898BF28-DD3B-4A05-A483-5775BA7898DF}"/>
    <dgm:cxn modelId="{2DA08582-C133-41D1-9104-DA2B055933A5}" type="presOf" srcId="{7BA757D9-DD5C-4A0D-A567-A58BDB8994F2}" destId="{685D11E5-5C91-4377-A898-B84993F6ABE6}" srcOrd="0" destOrd="0" presId="urn:microsoft.com/office/officeart/2005/8/layout/vList2"/>
    <dgm:cxn modelId="{C1BA3A89-3415-46D1-8B9C-264D8743E609}" srcId="{7BA757D9-DD5C-4A0D-A567-A58BDB8994F2}" destId="{D03648F0-7438-416D-A5C5-4C01DB60E1C0}" srcOrd="4" destOrd="0" parTransId="{A69A1289-6FBA-419B-99DE-ED4EB1CC32E1}" sibTransId="{C24B6A80-DB91-4E0D-9183-E5BC12ED5A4F}"/>
    <dgm:cxn modelId="{F3C0A2D1-64E9-4CF4-B837-5D3C7025DC45}" type="presOf" srcId="{AB48FFA5-C8E8-4CDC-8386-8BAD3950AB6B}" destId="{334AD3B2-0B65-45CE-B69D-F744A43522AA}" srcOrd="0" destOrd="0" presId="urn:microsoft.com/office/officeart/2005/8/layout/vList2"/>
    <dgm:cxn modelId="{D35189D4-A429-42D6-B546-F80070D6AFC1}" srcId="{7BA757D9-DD5C-4A0D-A567-A58BDB8994F2}" destId="{AB48FFA5-C8E8-4CDC-8386-8BAD3950AB6B}" srcOrd="2" destOrd="0" parTransId="{89A07E54-4078-44CF-812B-AB55BE9F62E6}" sibTransId="{592D8DF0-C238-42A3-A7FC-AD4FD9058B18}"/>
    <dgm:cxn modelId="{197B88D6-DB0B-4F0F-8994-FF6DE7E3D411}" type="presOf" srcId="{2359FFD3-8AAA-4A05-85B7-7D3E9496DD0C}" destId="{20B252BD-AF46-40D0-A099-8AC52040706B}" srcOrd="0" destOrd="0" presId="urn:microsoft.com/office/officeart/2005/8/layout/vList2"/>
    <dgm:cxn modelId="{0C067BDA-96A3-4258-8BBF-CC0CE5DB7165}" type="presOf" srcId="{BF550EC3-AAAD-4D74-A927-C75B94A45694}" destId="{35132922-6F6D-4F43-91FA-64DD834ABAFD}" srcOrd="0" destOrd="0" presId="urn:microsoft.com/office/officeart/2005/8/layout/vList2"/>
    <dgm:cxn modelId="{79A64AE4-8369-46FE-A634-0F25061E2B62}" srcId="{7BA757D9-DD5C-4A0D-A567-A58BDB8994F2}" destId="{BF550EC3-AAAD-4D74-A927-C75B94A45694}" srcOrd="1" destOrd="0" parTransId="{3AA649FE-236A-4A79-9919-93B07B8392E7}" sibTransId="{90C86B11-8A1D-4FBA-8A5C-FF522921AC3D}"/>
    <dgm:cxn modelId="{2EB0D0F1-3D9B-4851-AF84-F3F3E8F5B683}" type="presOf" srcId="{E514EBD6-C8A2-4CBA-9E65-F1E71BDF7CBD}" destId="{62983D76-5193-4A55-BC13-4E39A8543DF2}" srcOrd="0" destOrd="0" presId="urn:microsoft.com/office/officeart/2005/8/layout/vList2"/>
    <dgm:cxn modelId="{FE5CA9FF-4439-4DEE-8753-F27386D9FC95}" type="presOf" srcId="{D03648F0-7438-416D-A5C5-4C01DB60E1C0}" destId="{A14CE2C6-FB0E-40C5-927E-EF4B1618F2B2}" srcOrd="0" destOrd="0" presId="urn:microsoft.com/office/officeart/2005/8/layout/vList2"/>
    <dgm:cxn modelId="{209C2F91-16AB-4BE2-943F-5B1BE9DC6105}" type="presParOf" srcId="{685D11E5-5C91-4377-A898-B84993F6ABE6}" destId="{2CC40D85-44DA-48ED-92B2-C970FF060874}" srcOrd="0" destOrd="0" presId="urn:microsoft.com/office/officeart/2005/8/layout/vList2"/>
    <dgm:cxn modelId="{35E68177-D6C1-47AE-A483-78A3D40FF3A0}" type="presParOf" srcId="{685D11E5-5C91-4377-A898-B84993F6ABE6}" destId="{3F41A9BD-83B8-4965-8C69-C1AD798BAFB8}" srcOrd="1" destOrd="0" presId="urn:microsoft.com/office/officeart/2005/8/layout/vList2"/>
    <dgm:cxn modelId="{D55A8C4D-9739-4D1F-9294-FFCC5F649F0E}" type="presParOf" srcId="{685D11E5-5C91-4377-A898-B84993F6ABE6}" destId="{35132922-6F6D-4F43-91FA-64DD834ABAFD}" srcOrd="2" destOrd="0" presId="urn:microsoft.com/office/officeart/2005/8/layout/vList2"/>
    <dgm:cxn modelId="{D93CAEBC-CA2C-47D5-87AB-7A2948086E8C}" type="presParOf" srcId="{685D11E5-5C91-4377-A898-B84993F6ABE6}" destId="{5E55F830-7D8D-455D-814A-D64605630CA3}" srcOrd="3" destOrd="0" presId="urn:microsoft.com/office/officeart/2005/8/layout/vList2"/>
    <dgm:cxn modelId="{AFA6C1C5-2FA3-45AE-B777-362F0595B2CC}" type="presParOf" srcId="{685D11E5-5C91-4377-A898-B84993F6ABE6}" destId="{334AD3B2-0B65-45CE-B69D-F744A43522AA}" srcOrd="4" destOrd="0" presId="urn:microsoft.com/office/officeart/2005/8/layout/vList2"/>
    <dgm:cxn modelId="{1262312F-B91F-4B9E-9A04-1F32FE8F09D0}" type="presParOf" srcId="{685D11E5-5C91-4377-A898-B84993F6ABE6}" destId="{789C5906-FB09-4B8B-86E0-CB360F1821BC}" srcOrd="5" destOrd="0" presId="urn:microsoft.com/office/officeart/2005/8/layout/vList2"/>
    <dgm:cxn modelId="{E45C2ED8-5814-4571-9585-2B49C77BF5B1}" type="presParOf" srcId="{685D11E5-5C91-4377-A898-B84993F6ABE6}" destId="{B519116D-4BA7-4C22-988B-937DEF82F599}" srcOrd="6" destOrd="0" presId="urn:microsoft.com/office/officeart/2005/8/layout/vList2"/>
    <dgm:cxn modelId="{D5C1F6B0-09E5-4E9B-B1AC-ABD25BA4B3DE}" type="presParOf" srcId="{685D11E5-5C91-4377-A898-B84993F6ABE6}" destId="{3200352F-CD1A-41FE-9FEF-7AC8D3E76DF0}" srcOrd="7" destOrd="0" presId="urn:microsoft.com/office/officeart/2005/8/layout/vList2"/>
    <dgm:cxn modelId="{B3DFC869-A02F-4F7C-96CD-F67F92C429A7}" type="presParOf" srcId="{685D11E5-5C91-4377-A898-B84993F6ABE6}" destId="{A14CE2C6-FB0E-40C5-927E-EF4B1618F2B2}" srcOrd="8" destOrd="0" presId="urn:microsoft.com/office/officeart/2005/8/layout/vList2"/>
    <dgm:cxn modelId="{069A05D7-A13D-41E9-86D4-D1B2D6F49364}" type="presParOf" srcId="{685D11E5-5C91-4377-A898-B84993F6ABE6}" destId="{2EA2BAF5-81B0-4E1B-B72C-758525169ED2}" srcOrd="9" destOrd="0" presId="urn:microsoft.com/office/officeart/2005/8/layout/vList2"/>
    <dgm:cxn modelId="{ABE9F066-74D2-48E5-89A2-DE5E457099DD}" type="presParOf" srcId="{685D11E5-5C91-4377-A898-B84993F6ABE6}" destId="{20B252BD-AF46-40D0-A099-8AC52040706B}" srcOrd="10" destOrd="0" presId="urn:microsoft.com/office/officeart/2005/8/layout/vList2"/>
    <dgm:cxn modelId="{9ED228C5-38FC-401D-998C-9916ECCE7E6D}" type="presParOf" srcId="{685D11E5-5C91-4377-A898-B84993F6ABE6}" destId="{4BC1A285-2FBD-47F3-AF62-9B74D154C155}" srcOrd="11" destOrd="0" presId="urn:microsoft.com/office/officeart/2005/8/layout/vList2"/>
    <dgm:cxn modelId="{0014A499-134F-44B0-9778-240A5EA96D61}" type="presParOf" srcId="{685D11E5-5C91-4377-A898-B84993F6ABE6}" destId="{62983D76-5193-4A55-BC13-4E39A8543DF2}" srcOrd="12"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5826E84-D758-4B0E-8319-30D133246FB9}"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s-ES"/>
        </a:p>
      </dgm:t>
    </dgm:pt>
    <dgm:pt modelId="{C773B3A0-9321-4700-88CB-D0A04BB97831}">
      <dgm:prSet phldrT="[Text]"/>
      <dgm:spPr/>
      <dgm:t>
        <a:bodyPr/>
        <a:lstStyle/>
        <a:p>
          <a:pPr>
            <a:buFont typeface="Wingdings" panose="05000000000000000000" pitchFamily="2" charset="2"/>
            <a:buChar char="§"/>
          </a:pPr>
          <a:r>
            <a:rPr lang="es-ES">
              <a:latin typeface="Calibri" panose="020F0502020204030204" pitchFamily="34" charset="0"/>
              <a:cs typeface="Times New Roman" panose="02020603050405020304" pitchFamily="18" charset="0"/>
            </a:rPr>
            <a:t>Todas las prestaciones de la iteración están listas y se han probado individualmente según los criterios del nivel de la prestación.</a:t>
          </a:r>
          <a:endParaRPr lang="es-ES"/>
        </a:p>
      </dgm:t>
    </dgm:pt>
    <dgm:pt modelId="{007271FB-DFE5-49CB-95D1-407166D8134D}" type="parTrans" cxnId="{910FC512-B2E9-412A-AAFE-D134E7A477EF}">
      <dgm:prSet/>
      <dgm:spPr/>
      <dgm:t>
        <a:bodyPr/>
        <a:lstStyle/>
        <a:p>
          <a:endParaRPr lang="es-ES"/>
        </a:p>
      </dgm:t>
    </dgm:pt>
    <dgm:pt modelId="{F4D57E77-E204-4429-8FF0-2D6EFBFA6697}" type="sibTrans" cxnId="{910FC512-B2E9-412A-AAFE-D134E7A477EF}">
      <dgm:prSet/>
      <dgm:spPr/>
      <dgm:t>
        <a:bodyPr/>
        <a:lstStyle/>
        <a:p>
          <a:endParaRPr lang="es-ES"/>
        </a:p>
      </dgm:t>
    </dgm:pt>
    <dgm:pt modelId="{B38C13E9-E81F-4859-A093-829222F23F2B}">
      <dgm:prSet/>
      <dgm:spPr/>
      <dgm:t>
        <a:bodyPr/>
        <a:lstStyle/>
        <a:p>
          <a:r>
            <a:rPr lang="es-ES">
              <a:latin typeface="Calibri" panose="020F0502020204030204" pitchFamily="34" charset="0"/>
              <a:cs typeface="Times New Roman" panose="02020603050405020304" pitchFamily="18" charset="0"/>
            </a:rPr>
            <a:t>Cualquier defecto no crítico que no pueda solucionarse dentro de las limitaciones de la iteración se añade a la lista de trabajo acumulado del producto y se prioriza.</a:t>
          </a:r>
        </a:p>
      </dgm:t>
    </dgm:pt>
    <dgm:pt modelId="{16D5F392-4B71-4841-B381-8B0D99DD6C55}" type="parTrans" cxnId="{6B19DA34-AE05-43BD-A605-ECC10B737B4D}">
      <dgm:prSet/>
      <dgm:spPr/>
      <dgm:t>
        <a:bodyPr/>
        <a:lstStyle/>
        <a:p>
          <a:endParaRPr lang="es-ES"/>
        </a:p>
      </dgm:t>
    </dgm:pt>
    <dgm:pt modelId="{D4CE4053-6223-4C84-8888-6DFA192E04BA}" type="sibTrans" cxnId="{6B19DA34-AE05-43BD-A605-ECC10B737B4D}">
      <dgm:prSet/>
      <dgm:spPr/>
      <dgm:t>
        <a:bodyPr/>
        <a:lstStyle/>
        <a:p>
          <a:endParaRPr lang="es-ES"/>
        </a:p>
      </dgm:t>
    </dgm:pt>
    <dgm:pt modelId="{BC3DF49E-A129-4948-A958-5775FEC5CC3F}">
      <dgm:prSet/>
      <dgm:spPr/>
      <dgm:t>
        <a:bodyPr/>
        <a:lstStyle/>
        <a:p>
          <a:r>
            <a:rPr lang="es-ES">
              <a:latin typeface="Calibri" panose="020F0502020204030204" pitchFamily="34" charset="0"/>
              <a:cs typeface="Times New Roman" panose="02020603050405020304" pitchFamily="18" charset="0"/>
            </a:rPr>
            <a:t>Integración de todas las prestaciones para la iteración completada y probada.</a:t>
          </a:r>
        </a:p>
      </dgm:t>
    </dgm:pt>
    <dgm:pt modelId="{3CC8215E-5620-4E36-8DF2-A831ECBB6CBA}" type="parTrans" cxnId="{AE53A63C-9FF1-4515-8C30-C4AD50CD8CB3}">
      <dgm:prSet/>
      <dgm:spPr/>
      <dgm:t>
        <a:bodyPr/>
        <a:lstStyle/>
        <a:p>
          <a:endParaRPr lang="es-ES"/>
        </a:p>
      </dgm:t>
    </dgm:pt>
    <dgm:pt modelId="{9AD4805C-0EAA-4AA2-A892-58FE6A7FBEEE}" type="sibTrans" cxnId="{AE53A63C-9FF1-4515-8C30-C4AD50CD8CB3}">
      <dgm:prSet/>
      <dgm:spPr/>
      <dgm:t>
        <a:bodyPr/>
        <a:lstStyle/>
        <a:p>
          <a:endParaRPr lang="es-ES"/>
        </a:p>
      </dgm:t>
    </dgm:pt>
    <dgm:pt modelId="{46521F62-CECD-49D2-80D7-D3C12F57A13B}">
      <dgm:prSet/>
      <dgm:spPr/>
      <dgm:t>
        <a:bodyPr/>
        <a:lstStyle/>
        <a:p>
          <a:r>
            <a:rPr lang="es-ES">
              <a:latin typeface="Calibri" panose="020F0502020204030204" pitchFamily="34" charset="0"/>
              <a:cs typeface="Times New Roman" panose="02020603050405020304" pitchFamily="18" charset="0"/>
            </a:rPr>
            <a:t>Documentación redactada, revisada y aprobada.</a:t>
          </a:r>
        </a:p>
      </dgm:t>
    </dgm:pt>
    <dgm:pt modelId="{1E5F3832-98E7-44FD-B879-FFBDC364ED7A}" type="parTrans" cxnId="{370D40FC-EEA8-41D9-AEF2-4F8B182E670D}">
      <dgm:prSet/>
      <dgm:spPr/>
      <dgm:t>
        <a:bodyPr/>
        <a:lstStyle/>
        <a:p>
          <a:endParaRPr lang="es-ES"/>
        </a:p>
      </dgm:t>
    </dgm:pt>
    <dgm:pt modelId="{5212810C-453D-47C5-8FAE-0AB49561CB0E}" type="sibTrans" cxnId="{370D40FC-EEA8-41D9-AEF2-4F8B182E670D}">
      <dgm:prSet/>
      <dgm:spPr/>
      <dgm:t>
        <a:bodyPr/>
        <a:lstStyle/>
        <a:p>
          <a:endParaRPr lang="es-ES"/>
        </a:p>
      </dgm:t>
    </dgm:pt>
    <dgm:pt modelId="{14813CFF-BBFD-4183-9D23-C9B8739760DA}">
      <dgm:prSet/>
      <dgm:spPr/>
      <dgm:t>
        <a:bodyPr/>
        <a:lstStyle/>
        <a:p>
          <a:r>
            <a:rPr lang="es-ES">
              <a:latin typeface="Calibri" panose="020F0502020204030204" pitchFamily="34" charset="0"/>
              <a:cs typeface="Times New Roman" panose="02020603050405020304" pitchFamily="18" charset="0"/>
            </a:rPr>
            <a:t>En este punto, el software es potencialmente liberable porque la iteración se ha completado con éxito, pero no todas las iteraciones dan como resultado una entrega.</a:t>
          </a:r>
        </a:p>
      </dgm:t>
    </dgm:pt>
    <dgm:pt modelId="{EC0DC6BD-35D7-4941-9899-0BA968D925E9}" type="parTrans" cxnId="{413073EA-D197-40E0-937D-9C530B5815E6}">
      <dgm:prSet/>
      <dgm:spPr/>
      <dgm:t>
        <a:bodyPr/>
        <a:lstStyle/>
        <a:p>
          <a:endParaRPr lang="es-ES"/>
        </a:p>
      </dgm:t>
    </dgm:pt>
    <dgm:pt modelId="{69ECE5DE-28F4-425C-8B7D-35E7D6B5CC39}" type="sibTrans" cxnId="{413073EA-D197-40E0-937D-9C530B5815E6}">
      <dgm:prSet/>
      <dgm:spPr/>
      <dgm:t>
        <a:bodyPr/>
        <a:lstStyle/>
        <a:p>
          <a:endParaRPr lang="es-ES"/>
        </a:p>
      </dgm:t>
    </dgm:pt>
    <dgm:pt modelId="{A47CC0C2-4687-42EE-A0E9-2AEF0E30D8D4}" type="pres">
      <dgm:prSet presAssocID="{C5826E84-D758-4B0E-8319-30D133246FB9}" presName="linear" presStyleCnt="0">
        <dgm:presLayoutVars>
          <dgm:animLvl val="lvl"/>
          <dgm:resizeHandles val="exact"/>
        </dgm:presLayoutVars>
      </dgm:prSet>
      <dgm:spPr/>
    </dgm:pt>
    <dgm:pt modelId="{5893ABD6-5AA1-4FAD-A58D-5A6C0692E82D}" type="pres">
      <dgm:prSet presAssocID="{C773B3A0-9321-4700-88CB-D0A04BB97831}" presName="parentText" presStyleLbl="node1" presStyleIdx="0" presStyleCnt="5">
        <dgm:presLayoutVars>
          <dgm:chMax val="0"/>
          <dgm:bulletEnabled val="1"/>
        </dgm:presLayoutVars>
      </dgm:prSet>
      <dgm:spPr/>
    </dgm:pt>
    <dgm:pt modelId="{47D70283-E29A-4FE5-91A5-094261E1995B}" type="pres">
      <dgm:prSet presAssocID="{F4D57E77-E204-4429-8FF0-2D6EFBFA6697}" presName="spacer" presStyleCnt="0"/>
      <dgm:spPr/>
    </dgm:pt>
    <dgm:pt modelId="{CD5E5CAB-B4B0-4978-8A51-75B3B43B9042}" type="pres">
      <dgm:prSet presAssocID="{B38C13E9-E81F-4859-A093-829222F23F2B}" presName="parentText" presStyleLbl="node1" presStyleIdx="1" presStyleCnt="5">
        <dgm:presLayoutVars>
          <dgm:chMax val="0"/>
          <dgm:bulletEnabled val="1"/>
        </dgm:presLayoutVars>
      </dgm:prSet>
      <dgm:spPr/>
    </dgm:pt>
    <dgm:pt modelId="{CC65B48B-751F-4740-A8C0-F066F0B9BE42}" type="pres">
      <dgm:prSet presAssocID="{D4CE4053-6223-4C84-8888-6DFA192E04BA}" presName="spacer" presStyleCnt="0"/>
      <dgm:spPr/>
    </dgm:pt>
    <dgm:pt modelId="{4E3D8454-829B-41F7-8A57-2E3DC0231D95}" type="pres">
      <dgm:prSet presAssocID="{BC3DF49E-A129-4948-A958-5775FEC5CC3F}" presName="parentText" presStyleLbl="node1" presStyleIdx="2" presStyleCnt="5">
        <dgm:presLayoutVars>
          <dgm:chMax val="0"/>
          <dgm:bulletEnabled val="1"/>
        </dgm:presLayoutVars>
      </dgm:prSet>
      <dgm:spPr/>
    </dgm:pt>
    <dgm:pt modelId="{04C0E719-359F-4C8A-B493-4C79F21F610E}" type="pres">
      <dgm:prSet presAssocID="{9AD4805C-0EAA-4AA2-A892-58FE6A7FBEEE}" presName="spacer" presStyleCnt="0"/>
      <dgm:spPr/>
    </dgm:pt>
    <dgm:pt modelId="{C9DBE53A-95C5-47F4-850F-7AD931DA02A5}" type="pres">
      <dgm:prSet presAssocID="{46521F62-CECD-49D2-80D7-D3C12F57A13B}" presName="parentText" presStyleLbl="node1" presStyleIdx="3" presStyleCnt="5">
        <dgm:presLayoutVars>
          <dgm:chMax val="0"/>
          <dgm:bulletEnabled val="1"/>
        </dgm:presLayoutVars>
      </dgm:prSet>
      <dgm:spPr/>
    </dgm:pt>
    <dgm:pt modelId="{BF0D3B7D-D655-4F1B-968E-CB3DB6520AB0}" type="pres">
      <dgm:prSet presAssocID="{5212810C-453D-47C5-8FAE-0AB49561CB0E}" presName="spacer" presStyleCnt="0"/>
      <dgm:spPr/>
    </dgm:pt>
    <dgm:pt modelId="{313A4A2A-FECB-4273-93C5-FCFDDA52CEEA}" type="pres">
      <dgm:prSet presAssocID="{14813CFF-BBFD-4183-9D23-C9B8739760DA}" presName="parentText" presStyleLbl="node1" presStyleIdx="4" presStyleCnt="5">
        <dgm:presLayoutVars>
          <dgm:chMax val="0"/>
          <dgm:bulletEnabled val="1"/>
        </dgm:presLayoutVars>
      </dgm:prSet>
      <dgm:spPr/>
    </dgm:pt>
  </dgm:ptLst>
  <dgm:cxnLst>
    <dgm:cxn modelId="{910FC512-B2E9-412A-AAFE-D134E7A477EF}" srcId="{C5826E84-D758-4B0E-8319-30D133246FB9}" destId="{C773B3A0-9321-4700-88CB-D0A04BB97831}" srcOrd="0" destOrd="0" parTransId="{007271FB-DFE5-49CB-95D1-407166D8134D}" sibTransId="{F4D57E77-E204-4429-8FF0-2D6EFBFA6697}"/>
    <dgm:cxn modelId="{37D5791A-FB2E-434C-AD66-1ED488EA865B}" type="presOf" srcId="{14813CFF-BBFD-4183-9D23-C9B8739760DA}" destId="{313A4A2A-FECB-4273-93C5-FCFDDA52CEEA}" srcOrd="0" destOrd="0" presId="urn:microsoft.com/office/officeart/2005/8/layout/vList2"/>
    <dgm:cxn modelId="{0498462A-3BB9-475B-80F7-C293E808AD9B}" type="presOf" srcId="{46521F62-CECD-49D2-80D7-D3C12F57A13B}" destId="{C9DBE53A-95C5-47F4-850F-7AD931DA02A5}" srcOrd="0" destOrd="0" presId="urn:microsoft.com/office/officeart/2005/8/layout/vList2"/>
    <dgm:cxn modelId="{6B19DA34-AE05-43BD-A605-ECC10B737B4D}" srcId="{C5826E84-D758-4B0E-8319-30D133246FB9}" destId="{B38C13E9-E81F-4859-A093-829222F23F2B}" srcOrd="1" destOrd="0" parTransId="{16D5F392-4B71-4841-B381-8B0D99DD6C55}" sibTransId="{D4CE4053-6223-4C84-8888-6DFA192E04BA}"/>
    <dgm:cxn modelId="{AE53A63C-9FF1-4515-8C30-C4AD50CD8CB3}" srcId="{C5826E84-D758-4B0E-8319-30D133246FB9}" destId="{BC3DF49E-A129-4948-A958-5775FEC5CC3F}" srcOrd="2" destOrd="0" parTransId="{3CC8215E-5620-4E36-8DF2-A831ECBB6CBA}" sibTransId="{9AD4805C-0EAA-4AA2-A892-58FE6A7FBEEE}"/>
    <dgm:cxn modelId="{A9B5C78F-ACDD-40F8-AB52-FF453B3E715E}" type="presOf" srcId="{C773B3A0-9321-4700-88CB-D0A04BB97831}" destId="{5893ABD6-5AA1-4FAD-A58D-5A6C0692E82D}" srcOrd="0" destOrd="0" presId="urn:microsoft.com/office/officeart/2005/8/layout/vList2"/>
    <dgm:cxn modelId="{E334C5D8-C087-4A62-9EC6-2C29C107D500}" type="presOf" srcId="{C5826E84-D758-4B0E-8319-30D133246FB9}" destId="{A47CC0C2-4687-42EE-A0E9-2AEF0E30D8D4}" srcOrd="0" destOrd="0" presId="urn:microsoft.com/office/officeart/2005/8/layout/vList2"/>
    <dgm:cxn modelId="{64CEC6DB-B52A-4DF9-BC4D-711A62FB9AEF}" type="presOf" srcId="{B38C13E9-E81F-4859-A093-829222F23F2B}" destId="{CD5E5CAB-B4B0-4978-8A51-75B3B43B9042}" srcOrd="0" destOrd="0" presId="urn:microsoft.com/office/officeart/2005/8/layout/vList2"/>
    <dgm:cxn modelId="{D634E0E6-22A1-4976-91F0-B3D34FD31860}" type="presOf" srcId="{BC3DF49E-A129-4948-A958-5775FEC5CC3F}" destId="{4E3D8454-829B-41F7-8A57-2E3DC0231D95}" srcOrd="0" destOrd="0" presId="urn:microsoft.com/office/officeart/2005/8/layout/vList2"/>
    <dgm:cxn modelId="{413073EA-D197-40E0-937D-9C530B5815E6}" srcId="{C5826E84-D758-4B0E-8319-30D133246FB9}" destId="{14813CFF-BBFD-4183-9D23-C9B8739760DA}" srcOrd="4" destOrd="0" parTransId="{EC0DC6BD-35D7-4941-9899-0BA968D925E9}" sibTransId="{69ECE5DE-28F4-425C-8B7D-35E7D6B5CC39}"/>
    <dgm:cxn modelId="{370D40FC-EEA8-41D9-AEF2-4F8B182E670D}" srcId="{C5826E84-D758-4B0E-8319-30D133246FB9}" destId="{46521F62-CECD-49D2-80D7-D3C12F57A13B}" srcOrd="3" destOrd="0" parTransId="{1E5F3832-98E7-44FD-B879-FFBDC364ED7A}" sibTransId="{5212810C-453D-47C5-8FAE-0AB49561CB0E}"/>
    <dgm:cxn modelId="{6A8A6E1A-C834-41C2-B6E8-B56DEEE5EF11}" type="presParOf" srcId="{A47CC0C2-4687-42EE-A0E9-2AEF0E30D8D4}" destId="{5893ABD6-5AA1-4FAD-A58D-5A6C0692E82D}" srcOrd="0" destOrd="0" presId="urn:microsoft.com/office/officeart/2005/8/layout/vList2"/>
    <dgm:cxn modelId="{C33D5478-8C33-4B96-ACFA-EE147573F7AE}" type="presParOf" srcId="{A47CC0C2-4687-42EE-A0E9-2AEF0E30D8D4}" destId="{47D70283-E29A-4FE5-91A5-094261E1995B}" srcOrd="1" destOrd="0" presId="urn:microsoft.com/office/officeart/2005/8/layout/vList2"/>
    <dgm:cxn modelId="{49DFD6CA-5C70-4C1C-BE92-53900776A1AE}" type="presParOf" srcId="{A47CC0C2-4687-42EE-A0E9-2AEF0E30D8D4}" destId="{CD5E5CAB-B4B0-4978-8A51-75B3B43B9042}" srcOrd="2" destOrd="0" presId="urn:microsoft.com/office/officeart/2005/8/layout/vList2"/>
    <dgm:cxn modelId="{2DEEA9D7-9A99-4A71-BA35-9BE4C6D43A63}" type="presParOf" srcId="{A47CC0C2-4687-42EE-A0E9-2AEF0E30D8D4}" destId="{CC65B48B-751F-4740-A8C0-F066F0B9BE42}" srcOrd="3" destOrd="0" presId="urn:microsoft.com/office/officeart/2005/8/layout/vList2"/>
    <dgm:cxn modelId="{E8ABCB53-5990-4C8F-BBC5-656640CF5564}" type="presParOf" srcId="{A47CC0C2-4687-42EE-A0E9-2AEF0E30D8D4}" destId="{4E3D8454-829B-41F7-8A57-2E3DC0231D95}" srcOrd="4" destOrd="0" presId="urn:microsoft.com/office/officeart/2005/8/layout/vList2"/>
    <dgm:cxn modelId="{713C6FCE-880D-4CF4-ACF8-05AA5145DC02}" type="presParOf" srcId="{A47CC0C2-4687-42EE-A0E9-2AEF0E30D8D4}" destId="{04C0E719-359F-4C8A-B493-4C79F21F610E}" srcOrd="5" destOrd="0" presId="urn:microsoft.com/office/officeart/2005/8/layout/vList2"/>
    <dgm:cxn modelId="{A3814D9D-D92D-4E33-80FA-E8C73F56340A}" type="presParOf" srcId="{A47CC0C2-4687-42EE-A0E9-2AEF0E30D8D4}" destId="{C9DBE53A-95C5-47F4-850F-7AD931DA02A5}" srcOrd="6" destOrd="0" presId="urn:microsoft.com/office/officeart/2005/8/layout/vList2"/>
    <dgm:cxn modelId="{75286DC2-17C8-4EA5-83EA-21A3D04934B0}" type="presParOf" srcId="{A47CC0C2-4687-42EE-A0E9-2AEF0E30D8D4}" destId="{BF0D3B7D-D655-4F1B-968E-CB3DB6520AB0}" srcOrd="7" destOrd="0" presId="urn:microsoft.com/office/officeart/2005/8/layout/vList2"/>
    <dgm:cxn modelId="{7F675F94-8DD7-407B-B1FA-660086DD1016}" type="presParOf" srcId="{A47CC0C2-4687-42EE-A0E9-2AEF0E30D8D4}" destId="{313A4A2A-FECB-4273-93C5-FCFDDA52CEEA}" srcOrd="8"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558FFD33-6CEC-47A1-A5BF-1D2E7CD1747C}"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s-ES"/>
        </a:p>
      </dgm:t>
    </dgm:pt>
    <dgm:pt modelId="{2A1D3803-1345-4842-94B7-02CA207A69A9}">
      <dgm:prSet phldrT="[Text]"/>
      <dgm:spPr/>
      <dgm:t>
        <a:bodyPr/>
        <a:lstStyle/>
        <a:p>
          <a:pPr>
            <a:buFont typeface="Wingdings" panose="05000000000000000000" pitchFamily="2" charset="2"/>
            <a:buChar char="§"/>
          </a:pPr>
          <a:r>
            <a:rPr lang="es-ES" b="1">
              <a:latin typeface="Calibri" panose="020F0502020204030204" pitchFamily="34" charset="0"/>
              <a:cs typeface="Times New Roman" panose="02020603050405020304" pitchFamily="18" charset="0"/>
            </a:rPr>
            <a:t>Cobertura:</a:t>
          </a:r>
          <a:r>
            <a:rPr lang="es-ES">
              <a:latin typeface="Calibri" panose="020F0502020204030204" pitchFamily="34" charset="0"/>
              <a:cs typeface="Times New Roman" panose="02020603050405020304" pitchFamily="18" charset="0"/>
            </a:rPr>
            <a:t> Todos los elementos relevantes de la base de prueba para todos los contenidos de la entrega han sido cubiertos por la prueba.</a:t>
          </a:r>
          <a:endParaRPr lang="es-ES"/>
        </a:p>
      </dgm:t>
    </dgm:pt>
    <dgm:pt modelId="{F1BB5163-256C-498C-9103-CDCD83F3851E}" type="parTrans" cxnId="{1C429855-FFF6-4E21-8771-9515F791F3A2}">
      <dgm:prSet/>
      <dgm:spPr/>
      <dgm:t>
        <a:bodyPr/>
        <a:lstStyle/>
        <a:p>
          <a:endParaRPr lang="es-ES"/>
        </a:p>
      </dgm:t>
    </dgm:pt>
    <dgm:pt modelId="{6AA7CCC9-AF82-4CCD-A849-32FC0A66B468}" type="sibTrans" cxnId="{1C429855-FFF6-4E21-8771-9515F791F3A2}">
      <dgm:prSet/>
      <dgm:spPr/>
      <dgm:t>
        <a:bodyPr/>
        <a:lstStyle/>
        <a:p>
          <a:endParaRPr lang="es-ES"/>
        </a:p>
      </dgm:t>
    </dgm:pt>
    <dgm:pt modelId="{50413C79-B087-437A-8F8F-FDE6D2A3111F}">
      <dgm:prSet/>
      <dgm:spPr/>
      <dgm:t>
        <a:bodyPr/>
        <a:lstStyle/>
        <a:p>
          <a:r>
            <a:rPr lang="es-ES" b="1">
              <a:latin typeface="Calibri" panose="020F0502020204030204" pitchFamily="34" charset="0"/>
              <a:cs typeface="Times New Roman" panose="02020603050405020304" pitchFamily="18" charset="0"/>
            </a:rPr>
            <a:t>Calidad: </a:t>
          </a:r>
          <a:r>
            <a:rPr lang="es-ES">
              <a:latin typeface="Calibri" panose="020F0502020204030204" pitchFamily="34" charset="0"/>
              <a:cs typeface="Times New Roman" panose="02020603050405020304" pitchFamily="18" charset="0"/>
            </a:rPr>
            <a:t>La intensidad de los defectos, la densidad de defectos, el número estimado de defectos restantes están dentro de los límites aceptables, las consecuencias de los defectos no resueltos y restantes se entienden y son aceptables, el nivel de riesgo residual asociado a cada riesgo de calidad identificado se entiende y es aceptable.</a:t>
          </a:r>
        </a:p>
      </dgm:t>
    </dgm:pt>
    <dgm:pt modelId="{C2597FE4-C0A5-4093-8322-231035356822}" type="parTrans" cxnId="{33BD0935-78BE-4E35-8D72-7442FB3F255F}">
      <dgm:prSet/>
      <dgm:spPr/>
      <dgm:t>
        <a:bodyPr/>
        <a:lstStyle/>
        <a:p>
          <a:endParaRPr lang="es-ES"/>
        </a:p>
      </dgm:t>
    </dgm:pt>
    <dgm:pt modelId="{0D3DAA55-0134-4548-8B21-26021FB21F5E}" type="sibTrans" cxnId="{33BD0935-78BE-4E35-8D72-7442FB3F255F}">
      <dgm:prSet/>
      <dgm:spPr/>
      <dgm:t>
        <a:bodyPr/>
        <a:lstStyle/>
        <a:p>
          <a:endParaRPr lang="es-ES"/>
        </a:p>
      </dgm:t>
    </dgm:pt>
    <dgm:pt modelId="{1A77F662-B32B-4B66-8832-3610135B692E}">
      <dgm:prSet/>
      <dgm:spPr/>
      <dgm:t>
        <a:bodyPr/>
        <a:lstStyle/>
        <a:p>
          <a:r>
            <a:rPr lang="es-ES" b="1">
              <a:latin typeface="Calibri" panose="020F0502020204030204" pitchFamily="34" charset="0"/>
              <a:cs typeface="Times New Roman" panose="02020603050405020304" pitchFamily="18" charset="0"/>
            </a:rPr>
            <a:t>Tiempo: </a:t>
          </a:r>
          <a:r>
            <a:rPr lang="es-ES">
              <a:latin typeface="Calibri" panose="020F0502020204030204" pitchFamily="34" charset="0"/>
              <a:cs typeface="Times New Roman" panose="02020603050405020304" pitchFamily="18" charset="0"/>
            </a:rPr>
            <a:t>Si se ha alcanzado la fecha de entrega predeterminada, hay que tener en cuenta las consideraciones de negocio asociadas a la entrega y a la no entrega.</a:t>
          </a:r>
        </a:p>
      </dgm:t>
    </dgm:pt>
    <dgm:pt modelId="{7160B17D-6688-4F29-AF07-FC56B3536FD7}" type="parTrans" cxnId="{13FA8BEF-50EF-4520-88E0-51D6522DD31E}">
      <dgm:prSet/>
      <dgm:spPr/>
      <dgm:t>
        <a:bodyPr/>
        <a:lstStyle/>
        <a:p>
          <a:endParaRPr lang="es-ES"/>
        </a:p>
      </dgm:t>
    </dgm:pt>
    <dgm:pt modelId="{C4F816D7-5F75-4F20-B6AA-40DE712CF16C}" type="sibTrans" cxnId="{13FA8BEF-50EF-4520-88E0-51D6522DD31E}">
      <dgm:prSet/>
      <dgm:spPr/>
      <dgm:t>
        <a:bodyPr/>
        <a:lstStyle/>
        <a:p>
          <a:endParaRPr lang="es-ES"/>
        </a:p>
      </dgm:t>
    </dgm:pt>
    <dgm:pt modelId="{5D00A576-2AF5-4DAF-A809-E682222833A5}">
      <dgm:prSet/>
      <dgm:spPr/>
      <dgm:t>
        <a:bodyPr/>
        <a:lstStyle/>
        <a:p>
          <a:r>
            <a:rPr lang="es-ES" b="1">
              <a:latin typeface="Calibri" panose="020F0502020204030204" pitchFamily="34" charset="0"/>
              <a:cs typeface="Times New Roman" panose="02020603050405020304" pitchFamily="18" charset="0"/>
            </a:rPr>
            <a:t>Coste: </a:t>
          </a:r>
          <a:r>
            <a:rPr lang="es-ES">
              <a:latin typeface="Calibri" panose="020F0502020204030204" pitchFamily="34" charset="0"/>
              <a:cs typeface="Times New Roman" panose="02020603050405020304" pitchFamily="18" charset="0"/>
            </a:rPr>
            <a:t>El coste estimado del ciclo de vida debe utilizarse para calcular el retorno de la inversión del sistema entregado</a:t>
          </a:r>
        </a:p>
      </dgm:t>
    </dgm:pt>
    <dgm:pt modelId="{5159AD0E-2368-430A-A40E-F160228EF8E0}" type="parTrans" cxnId="{2C43B410-7114-4CA7-82FB-441ECBE94DCD}">
      <dgm:prSet/>
      <dgm:spPr/>
      <dgm:t>
        <a:bodyPr/>
        <a:lstStyle/>
        <a:p>
          <a:endParaRPr lang="es-ES"/>
        </a:p>
      </dgm:t>
    </dgm:pt>
    <dgm:pt modelId="{D07B3268-797B-455E-87B5-E212105CCF0B}" type="sibTrans" cxnId="{2C43B410-7114-4CA7-82FB-441ECBE94DCD}">
      <dgm:prSet/>
      <dgm:spPr/>
      <dgm:t>
        <a:bodyPr/>
        <a:lstStyle/>
        <a:p>
          <a:endParaRPr lang="es-ES"/>
        </a:p>
      </dgm:t>
    </dgm:pt>
    <dgm:pt modelId="{D3487BAE-61BA-4F4C-8F76-AF8B2A4A7328}" type="pres">
      <dgm:prSet presAssocID="{558FFD33-6CEC-47A1-A5BF-1D2E7CD1747C}" presName="linear" presStyleCnt="0">
        <dgm:presLayoutVars>
          <dgm:animLvl val="lvl"/>
          <dgm:resizeHandles val="exact"/>
        </dgm:presLayoutVars>
      </dgm:prSet>
      <dgm:spPr/>
    </dgm:pt>
    <dgm:pt modelId="{95AFA17B-070F-40E6-8D60-6732F8D84CCE}" type="pres">
      <dgm:prSet presAssocID="{2A1D3803-1345-4842-94B7-02CA207A69A9}" presName="parentText" presStyleLbl="node1" presStyleIdx="0" presStyleCnt="4">
        <dgm:presLayoutVars>
          <dgm:chMax val="0"/>
          <dgm:bulletEnabled val="1"/>
        </dgm:presLayoutVars>
      </dgm:prSet>
      <dgm:spPr/>
    </dgm:pt>
    <dgm:pt modelId="{750DBAF2-FD2B-47F2-A8AB-84D14DC8696E}" type="pres">
      <dgm:prSet presAssocID="{6AA7CCC9-AF82-4CCD-A849-32FC0A66B468}" presName="spacer" presStyleCnt="0"/>
      <dgm:spPr/>
    </dgm:pt>
    <dgm:pt modelId="{1E2362A6-1CCB-4A90-AA65-766BDC2F927E}" type="pres">
      <dgm:prSet presAssocID="{50413C79-B087-437A-8F8F-FDE6D2A3111F}" presName="parentText" presStyleLbl="node1" presStyleIdx="1" presStyleCnt="4">
        <dgm:presLayoutVars>
          <dgm:chMax val="0"/>
          <dgm:bulletEnabled val="1"/>
        </dgm:presLayoutVars>
      </dgm:prSet>
      <dgm:spPr/>
    </dgm:pt>
    <dgm:pt modelId="{A78F425E-E26C-4AB4-AD6C-B3B249025F30}" type="pres">
      <dgm:prSet presAssocID="{0D3DAA55-0134-4548-8B21-26021FB21F5E}" presName="spacer" presStyleCnt="0"/>
      <dgm:spPr/>
    </dgm:pt>
    <dgm:pt modelId="{BFAEF80D-76A0-48A4-87F9-959F301B383A}" type="pres">
      <dgm:prSet presAssocID="{1A77F662-B32B-4B66-8832-3610135B692E}" presName="parentText" presStyleLbl="node1" presStyleIdx="2" presStyleCnt="4">
        <dgm:presLayoutVars>
          <dgm:chMax val="0"/>
          <dgm:bulletEnabled val="1"/>
        </dgm:presLayoutVars>
      </dgm:prSet>
      <dgm:spPr/>
    </dgm:pt>
    <dgm:pt modelId="{1658E779-44C4-4EB0-8081-BBE94CFE2325}" type="pres">
      <dgm:prSet presAssocID="{C4F816D7-5F75-4F20-B6AA-40DE712CF16C}" presName="spacer" presStyleCnt="0"/>
      <dgm:spPr/>
    </dgm:pt>
    <dgm:pt modelId="{4A7218FD-15D3-4690-AA59-5726E01DCB41}" type="pres">
      <dgm:prSet presAssocID="{5D00A576-2AF5-4DAF-A809-E682222833A5}" presName="parentText" presStyleLbl="node1" presStyleIdx="3" presStyleCnt="4">
        <dgm:presLayoutVars>
          <dgm:chMax val="0"/>
          <dgm:bulletEnabled val="1"/>
        </dgm:presLayoutVars>
      </dgm:prSet>
      <dgm:spPr/>
    </dgm:pt>
  </dgm:ptLst>
  <dgm:cxnLst>
    <dgm:cxn modelId="{2C43B410-7114-4CA7-82FB-441ECBE94DCD}" srcId="{558FFD33-6CEC-47A1-A5BF-1D2E7CD1747C}" destId="{5D00A576-2AF5-4DAF-A809-E682222833A5}" srcOrd="3" destOrd="0" parTransId="{5159AD0E-2368-430A-A40E-F160228EF8E0}" sibTransId="{D07B3268-797B-455E-87B5-E212105CCF0B}"/>
    <dgm:cxn modelId="{B7B7D918-DFCA-48D6-961D-C66C0C3F3658}" type="presOf" srcId="{50413C79-B087-437A-8F8F-FDE6D2A3111F}" destId="{1E2362A6-1CCB-4A90-AA65-766BDC2F927E}" srcOrd="0" destOrd="0" presId="urn:microsoft.com/office/officeart/2005/8/layout/vList2"/>
    <dgm:cxn modelId="{33BD0935-78BE-4E35-8D72-7442FB3F255F}" srcId="{558FFD33-6CEC-47A1-A5BF-1D2E7CD1747C}" destId="{50413C79-B087-437A-8F8F-FDE6D2A3111F}" srcOrd="1" destOrd="0" parTransId="{C2597FE4-C0A5-4093-8322-231035356822}" sibTransId="{0D3DAA55-0134-4548-8B21-26021FB21F5E}"/>
    <dgm:cxn modelId="{1C429855-FFF6-4E21-8771-9515F791F3A2}" srcId="{558FFD33-6CEC-47A1-A5BF-1D2E7CD1747C}" destId="{2A1D3803-1345-4842-94B7-02CA207A69A9}" srcOrd="0" destOrd="0" parTransId="{F1BB5163-256C-498C-9103-CDCD83F3851E}" sibTransId="{6AA7CCC9-AF82-4CCD-A849-32FC0A66B468}"/>
    <dgm:cxn modelId="{1F190B95-FC80-4826-8E2F-44CA825C9105}" type="presOf" srcId="{5D00A576-2AF5-4DAF-A809-E682222833A5}" destId="{4A7218FD-15D3-4690-AA59-5726E01DCB41}" srcOrd="0" destOrd="0" presId="urn:microsoft.com/office/officeart/2005/8/layout/vList2"/>
    <dgm:cxn modelId="{C9B3FFBE-A029-412D-8AC8-F59DEBDE78FE}" type="presOf" srcId="{558FFD33-6CEC-47A1-A5BF-1D2E7CD1747C}" destId="{D3487BAE-61BA-4F4C-8F76-AF8B2A4A7328}" srcOrd="0" destOrd="0" presId="urn:microsoft.com/office/officeart/2005/8/layout/vList2"/>
    <dgm:cxn modelId="{E29C7FC8-F75D-4F92-B3E9-F8B6ACDA540C}" type="presOf" srcId="{2A1D3803-1345-4842-94B7-02CA207A69A9}" destId="{95AFA17B-070F-40E6-8D60-6732F8D84CCE}" srcOrd="0" destOrd="0" presId="urn:microsoft.com/office/officeart/2005/8/layout/vList2"/>
    <dgm:cxn modelId="{0701A4EB-68EF-4FAE-B62B-AC48A375FF61}" type="presOf" srcId="{1A77F662-B32B-4B66-8832-3610135B692E}" destId="{BFAEF80D-76A0-48A4-87F9-959F301B383A}" srcOrd="0" destOrd="0" presId="urn:microsoft.com/office/officeart/2005/8/layout/vList2"/>
    <dgm:cxn modelId="{13FA8BEF-50EF-4520-88E0-51D6522DD31E}" srcId="{558FFD33-6CEC-47A1-A5BF-1D2E7CD1747C}" destId="{1A77F662-B32B-4B66-8832-3610135B692E}" srcOrd="2" destOrd="0" parTransId="{7160B17D-6688-4F29-AF07-FC56B3536FD7}" sibTransId="{C4F816D7-5F75-4F20-B6AA-40DE712CF16C}"/>
    <dgm:cxn modelId="{F99B744F-C857-4C1C-927A-E8A19AB1E344}" type="presParOf" srcId="{D3487BAE-61BA-4F4C-8F76-AF8B2A4A7328}" destId="{95AFA17B-070F-40E6-8D60-6732F8D84CCE}" srcOrd="0" destOrd="0" presId="urn:microsoft.com/office/officeart/2005/8/layout/vList2"/>
    <dgm:cxn modelId="{0AB8E15C-0E33-456A-B2AA-14BC6BBF649E}" type="presParOf" srcId="{D3487BAE-61BA-4F4C-8F76-AF8B2A4A7328}" destId="{750DBAF2-FD2B-47F2-A8AB-84D14DC8696E}" srcOrd="1" destOrd="0" presId="urn:microsoft.com/office/officeart/2005/8/layout/vList2"/>
    <dgm:cxn modelId="{8C7118E9-51A8-41A2-AF76-C902DB995C97}" type="presParOf" srcId="{D3487BAE-61BA-4F4C-8F76-AF8B2A4A7328}" destId="{1E2362A6-1CCB-4A90-AA65-766BDC2F927E}" srcOrd="2" destOrd="0" presId="urn:microsoft.com/office/officeart/2005/8/layout/vList2"/>
    <dgm:cxn modelId="{8B51F26D-4E82-44D6-AE82-2E07801BFE0F}" type="presParOf" srcId="{D3487BAE-61BA-4F4C-8F76-AF8B2A4A7328}" destId="{A78F425E-E26C-4AB4-AD6C-B3B249025F30}" srcOrd="3" destOrd="0" presId="urn:microsoft.com/office/officeart/2005/8/layout/vList2"/>
    <dgm:cxn modelId="{A43D2531-FA0C-4125-B3CF-93494ACFE5C3}" type="presParOf" srcId="{D3487BAE-61BA-4F4C-8F76-AF8B2A4A7328}" destId="{BFAEF80D-76A0-48A4-87F9-959F301B383A}" srcOrd="4" destOrd="0" presId="urn:microsoft.com/office/officeart/2005/8/layout/vList2"/>
    <dgm:cxn modelId="{FCF4659C-2DCC-48DF-9639-97373072699D}" type="presParOf" srcId="{D3487BAE-61BA-4F4C-8F76-AF8B2A4A7328}" destId="{1658E779-44C4-4EB0-8081-BBE94CFE2325}" srcOrd="5" destOrd="0" presId="urn:microsoft.com/office/officeart/2005/8/layout/vList2"/>
    <dgm:cxn modelId="{49B49DD7-B748-4BFB-9B17-783E1A9E6756}" type="presParOf" srcId="{D3487BAE-61BA-4F4C-8F76-AF8B2A4A7328}" destId="{4A7218FD-15D3-4690-AA59-5726E01DCB41}" srcOrd="6"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340EE10E-19F7-41A2-AFF2-802508C5D3E2}"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s-ES"/>
        </a:p>
      </dgm:t>
    </dgm:pt>
    <dgm:pt modelId="{D65AF6B4-791A-4B0E-BA56-8BF80627FD02}">
      <dgm:prSet phldrT="[Text]"/>
      <dgm:spPr/>
      <dgm:t>
        <a:bodyPr/>
        <a:lstStyle/>
        <a:p>
          <a:r>
            <a:rPr lang="es-ES_tradnl"/>
            <a:t>Contrato de prueba</a:t>
          </a:r>
          <a:endParaRPr lang="es-ES"/>
        </a:p>
      </dgm:t>
    </dgm:pt>
    <dgm:pt modelId="{2312C1CC-1199-4383-AABD-D8C5ABC89852}" type="parTrans" cxnId="{16595D8E-40BB-4797-A7AA-AF24A92793C3}">
      <dgm:prSet/>
      <dgm:spPr/>
      <dgm:t>
        <a:bodyPr/>
        <a:lstStyle/>
        <a:p>
          <a:endParaRPr lang="es-ES"/>
        </a:p>
      </dgm:t>
    </dgm:pt>
    <dgm:pt modelId="{475B2848-1645-46EC-8110-B719CA212DF9}" type="sibTrans" cxnId="{16595D8E-40BB-4797-A7AA-AF24A92793C3}">
      <dgm:prSet/>
      <dgm:spPr/>
      <dgm:t>
        <a:bodyPr/>
        <a:lstStyle/>
        <a:p>
          <a:endParaRPr lang="es-ES"/>
        </a:p>
      </dgm:t>
    </dgm:pt>
    <dgm:pt modelId="{17D0C75F-AE3E-4E18-ADB8-04EA50990FB2}">
      <dgm:prSet phldrT="[Text]"/>
      <dgm:spPr/>
      <dgm:t>
        <a:bodyPr/>
        <a:lstStyle/>
        <a:p>
          <a:pPr>
            <a:buFont typeface="Courier New" panose="02070309020205020404" pitchFamily="49" charset="0"/>
            <a:buChar char="o"/>
          </a:pPr>
          <a:r>
            <a:rPr lang="es-ES" b="1">
              <a:latin typeface="Calibri" panose="020F0502020204030204" pitchFamily="34" charset="0"/>
              <a:cs typeface="Times New Roman" panose="02020603050405020304" pitchFamily="18" charset="0"/>
            </a:rPr>
            <a:t>Actor</a:t>
          </a:r>
          <a:endParaRPr lang="es-ES"/>
        </a:p>
      </dgm:t>
    </dgm:pt>
    <dgm:pt modelId="{1C5725D2-5465-4099-A4F8-1DEFA9232321}" type="parTrans" cxnId="{CD590D0C-70EB-406B-B356-622F9F93A87C}">
      <dgm:prSet/>
      <dgm:spPr/>
      <dgm:t>
        <a:bodyPr/>
        <a:lstStyle/>
        <a:p>
          <a:endParaRPr lang="es-ES"/>
        </a:p>
      </dgm:t>
    </dgm:pt>
    <dgm:pt modelId="{1B06798D-DA8F-437F-B18D-459BDB3768EE}" type="sibTrans" cxnId="{CD590D0C-70EB-406B-B356-622F9F93A87C}">
      <dgm:prSet/>
      <dgm:spPr/>
      <dgm:t>
        <a:bodyPr/>
        <a:lstStyle/>
        <a:p>
          <a:endParaRPr lang="es-ES"/>
        </a:p>
      </dgm:t>
    </dgm:pt>
    <dgm:pt modelId="{0ADBAF0A-A81B-491D-A71E-90757004F7D0}">
      <dgm:prSet/>
      <dgm:spPr/>
      <dgm:t>
        <a:bodyPr/>
        <a:lstStyle/>
        <a:p>
          <a:r>
            <a:rPr lang="es-ES" b="1">
              <a:latin typeface="Calibri" panose="020F0502020204030204" pitchFamily="34" charset="0"/>
              <a:cs typeface="Times New Roman" panose="02020603050405020304" pitchFamily="18" charset="0"/>
            </a:rPr>
            <a:t>Propósito</a:t>
          </a:r>
          <a:endParaRPr lang="es-ES">
            <a:latin typeface="Calibri" panose="020F0502020204030204" pitchFamily="34" charset="0"/>
            <a:cs typeface="Times New Roman" panose="02020603050405020304" pitchFamily="18" charset="0"/>
          </a:endParaRPr>
        </a:p>
      </dgm:t>
    </dgm:pt>
    <dgm:pt modelId="{6D3C538C-579B-4346-88B5-C5005122EF48}" type="parTrans" cxnId="{8A0EC14A-F2E6-49B4-B525-28F738C5A5CD}">
      <dgm:prSet/>
      <dgm:spPr/>
      <dgm:t>
        <a:bodyPr/>
        <a:lstStyle/>
        <a:p>
          <a:endParaRPr lang="es-ES"/>
        </a:p>
      </dgm:t>
    </dgm:pt>
    <dgm:pt modelId="{88FA04B7-7651-47D8-9691-D62473C14785}" type="sibTrans" cxnId="{8A0EC14A-F2E6-49B4-B525-28F738C5A5CD}">
      <dgm:prSet/>
      <dgm:spPr/>
      <dgm:t>
        <a:bodyPr/>
        <a:lstStyle/>
        <a:p>
          <a:endParaRPr lang="es-ES"/>
        </a:p>
      </dgm:t>
    </dgm:pt>
    <dgm:pt modelId="{A1FCC4FD-FCF8-4D08-987D-C87BFCAA65C6}">
      <dgm:prSet/>
      <dgm:spPr/>
      <dgm:t>
        <a:bodyPr/>
        <a:lstStyle/>
        <a:p>
          <a:r>
            <a:rPr lang="es-ES" b="1">
              <a:latin typeface="Calibri" panose="020F0502020204030204" pitchFamily="34" charset="0"/>
              <a:cs typeface="Times New Roman" panose="02020603050405020304" pitchFamily="18" charset="0"/>
            </a:rPr>
            <a:t>Preparación</a:t>
          </a:r>
          <a:endParaRPr lang="es-ES">
            <a:latin typeface="Calibri" panose="020F0502020204030204" pitchFamily="34" charset="0"/>
            <a:cs typeface="Times New Roman" panose="02020603050405020304" pitchFamily="18" charset="0"/>
          </a:endParaRPr>
        </a:p>
      </dgm:t>
    </dgm:pt>
    <dgm:pt modelId="{CBCF2CEB-6B3E-4A86-B297-EEC9EB04EF11}" type="parTrans" cxnId="{4A5AA976-1376-4B45-B450-F7ED41951743}">
      <dgm:prSet/>
      <dgm:spPr/>
      <dgm:t>
        <a:bodyPr/>
        <a:lstStyle/>
        <a:p>
          <a:endParaRPr lang="es-ES"/>
        </a:p>
      </dgm:t>
    </dgm:pt>
    <dgm:pt modelId="{D2772369-5019-4FC9-86E9-05608E2A309A}" type="sibTrans" cxnId="{4A5AA976-1376-4B45-B450-F7ED41951743}">
      <dgm:prSet/>
      <dgm:spPr/>
      <dgm:t>
        <a:bodyPr/>
        <a:lstStyle/>
        <a:p>
          <a:endParaRPr lang="es-ES"/>
        </a:p>
      </dgm:t>
    </dgm:pt>
    <dgm:pt modelId="{7DB720A7-D9E3-40A6-8AFF-92CB177B2D44}">
      <dgm:prSet/>
      <dgm:spPr/>
      <dgm:t>
        <a:bodyPr/>
        <a:lstStyle/>
        <a:p>
          <a:r>
            <a:rPr lang="es-ES" b="1">
              <a:latin typeface="Calibri" panose="020F0502020204030204" pitchFamily="34" charset="0"/>
              <a:cs typeface="Times New Roman" panose="02020603050405020304" pitchFamily="18" charset="0"/>
            </a:rPr>
            <a:t>Prioridad</a:t>
          </a:r>
          <a:endParaRPr lang="es-ES">
            <a:latin typeface="Calibri" panose="020F0502020204030204" pitchFamily="34" charset="0"/>
            <a:cs typeface="Times New Roman" panose="02020603050405020304" pitchFamily="18" charset="0"/>
          </a:endParaRPr>
        </a:p>
      </dgm:t>
    </dgm:pt>
    <dgm:pt modelId="{1574A579-5B78-4A3A-9595-2483B64FAC68}" type="parTrans" cxnId="{C61EBE15-6527-49E3-94C7-02D24178B6CC}">
      <dgm:prSet/>
      <dgm:spPr/>
      <dgm:t>
        <a:bodyPr/>
        <a:lstStyle/>
        <a:p>
          <a:endParaRPr lang="es-ES"/>
        </a:p>
      </dgm:t>
    </dgm:pt>
    <dgm:pt modelId="{F2C4A96E-4750-4209-957B-B3AE06BB0F5C}" type="sibTrans" cxnId="{C61EBE15-6527-49E3-94C7-02D24178B6CC}">
      <dgm:prSet/>
      <dgm:spPr/>
      <dgm:t>
        <a:bodyPr/>
        <a:lstStyle/>
        <a:p>
          <a:endParaRPr lang="es-ES"/>
        </a:p>
      </dgm:t>
    </dgm:pt>
    <dgm:pt modelId="{9D040091-5496-4E4D-8D76-088F1C27670D}">
      <dgm:prSet/>
      <dgm:spPr/>
      <dgm:t>
        <a:bodyPr/>
        <a:lstStyle/>
        <a:p>
          <a:r>
            <a:rPr lang="es-ES" b="1">
              <a:latin typeface="Calibri" panose="020F0502020204030204" pitchFamily="34" charset="0"/>
              <a:cs typeface="Times New Roman" panose="02020603050405020304" pitchFamily="18" charset="0"/>
            </a:rPr>
            <a:t>Referencia</a:t>
          </a:r>
          <a:endParaRPr lang="es-ES">
            <a:latin typeface="Calibri" panose="020F0502020204030204" pitchFamily="34" charset="0"/>
            <a:cs typeface="Times New Roman" panose="02020603050405020304" pitchFamily="18" charset="0"/>
          </a:endParaRPr>
        </a:p>
      </dgm:t>
    </dgm:pt>
    <dgm:pt modelId="{828EAD0E-DC46-45B3-959B-BFEAFF7A92A2}" type="parTrans" cxnId="{67DD388A-F7F4-4F8F-AB21-4B47CA668510}">
      <dgm:prSet/>
      <dgm:spPr/>
      <dgm:t>
        <a:bodyPr/>
        <a:lstStyle/>
        <a:p>
          <a:endParaRPr lang="es-ES"/>
        </a:p>
      </dgm:t>
    </dgm:pt>
    <dgm:pt modelId="{D58BFF65-0077-4CA8-9DDB-A569B32B071C}" type="sibTrans" cxnId="{67DD388A-F7F4-4F8F-AB21-4B47CA668510}">
      <dgm:prSet/>
      <dgm:spPr/>
      <dgm:t>
        <a:bodyPr/>
        <a:lstStyle/>
        <a:p>
          <a:endParaRPr lang="es-ES"/>
        </a:p>
      </dgm:t>
    </dgm:pt>
    <dgm:pt modelId="{0A87DE49-F0C2-49AD-BD56-2AE2ED4C7337}">
      <dgm:prSet/>
      <dgm:spPr/>
      <dgm:t>
        <a:bodyPr/>
        <a:lstStyle/>
        <a:p>
          <a:r>
            <a:rPr lang="es-ES" b="1">
              <a:latin typeface="Calibri" panose="020F0502020204030204" pitchFamily="34" charset="0"/>
              <a:cs typeface="Times New Roman" panose="02020603050405020304" pitchFamily="18" charset="0"/>
            </a:rPr>
            <a:t>Datos</a:t>
          </a:r>
          <a:endParaRPr lang="es-ES">
            <a:latin typeface="Calibri" panose="020F0502020204030204" pitchFamily="34" charset="0"/>
            <a:cs typeface="Times New Roman" panose="02020603050405020304" pitchFamily="18" charset="0"/>
          </a:endParaRPr>
        </a:p>
      </dgm:t>
    </dgm:pt>
    <dgm:pt modelId="{60B1EE9E-3F2E-4531-B529-3E1162B4EDB5}" type="parTrans" cxnId="{6DF540AA-6F07-48A1-B2AB-B64B6AD7DA15}">
      <dgm:prSet/>
      <dgm:spPr/>
      <dgm:t>
        <a:bodyPr/>
        <a:lstStyle/>
        <a:p>
          <a:endParaRPr lang="es-ES"/>
        </a:p>
      </dgm:t>
    </dgm:pt>
    <dgm:pt modelId="{3E744822-C351-4144-AB9E-642B8E8DCE19}" type="sibTrans" cxnId="{6DF540AA-6F07-48A1-B2AB-B64B6AD7DA15}">
      <dgm:prSet/>
      <dgm:spPr/>
      <dgm:t>
        <a:bodyPr/>
        <a:lstStyle/>
        <a:p>
          <a:endParaRPr lang="es-ES"/>
        </a:p>
      </dgm:t>
    </dgm:pt>
    <dgm:pt modelId="{AD62DDCA-E8EC-4308-A0E4-CEB2CBD65D50}">
      <dgm:prSet/>
      <dgm:spPr/>
      <dgm:t>
        <a:bodyPr/>
        <a:lstStyle/>
        <a:p>
          <a:r>
            <a:rPr lang="es-ES" b="1">
              <a:latin typeface="Calibri" panose="020F0502020204030204" pitchFamily="34" charset="0"/>
              <a:cs typeface="Times New Roman" panose="02020603050405020304" pitchFamily="18" charset="0"/>
            </a:rPr>
            <a:t>Actividades</a:t>
          </a:r>
          <a:endParaRPr lang="es-ES">
            <a:latin typeface="Calibri" panose="020F0502020204030204" pitchFamily="34" charset="0"/>
            <a:cs typeface="Times New Roman" panose="02020603050405020304" pitchFamily="18" charset="0"/>
          </a:endParaRPr>
        </a:p>
      </dgm:t>
    </dgm:pt>
    <dgm:pt modelId="{D6B3AE93-24A5-43AC-860D-5A4ED6737B32}" type="parTrans" cxnId="{EF56DA99-E371-4288-851E-D5DBC132F08F}">
      <dgm:prSet/>
      <dgm:spPr/>
      <dgm:t>
        <a:bodyPr/>
        <a:lstStyle/>
        <a:p>
          <a:endParaRPr lang="es-ES"/>
        </a:p>
      </dgm:t>
    </dgm:pt>
    <dgm:pt modelId="{9A4D4205-AB5B-4C8F-9125-F3BB05E7D317}" type="sibTrans" cxnId="{EF56DA99-E371-4288-851E-D5DBC132F08F}">
      <dgm:prSet/>
      <dgm:spPr/>
      <dgm:t>
        <a:bodyPr/>
        <a:lstStyle/>
        <a:p>
          <a:endParaRPr lang="es-ES"/>
        </a:p>
      </dgm:t>
    </dgm:pt>
    <dgm:pt modelId="{3C466C0D-F987-4D1A-978D-B367C2B09C47}">
      <dgm:prSet/>
      <dgm:spPr/>
      <dgm:t>
        <a:bodyPr/>
        <a:lstStyle/>
        <a:p>
          <a:r>
            <a:rPr lang="es-ES" b="1">
              <a:latin typeface="Calibri" panose="020F0502020204030204" pitchFamily="34" charset="0"/>
              <a:cs typeface="Times New Roman" panose="02020603050405020304" pitchFamily="18" charset="0"/>
            </a:rPr>
            <a:t>Notas del oráculo</a:t>
          </a:r>
          <a:endParaRPr lang="es-ES">
            <a:latin typeface="Calibri" panose="020F0502020204030204" pitchFamily="34" charset="0"/>
            <a:cs typeface="Times New Roman" panose="02020603050405020304" pitchFamily="18" charset="0"/>
          </a:endParaRPr>
        </a:p>
      </dgm:t>
    </dgm:pt>
    <dgm:pt modelId="{30591467-1838-4587-9FB4-BC62B0DF1F1B}" type="parTrans" cxnId="{0A3B7C3C-A75F-4B1B-AAF5-1CFF76E82EA5}">
      <dgm:prSet/>
      <dgm:spPr/>
      <dgm:t>
        <a:bodyPr/>
        <a:lstStyle/>
        <a:p>
          <a:endParaRPr lang="es-ES"/>
        </a:p>
      </dgm:t>
    </dgm:pt>
    <dgm:pt modelId="{01101AF2-0F4C-486A-85A4-BFABFA60D898}" type="sibTrans" cxnId="{0A3B7C3C-A75F-4B1B-AAF5-1CFF76E82EA5}">
      <dgm:prSet/>
      <dgm:spPr/>
      <dgm:t>
        <a:bodyPr/>
        <a:lstStyle/>
        <a:p>
          <a:endParaRPr lang="es-ES"/>
        </a:p>
      </dgm:t>
    </dgm:pt>
    <dgm:pt modelId="{91F23C71-7A5A-423F-87D2-97EDB03502D3}">
      <dgm:prSet/>
      <dgm:spPr/>
      <dgm:t>
        <a:bodyPr/>
        <a:lstStyle/>
        <a:p>
          <a:r>
            <a:rPr lang="es-ES" b="1">
              <a:latin typeface="Calibri" panose="020F0502020204030204" pitchFamily="34" charset="0"/>
              <a:cs typeface="Times New Roman" panose="02020603050405020304" pitchFamily="18" charset="0"/>
            </a:rPr>
            <a:t>Variaciones</a:t>
          </a:r>
          <a:endParaRPr lang="es-ES">
            <a:latin typeface="Calibri" panose="020F0502020204030204" pitchFamily="34" charset="0"/>
            <a:cs typeface="Times New Roman" panose="02020603050405020304" pitchFamily="18" charset="0"/>
          </a:endParaRPr>
        </a:p>
      </dgm:t>
    </dgm:pt>
    <dgm:pt modelId="{D9AC3693-8AEF-493D-8DE8-54DFD2ABC3B6}" type="parTrans" cxnId="{9DD46C1E-A11A-4C85-94D2-51B0705156E6}">
      <dgm:prSet/>
      <dgm:spPr/>
      <dgm:t>
        <a:bodyPr/>
        <a:lstStyle/>
        <a:p>
          <a:endParaRPr lang="es-ES"/>
        </a:p>
      </dgm:t>
    </dgm:pt>
    <dgm:pt modelId="{9E90FDE5-54DA-46EC-96FB-0B668950FA5D}" type="sibTrans" cxnId="{9DD46C1E-A11A-4C85-94D2-51B0705156E6}">
      <dgm:prSet/>
      <dgm:spPr/>
      <dgm:t>
        <a:bodyPr/>
        <a:lstStyle/>
        <a:p>
          <a:endParaRPr lang="es-ES"/>
        </a:p>
      </dgm:t>
    </dgm:pt>
    <dgm:pt modelId="{DBAB5C51-738A-425F-9658-C58E7D368E18}" type="pres">
      <dgm:prSet presAssocID="{340EE10E-19F7-41A2-AFF2-802508C5D3E2}" presName="cycle" presStyleCnt="0">
        <dgm:presLayoutVars>
          <dgm:chMax val="1"/>
          <dgm:dir/>
          <dgm:animLvl val="ctr"/>
          <dgm:resizeHandles val="exact"/>
        </dgm:presLayoutVars>
      </dgm:prSet>
      <dgm:spPr/>
    </dgm:pt>
    <dgm:pt modelId="{D9CF68D2-F0E6-420D-ADE7-72BF4AA7D679}" type="pres">
      <dgm:prSet presAssocID="{D65AF6B4-791A-4B0E-BA56-8BF80627FD02}" presName="centerShape" presStyleLbl="node0" presStyleIdx="0" presStyleCnt="1"/>
      <dgm:spPr/>
    </dgm:pt>
    <dgm:pt modelId="{7C401488-71F4-4443-881B-3E430469B0AA}" type="pres">
      <dgm:prSet presAssocID="{1C5725D2-5465-4099-A4F8-1DEFA9232321}" presName="Name9" presStyleLbl="parChTrans1D2" presStyleIdx="0" presStyleCnt="9"/>
      <dgm:spPr/>
    </dgm:pt>
    <dgm:pt modelId="{D685C22D-54B8-4AA1-BCBD-C0FD23E6012D}" type="pres">
      <dgm:prSet presAssocID="{1C5725D2-5465-4099-A4F8-1DEFA9232321}" presName="connTx" presStyleLbl="parChTrans1D2" presStyleIdx="0" presStyleCnt="9"/>
      <dgm:spPr/>
    </dgm:pt>
    <dgm:pt modelId="{6A7B62F4-034A-4240-91F3-706A2D027814}" type="pres">
      <dgm:prSet presAssocID="{17D0C75F-AE3E-4E18-ADB8-04EA50990FB2}" presName="node" presStyleLbl="node1" presStyleIdx="0" presStyleCnt="9">
        <dgm:presLayoutVars>
          <dgm:bulletEnabled val="1"/>
        </dgm:presLayoutVars>
      </dgm:prSet>
      <dgm:spPr/>
    </dgm:pt>
    <dgm:pt modelId="{EC840A98-A643-49CB-8B0D-F7653AA586BC}" type="pres">
      <dgm:prSet presAssocID="{6D3C538C-579B-4346-88B5-C5005122EF48}" presName="Name9" presStyleLbl="parChTrans1D2" presStyleIdx="1" presStyleCnt="9"/>
      <dgm:spPr/>
    </dgm:pt>
    <dgm:pt modelId="{D320B58A-DA4D-46F2-B6AC-4AB426DF4599}" type="pres">
      <dgm:prSet presAssocID="{6D3C538C-579B-4346-88B5-C5005122EF48}" presName="connTx" presStyleLbl="parChTrans1D2" presStyleIdx="1" presStyleCnt="9"/>
      <dgm:spPr/>
    </dgm:pt>
    <dgm:pt modelId="{FE3F3F3C-9B9A-45CD-BABE-C68E35151E44}" type="pres">
      <dgm:prSet presAssocID="{0ADBAF0A-A81B-491D-A71E-90757004F7D0}" presName="node" presStyleLbl="node1" presStyleIdx="1" presStyleCnt="9">
        <dgm:presLayoutVars>
          <dgm:bulletEnabled val="1"/>
        </dgm:presLayoutVars>
      </dgm:prSet>
      <dgm:spPr/>
    </dgm:pt>
    <dgm:pt modelId="{16E115CA-6447-431B-AE08-5C5F7E9020EC}" type="pres">
      <dgm:prSet presAssocID="{CBCF2CEB-6B3E-4A86-B297-EEC9EB04EF11}" presName="Name9" presStyleLbl="parChTrans1D2" presStyleIdx="2" presStyleCnt="9"/>
      <dgm:spPr/>
    </dgm:pt>
    <dgm:pt modelId="{924D11D3-974D-40D8-ABE7-CDE8A455AF0F}" type="pres">
      <dgm:prSet presAssocID="{CBCF2CEB-6B3E-4A86-B297-EEC9EB04EF11}" presName="connTx" presStyleLbl="parChTrans1D2" presStyleIdx="2" presStyleCnt="9"/>
      <dgm:spPr/>
    </dgm:pt>
    <dgm:pt modelId="{ACD54E00-5E6C-465C-B246-33436228BF09}" type="pres">
      <dgm:prSet presAssocID="{A1FCC4FD-FCF8-4D08-987D-C87BFCAA65C6}" presName="node" presStyleLbl="node1" presStyleIdx="2" presStyleCnt="9">
        <dgm:presLayoutVars>
          <dgm:bulletEnabled val="1"/>
        </dgm:presLayoutVars>
      </dgm:prSet>
      <dgm:spPr/>
    </dgm:pt>
    <dgm:pt modelId="{7366C77F-0840-4914-9BA9-C8884434B08F}" type="pres">
      <dgm:prSet presAssocID="{1574A579-5B78-4A3A-9595-2483B64FAC68}" presName="Name9" presStyleLbl="parChTrans1D2" presStyleIdx="3" presStyleCnt="9"/>
      <dgm:spPr/>
    </dgm:pt>
    <dgm:pt modelId="{ED056DBB-FA73-45E0-8A93-45821FF6A750}" type="pres">
      <dgm:prSet presAssocID="{1574A579-5B78-4A3A-9595-2483B64FAC68}" presName="connTx" presStyleLbl="parChTrans1D2" presStyleIdx="3" presStyleCnt="9"/>
      <dgm:spPr/>
    </dgm:pt>
    <dgm:pt modelId="{82C8AC5F-8F50-44E4-BB95-5FF2D0114D87}" type="pres">
      <dgm:prSet presAssocID="{7DB720A7-D9E3-40A6-8AFF-92CB177B2D44}" presName="node" presStyleLbl="node1" presStyleIdx="3" presStyleCnt="9">
        <dgm:presLayoutVars>
          <dgm:bulletEnabled val="1"/>
        </dgm:presLayoutVars>
      </dgm:prSet>
      <dgm:spPr/>
    </dgm:pt>
    <dgm:pt modelId="{D8EC3EA8-6770-4F15-8157-BAE8AE72FA89}" type="pres">
      <dgm:prSet presAssocID="{828EAD0E-DC46-45B3-959B-BFEAFF7A92A2}" presName="Name9" presStyleLbl="parChTrans1D2" presStyleIdx="4" presStyleCnt="9"/>
      <dgm:spPr/>
    </dgm:pt>
    <dgm:pt modelId="{5E1E56D6-CA37-4BEC-9593-27469681FA6C}" type="pres">
      <dgm:prSet presAssocID="{828EAD0E-DC46-45B3-959B-BFEAFF7A92A2}" presName="connTx" presStyleLbl="parChTrans1D2" presStyleIdx="4" presStyleCnt="9"/>
      <dgm:spPr/>
    </dgm:pt>
    <dgm:pt modelId="{0FC635C6-471E-4C93-9158-FA2C29D24F28}" type="pres">
      <dgm:prSet presAssocID="{9D040091-5496-4E4D-8D76-088F1C27670D}" presName="node" presStyleLbl="node1" presStyleIdx="4" presStyleCnt="9">
        <dgm:presLayoutVars>
          <dgm:bulletEnabled val="1"/>
        </dgm:presLayoutVars>
      </dgm:prSet>
      <dgm:spPr/>
    </dgm:pt>
    <dgm:pt modelId="{31A66129-3B4E-447E-9A8D-C26F963B7479}" type="pres">
      <dgm:prSet presAssocID="{60B1EE9E-3F2E-4531-B529-3E1162B4EDB5}" presName="Name9" presStyleLbl="parChTrans1D2" presStyleIdx="5" presStyleCnt="9"/>
      <dgm:spPr/>
    </dgm:pt>
    <dgm:pt modelId="{08C35746-699E-4569-9D03-7BBC65F21E01}" type="pres">
      <dgm:prSet presAssocID="{60B1EE9E-3F2E-4531-B529-3E1162B4EDB5}" presName="connTx" presStyleLbl="parChTrans1D2" presStyleIdx="5" presStyleCnt="9"/>
      <dgm:spPr/>
    </dgm:pt>
    <dgm:pt modelId="{0916324D-2B0A-4481-87DF-DDA7B07E6A6F}" type="pres">
      <dgm:prSet presAssocID="{0A87DE49-F0C2-49AD-BD56-2AE2ED4C7337}" presName="node" presStyleLbl="node1" presStyleIdx="5" presStyleCnt="9">
        <dgm:presLayoutVars>
          <dgm:bulletEnabled val="1"/>
        </dgm:presLayoutVars>
      </dgm:prSet>
      <dgm:spPr/>
    </dgm:pt>
    <dgm:pt modelId="{E047A546-D47D-4D2D-9DB9-01E504E59475}" type="pres">
      <dgm:prSet presAssocID="{D6B3AE93-24A5-43AC-860D-5A4ED6737B32}" presName="Name9" presStyleLbl="parChTrans1D2" presStyleIdx="6" presStyleCnt="9"/>
      <dgm:spPr/>
    </dgm:pt>
    <dgm:pt modelId="{BFA16E83-05B2-45E3-9042-9EA16EC31AB8}" type="pres">
      <dgm:prSet presAssocID="{D6B3AE93-24A5-43AC-860D-5A4ED6737B32}" presName="connTx" presStyleLbl="parChTrans1D2" presStyleIdx="6" presStyleCnt="9"/>
      <dgm:spPr/>
    </dgm:pt>
    <dgm:pt modelId="{143B9C8B-B548-424B-8440-ED4E8CBA2641}" type="pres">
      <dgm:prSet presAssocID="{AD62DDCA-E8EC-4308-A0E4-CEB2CBD65D50}" presName="node" presStyleLbl="node1" presStyleIdx="6" presStyleCnt="9">
        <dgm:presLayoutVars>
          <dgm:bulletEnabled val="1"/>
        </dgm:presLayoutVars>
      </dgm:prSet>
      <dgm:spPr/>
    </dgm:pt>
    <dgm:pt modelId="{E24C04FB-EE11-4834-A7BF-3103FD42CAFA}" type="pres">
      <dgm:prSet presAssocID="{30591467-1838-4587-9FB4-BC62B0DF1F1B}" presName="Name9" presStyleLbl="parChTrans1D2" presStyleIdx="7" presStyleCnt="9"/>
      <dgm:spPr/>
    </dgm:pt>
    <dgm:pt modelId="{0E9787E6-590B-4FCB-AB0D-9DAA1D37E347}" type="pres">
      <dgm:prSet presAssocID="{30591467-1838-4587-9FB4-BC62B0DF1F1B}" presName="connTx" presStyleLbl="parChTrans1D2" presStyleIdx="7" presStyleCnt="9"/>
      <dgm:spPr/>
    </dgm:pt>
    <dgm:pt modelId="{9C716F3F-E064-437B-8E4D-40EA75F035FA}" type="pres">
      <dgm:prSet presAssocID="{3C466C0D-F987-4D1A-978D-B367C2B09C47}" presName="node" presStyleLbl="node1" presStyleIdx="7" presStyleCnt="9">
        <dgm:presLayoutVars>
          <dgm:bulletEnabled val="1"/>
        </dgm:presLayoutVars>
      </dgm:prSet>
      <dgm:spPr/>
    </dgm:pt>
    <dgm:pt modelId="{345AB326-7E8E-4AF7-9099-D8811AB1D367}" type="pres">
      <dgm:prSet presAssocID="{D9AC3693-8AEF-493D-8DE8-54DFD2ABC3B6}" presName="Name9" presStyleLbl="parChTrans1D2" presStyleIdx="8" presStyleCnt="9"/>
      <dgm:spPr/>
    </dgm:pt>
    <dgm:pt modelId="{18460FE9-1082-4DB9-9584-E62C78844906}" type="pres">
      <dgm:prSet presAssocID="{D9AC3693-8AEF-493D-8DE8-54DFD2ABC3B6}" presName="connTx" presStyleLbl="parChTrans1D2" presStyleIdx="8" presStyleCnt="9"/>
      <dgm:spPr/>
    </dgm:pt>
    <dgm:pt modelId="{4A020FF0-393A-4FF8-98CF-DD267222A269}" type="pres">
      <dgm:prSet presAssocID="{91F23C71-7A5A-423F-87D2-97EDB03502D3}" presName="node" presStyleLbl="node1" presStyleIdx="8" presStyleCnt="9">
        <dgm:presLayoutVars>
          <dgm:bulletEnabled val="1"/>
        </dgm:presLayoutVars>
      </dgm:prSet>
      <dgm:spPr/>
    </dgm:pt>
  </dgm:ptLst>
  <dgm:cxnLst>
    <dgm:cxn modelId="{99714B03-2400-4C88-80C7-0CCDEC235D9A}" type="presOf" srcId="{9D040091-5496-4E4D-8D76-088F1C27670D}" destId="{0FC635C6-471E-4C93-9158-FA2C29D24F28}" srcOrd="0" destOrd="0" presId="urn:microsoft.com/office/officeart/2005/8/layout/radial1"/>
    <dgm:cxn modelId="{94FE4D07-54E7-432C-83B4-A5C1BB453E7B}" type="presOf" srcId="{D6B3AE93-24A5-43AC-860D-5A4ED6737B32}" destId="{E047A546-D47D-4D2D-9DB9-01E504E59475}" srcOrd="0" destOrd="0" presId="urn:microsoft.com/office/officeart/2005/8/layout/radial1"/>
    <dgm:cxn modelId="{2DDBFB07-4D3A-4C73-9E20-23ED3B963441}" type="presOf" srcId="{A1FCC4FD-FCF8-4D08-987D-C87BFCAA65C6}" destId="{ACD54E00-5E6C-465C-B246-33436228BF09}" srcOrd="0" destOrd="0" presId="urn:microsoft.com/office/officeart/2005/8/layout/radial1"/>
    <dgm:cxn modelId="{CD590D0C-70EB-406B-B356-622F9F93A87C}" srcId="{D65AF6B4-791A-4B0E-BA56-8BF80627FD02}" destId="{17D0C75F-AE3E-4E18-ADB8-04EA50990FB2}" srcOrd="0" destOrd="0" parTransId="{1C5725D2-5465-4099-A4F8-1DEFA9232321}" sibTransId="{1B06798D-DA8F-437F-B18D-459BDB3768EE}"/>
    <dgm:cxn modelId="{A73F080E-C8BD-4D92-90C4-0A1304C49044}" type="presOf" srcId="{6D3C538C-579B-4346-88B5-C5005122EF48}" destId="{D320B58A-DA4D-46F2-B6AC-4AB426DF4599}" srcOrd="1" destOrd="0" presId="urn:microsoft.com/office/officeart/2005/8/layout/radial1"/>
    <dgm:cxn modelId="{C61EBE15-6527-49E3-94C7-02D24178B6CC}" srcId="{D65AF6B4-791A-4B0E-BA56-8BF80627FD02}" destId="{7DB720A7-D9E3-40A6-8AFF-92CB177B2D44}" srcOrd="3" destOrd="0" parTransId="{1574A579-5B78-4A3A-9595-2483B64FAC68}" sibTransId="{F2C4A96E-4750-4209-957B-B3AE06BB0F5C}"/>
    <dgm:cxn modelId="{A954C41B-6939-4058-B7C3-C7C5ED87FD1D}" type="presOf" srcId="{1C5725D2-5465-4099-A4F8-1DEFA9232321}" destId="{7C401488-71F4-4443-881B-3E430469B0AA}" srcOrd="0" destOrd="0" presId="urn:microsoft.com/office/officeart/2005/8/layout/radial1"/>
    <dgm:cxn modelId="{9DD46C1E-A11A-4C85-94D2-51B0705156E6}" srcId="{D65AF6B4-791A-4B0E-BA56-8BF80627FD02}" destId="{91F23C71-7A5A-423F-87D2-97EDB03502D3}" srcOrd="8" destOrd="0" parTransId="{D9AC3693-8AEF-493D-8DE8-54DFD2ABC3B6}" sibTransId="{9E90FDE5-54DA-46EC-96FB-0B668950FA5D}"/>
    <dgm:cxn modelId="{BEB80A20-5BB7-4A82-8F12-AE7DE0C54AC5}" type="presOf" srcId="{D9AC3693-8AEF-493D-8DE8-54DFD2ABC3B6}" destId="{18460FE9-1082-4DB9-9584-E62C78844906}" srcOrd="1" destOrd="0" presId="urn:microsoft.com/office/officeart/2005/8/layout/radial1"/>
    <dgm:cxn modelId="{B798A12E-2539-4BCA-82B2-27AADF746D48}" type="presOf" srcId="{CBCF2CEB-6B3E-4A86-B297-EEC9EB04EF11}" destId="{924D11D3-974D-40D8-ABE7-CDE8A455AF0F}" srcOrd="1" destOrd="0" presId="urn:microsoft.com/office/officeart/2005/8/layout/radial1"/>
    <dgm:cxn modelId="{0A3B7C3C-A75F-4B1B-AAF5-1CFF76E82EA5}" srcId="{D65AF6B4-791A-4B0E-BA56-8BF80627FD02}" destId="{3C466C0D-F987-4D1A-978D-B367C2B09C47}" srcOrd="7" destOrd="0" parTransId="{30591467-1838-4587-9FB4-BC62B0DF1F1B}" sibTransId="{01101AF2-0F4C-486A-85A4-BFABFA60D898}"/>
    <dgm:cxn modelId="{7C69823C-0D12-416B-B281-4E5CC3105EF4}" type="presOf" srcId="{0A87DE49-F0C2-49AD-BD56-2AE2ED4C7337}" destId="{0916324D-2B0A-4481-87DF-DDA7B07E6A6F}" srcOrd="0" destOrd="0" presId="urn:microsoft.com/office/officeart/2005/8/layout/radial1"/>
    <dgm:cxn modelId="{18A0A35B-3D30-4358-A3A9-3DA403157EE6}" type="presOf" srcId="{D65AF6B4-791A-4B0E-BA56-8BF80627FD02}" destId="{D9CF68D2-F0E6-420D-ADE7-72BF4AA7D679}" srcOrd="0" destOrd="0" presId="urn:microsoft.com/office/officeart/2005/8/layout/radial1"/>
    <dgm:cxn modelId="{9917C143-11C9-4814-962D-B1A2F3B9B663}" type="presOf" srcId="{0ADBAF0A-A81B-491D-A71E-90757004F7D0}" destId="{FE3F3F3C-9B9A-45CD-BABE-C68E35151E44}" srcOrd="0" destOrd="0" presId="urn:microsoft.com/office/officeart/2005/8/layout/radial1"/>
    <dgm:cxn modelId="{BD19AE45-59C8-4CD3-86B5-142345A84A4C}" type="presOf" srcId="{828EAD0E-DC46-45B3-959B-BFEAFF7A92A2}" destId="{D8EC3EA8-6770-4F15-8157-BAE8AE72FA89}" srcOrd="0" destOrd="0" presId="urn:microsoft.com/office/officeart/2005/8/layout/radial1"/>
    <dgm:cxn modelId="{8A0EC14A-F2E6-49B4-B525-28F738C5A5CD}" srcId="{D65AF6B4-791A-4B0E-BA56-8BF80627FD02}" destId="{0ADBAF0A-A81B-491D-A71E-90757004F7D0}" srcOrd="1" destOrd="0" parTransId="{6D3C538C-579B-4346-88B5-C5005122EF48}" sibTransId="{88FA04B7-7651-47D8-9691-D62473C14785}"/>
    <dgm:cxn modelId="{7938686D-95D4-4F23-B18E-EDA687A6F313}" type="presOf" srcId="{60B1EE9E-3F2E-4531-B529-3E1162B4EDB5}" destId="{31A66129-3B4E-447E-9A8D-C26F963B7479}" srcOrd="0" destOrd="0" presId="urn:microsoft.com/office/officeart/2005/8/layout/radial1"/>
    <dgm:cxn modelId="{FEA24A6D-2DB7-4E7D-AA98-D3F176846FB1}" type="presOf" srcId="{1C5725D2-5465-4099-A4F8-1DEFA9232321}" destId="{D685C22D-54B8-4AA1-BCBD-C0FD23E6012D}" srcOrd="1" destOrd="0" presId="urn:microsoft.com/office/officeart/2005/8/layout/radial1"/>
    <dgm:cxn modelId="{4984EE6D-7420-4479-9C1B-D64623CB0F36}" type="presOf" srcId="{AD62DDCA-E8EC-4308-A0E4-CEB2CBD65D50}" destId="{143B9C8B-B548-424B-8440-ED4E8CBA2641}" srcOrd="0" destOrd="0" presId="urn:microsoft.com/office/officeart/2005/8/layout/radial1"/>
    <dgm:cxn modelId="{32603D73-EDBB-440D-BECC-886B1960E1E0}" type="presOf" srcId="{91F23C71-7A5A-423F-87D2-97EDB03502D3}" destId="{4A020FF0-393A-4FF8-98CF-DD267222A269}" srcOrd="0" destOrd="0" presId="urn:microsoft.com/office/officeart/2005/8/layout/radial1"/>
    <dgm:cxn modelId="{03FED154-ABC5-4229-AABF-ADADECEB1DE5}" type="presOf" srcId="{30591467-1838-4587-9FB4-BC62B0DF1F1B}" destId="{E24C04FB-EE11-4834-A7BF-3103FD42CAFA}" srcOrd="0" destOrd="0" presId="urn:microsoft.com/office/officeart/2005/8/layout/radial1"/>
    <dgm:cxn modelId="{4A5AA976-1376-4B45-B450-F7ED41951743}" srcId="{D65AF6B4-791A-4B0E-BA56-8BF80627FD02}" destId="{A1FCC4FD-FCF8-4D08-987D-C87BFCAA65C6}" srcOrd="2" destOrd="0" parTransId="{CBCF2CEB-6B3E-4A86-B297-EEC9EB04EF11}" sibTransId="{D2772369-5019-4FC9-86E9-05608E2A309A}"/>
    <dgm:cxn modelId="{58F97A81-8A20-4C5A-90A5-BEA0EEC4C885}" type="presOf" srcId="{3C466C0D-F987-4D1A-978D-B367C2B09C47}" destId="{9C716F3F-E064-437B-8E4D-40EA75F035FA}" srcOrd="0" destOrd="0" presId="urn:microsoft.com/office/officeart/2005/8/layout/radial1"/>
    <dgm:cxn modelId="{75BD5385-D8EC-4364-A262-FACA2330C3DD}" type="presOf" srcId="{7DB720A7-D9E3-40A6-8AFF-92CB177B2D44}" destId="{82C8AC5F-8F50-44E4-BB95-5FF2D0114D87}" srcOrd="0" destOrd="0" presId="urn:microsoft.com/office/officeart/2005/8/layout/radial1"/>
    <dgm:cxn modelId="{67DD388A-F7F4-4F8F-AB21-4B47CA668510}" srcId="{D65AF6B4-791A-4B0E-BA56-8BF80627FD02}" destId="{9D040091-5496-4E4D-8D76-088F1C27670D}" srcOrd="4" destOrd="0" parTransId="{828EAD0E-DC46-45B3-959B-BFEAFF7A92A2}" sibTransId="{D58BFF65-0077-4CA8-9DDB-A569B32B071C}"/>
    <dgm:cxn modelId="{16595D8E-40BB-4797-A7AA-AF24A92793C3}" srcId="{340EE10E-19F7-41A2-AFF2-802508C5D3E2}" destId="{D65AF6B4-791A-4B0E-BA56-8BF80627FD02}" srcOrd="0" destOrd="0" parTransId="{2312C1CC-1199-4383-AABD-D8C5ABC89852}" sibTransId="{475B2848-1645-46EC-8110-B719CA212DF9}"/>
    <dgm:cxn modelId="{C07CC294-07EC-4EC6-914A-535961A83D64}" type="presOf" srcId="{CBCF2CEB-6B3E-4A86-B297-EEC9EB04EF11}" destId="{16E115CA-6447-431B-AE08-5C5F7E9020EC}" srcOrd="0" destOrd="0" presId="urn:microsoft.com/office/officeart/2005/8/layout/radial1"/>
    <dgm:cxn modelId="{EF56DA99-E371-4288-851E-D5DBC132F08F}" srcId="{D65AF6B4-791A-4B0E-BA56-8BF80627FD02}" destId="{AD62DDCA-E8EC-4308-A0E4-CEB2CBD65D50}" srcOrd="6" destOrd="0" parTransId="{D6B3AE93-24A5-43AC-860D-5A4ED6737B32}" sibTransId="{9A4D4205-AB5B-4C8F-9125-F3BB05E7D317}"/>
    <dgm:cxn modelId="{1EE5CBA2-2494-4666-A2F4-4BCD116E81EE}" type="presOf" srcId="{6D3C538C-579B-4346-88B5-C5005122EF48}" destId="{EC840A98-A643-49CB-8B0D-F7653AA586BC}" srcOrd="0" destOrd="0" presId="urn:microsoft.com/office/officeart/2005/8/layout/radial1"/>
    <dgm:cxn modelId="{0EDBDCA7-58A8-45AB-A080-2AA110A01D70}" type="presOf" srcId="{60B1EE9E-3F2E-4531-B529-3E1162B4EDB5}" destId="{08C35746-699E-4569-9D03-7BBC65F21E01}" srcOrd="1" destOrd="0" presId="urn:microsoft.com/office/officeart/2005/8/layout/radial1"/>
    <dgm:cxn modelId="{CC23FDA8-6DD4-4D97-B7D4-94DE5971EEE8}" type="presOf" srcId="{1574A579-5B78-4A3A-9595-2483B64FAC68}" destId="{7366C77F-0840-4914-9BA9-C8884434B08F}" srcOrd="0" destOrd="0" presId="urn:microsoft.com/office/officeart/2005/8/layout/radial1"/>
    <dgm:cxn modelId="{6DF540AA-6F07-48A1-B2AB-B64B6AD7DA15}" srcId="{D65AF6B4-791A-4B0E-BA56-8BF80627FD02}" destId="{0A87DE49-F0C2-49AD-BD56-2AE2ED4C7337}" srcOrd="5" destOrd="0" parTransId="{60B1EE9E-3F2E-4531-B529-3E1162B4EDB5}" sibTransId="{3E744822-C351-4144-AB9E-642B8E8DCE19}"/>
    <dgm:cxn modelId="{B53E36AD-3B02-4395-89F7-2E68D020A84B}" type="presOf" srcId="{1574A579-5B78-4A3A-9595-2483B64FAC68}" destId="{ED056DBB-FA73-45E0-8A93-45821FF6A750}" srcOrd="1" destOrd="0" presId="urn:microsoft.com/office/officeart/2005/8/layout/radial1"/>
    <dgm:cxn modelId="{B13A8CC2-787A-4343-A6C0-DA2721E2266A}" type="presOf" srcId="{828EAD0E-DC46-45B3-959B-BFEAFF7A92A2}" destId="{5E1E56D6-CA37-4BEC-9593-27469681FA6C}" srcOrd="1" destOrd="0" presId="urn:microsoft.com/office/officeart/2005/8/layout/radial1"/>
    <dgm:cxn modelId="{60017ACF-417F-45D0-92C7-799F6B9B7C89}" type="presOf" srcId="{D9AC3693-8AEF-493D-8DE8-54DFD2ABC3B6}" destId="{345AB326-7E8E-4AF7-9099-D8811AB1D367}" srcOrd="0" destOrd="0" presId="urn:microsoft.com/office/officeart/2005/8/layout/radial1"/>
    <dgm:cxn modelId="{A934A2D3-9EE0-40F0-B3D9-33426004B56B}" type="presOf" srcId="{30591467-1838-4587-9FB4-BC62B0DF1F1B}" destId="{0E9787E6-590B-4FCB-AB0D-9DAA1D37E347}" srcOrd="1" destOrd="0" presId="urn:microsoft.com/office/officeart/2005/8/layout/radial1"/>
    <dgm:cxn modelId="{62E155DF-D107-4DD0-BA3D-091B88DDAB6D}" type="presOf" srcId="{17D0C75F-AE3E-4E18-ADB8-04EA50990FB2}" destId="{6A7B62F4-034A-4240-91F3-706A2D027814}" srcOrd="0" destOrd="0" presId="urn:microsoft.com/office/officeart/2005/8/layout/radial1"/>
    <dgm:cxn modelId="{1D42DDE6-BC8E-4110-B4B5-25851ACDE87A}" type="presOf" srcId="{340EE10E-19F7-41A2-AFF2-802508C5D3E2}" destId="{DBAB5C51-738A-425F-9658-C58E7D368E18}" srcOrd="0" destOrd="0" presId="urn:microsoft.com/office/officeart/2005/8/layout/radial1"/>
    <dgm:cxn modelId="{839BE1F3-530D-47F6-8F41-6C074F27B23B}" type="presOf" srcId="{D6B3AE93-24A5-43AC-860D-5A4ED6737B32}" destId="{BFA16E83-05B2-45E3-9042-9EA16EC31AB8}" srcOrd="1" destOrd="0" presId="urn:microsoft.com/office/officeart/2005/8/layout/radial1"/>
    <dgm:cxn modelId="{CFE09589-948E-42A8-9E4F-F2BAA7AD1D11}" type="presParOf" srcId="{DBAB5C51-738A-425F-9658-C58E7D368E18}" destId="{D9CF68D2-F0E6-420D-ADE7-72BF4AA7D679}" srcOrd="0" destOrd="0" presId="urn:microsoft.com/office/officeart/2005/8/layout/radial1"/>
    <dgm:cxn modelId="{E449CBA8-D198-442E-8F68-1AEBC7D8AC3E}" type="presParOf" srcId="{DBAB5C51-738A-425F-9658-C58E7D368E18}" destId="{7C401488-71F4-4443-881B-3E430469B0AA}" srcOrd="1" destOrd="0" presId="urn:microsoft.com/office/officeart/2005/8/layout/radial1"/>
    <dgm:cxn modelId="{8F297A5A-942A-49D8-ACAD-C33A036A1926}" type="presParOf" srcId="{7C401488-71F4-4443-881B-3E430469B0AA}" destId="{D685C22D-54B8-4AA1-BCBD-C0FD23E6012D}" srcOrd="0" destOrd="0" presId="urn:microsoft.com/office/officeart/2005/8/layout/radial1"/>
    <dgm:cxn modelId="{D0D25F20-2AA5-4B5C-AA12-37EBF886E4C8}" type="presParOf" srcId="{DBAB5C51-738A-425F-9658-C58E7D368E18}" destId="{6A7B62F4-034A-4240-91F3-706A2D027814}" srcOrd="2" destOrd="0" presId="urn:microsoft.com/office/officeart/2005/8/layout/radial1"/>
    <dgm:cxn modelId="{FC1D9E20-6D36-467F-8A6F-FA379FA203F2}" type="presParOf" srcId="{DBAB5C51-738A-425F-9658-C58E7D368E18}" destId="{EC840A98-A643-49CB-8B0D-F7653AA586BC}" srcOrd="3" destOrd="0" presId="urn:microsoft.com/office/officeart/2005/8/layout/radial1"/>
    <dgm:cxn modelId="{E2F899AE-F842-4DDE-BC1A-40369FAB8DFB}" type="presParOf" srcId="{EC840A98-A643-49CB-8B0D-F7653AA586BC}" destId="{D320B58A-DA4D-46F2-B6AC-4AB426DF4599}" srcOrd="0" destOrd="0" presId="urn:microsoft.com/office/officeart/2005/8/layout/radial1"/>
    <dgm:cxn modelId="{996C8A8B-4403-4D5D-9392-30C5C02F7F57}" type="presParOf" srcId="{DBAB5C51-738A-425F-9658-C58E7D368E18}" destId="{FE3F3F3C-9B9A-45CD-BABE-C68E35151E44}" srcOrd="4" destOrd="0" presId="urn:microsoft.com/office/officeart/2005/8/layout/radial1"/>
    <dgm:cxn modelId="{E3572CB6-7534-47FA-9C92-5DE7AD4D73C3}" type="presParOf" srcId="{DBAB5C51-738A-425F-9658-C58E7D368E18}" destId="{16E115CA-6447-431B-AE08-5C5F7E9020EC}" srcOrd="5" destOrd="0" presId="urn:microsoft.com/office/officeart/2005/8/layout/radial1"/>
    <dgm:cxn modelId="{C08F3E04-75D5-4C58-BA76-DE03A642C8C5}" type="presParOf" srcId="{16E115CA-6447-431B-AE08-5C5F7E9020EC}" destId="{924D11D3-974D-40D8-ABE7-CDE8A455AF0F}" srcOrd="0" destOrd="0" presId="urn:microsoft.com/office/officeart/2005/8/layout/radial1"/>
    <dgm:cxn modelId="{E2F5D234-2ACF-4346-A854-24BFB8727BA3}" type="presParOf" srcId="{DBAB5C51-738A-425F-9658-C58E7D368E18}" destId="{ACD54E00-5E6C-465C-B246-33436228BF09}" srcOrd="6" destOrd="0" presId="urn:microsoft.com/office/officeart/2005/8/layout/radial1"/>
    <dgm:cxn modelId="{54460737-3A90-47E9-A4FA-BFB41CF16739}" type="presParOf" srcId="{DBAB5C51-738A-425F-9658-C58E7D368E18}" destId="{7366C77F-0840-4914-9BA9-C8884434B08F}" srcOrd="7" destOrd="0" presId="urn:microsoft.com/office/officeart/2005/8/layout/radial1"/>
    <dgm:cxn modelId="{B3246A64-7450-4DB3-8814-2066E0754122}" type="presParOf" srcId="{7366C77F-0840-4914-9BA9-C8884434B08F}" destId="{ED056DBB-FA73-45E0-8A93-45821FF6A750}" srcOrd="0" destOrd="0" presId="urn:microsoft.com/office/officeart/2005/8/layout/radial1"/>
    <dgm:cxn modelId="{78AB5F27-6CBE-4439-81C5-13714D2C59D0}" type="presParOf" srcId="{DBAB5C51-738A-425F-9658-C58E7D368E18}" destId="{82C8AC5F-8F50-44E4-BB95-5FF2D0114D87}" srcOrd="8" destOrd="0" presId="urn:microsoft.com/office/officeart/2005/8/layout/radial1"/>
    <dgm:cxn modelId="{22973D27-B667-4664-A666-7BD9DBF86639}" type="presParOf" srcId="{DBAB5C51-738A-425F-9658-C58E7D368E18}" destId="{D8EC3EA8-6770-4F15-8157-BAE8AE72FA89}" srcOrd="9" destOrd="0" presId="urn:microsoft.com/office/officeart/2005/8/layout/radial1"/>
    <dgm:cxn modelId="{45092D86-7EF5-45BD-9802-1C457929E04A}" type="presParOf" srcId="{D8EC3EA8-6770-4F15-8157-BAE8AE72FA89}" destId="{5E1E56D6-CA37-4BEC-9593-27469681FA6C}" srcOrd="0" destOrd="0" presId="urn:microsoft.com/office/officeart/2005/8/layout/radial1"/>
    <dgm:cxn modelId="{AD1C9824-A743-478B-BF7A-B8A7992B6B0F}" type="presParOf" srcId="{DBAB5C51-738A-425F-9658-C58E7D368E18}" destId="{0FC635C6-471E-4C93-9158-FA2C29D24F28}" srcOrd="10" destOrd="0" presId="urn:microsoft.com/office/officeart/2005/8/layout/radial1"/>
    <dgm:cxn modelId="{9D76D4F1-7BEE-4044-90D4-FFE9BED5CDEC}" type="presParOf" srcId="{DBAB5C51-738A-425F-9658-C58E7D368E18}" destId="{31A66129-3B4E-447E-9A8D-C26F963B7479}" srcOrd="11" destOrd="0" presId="urn:microsoft.com/office/officeart/2005/8/layout/radial1"/>
    <dgm:cxn modelId="{F5C26494-4B0F-466A-A682-218F047169D1}" type="presParOf" srcId="{31A66129-3B4E-447E-9A8D-C26F963B7479}" destId="{08C35746-699E-4569-9D03-7BBC65F21E01}" srcOrd="0" destOrd="0" presId="urn:microsoft.com/office/officeart/2005/8/layout/radial1"/>
    <dgm:cxn modelId="{3D4FDE7C-B774-4893-BAB5-5D42B08DAFC0}" type="presParOf" srcId="{DBAB5C51-738A-425F-9658-C58E7D368E18}" destId="{0916324D-2B0A-4481-87DF-DDA7B07E6A6F}" srcOrd="12" destOrd="0" presId="urn:microsoft.com/office/officeart/2005/8/layout/radial1"/>
    <dgm:cxn modelId="{E43CDEC3-F6C4-4810-B411-18760590404C}" type="presParOf" srcId="{DBAB5C51-738A-425F-9658-C58E7D368E18}" destId="{E047A546-D47D-4D2D-9DB9-01E504E59475}" srcOrd="13" destOrd="0" presId="urn:microsoft.com/office/officeart/2005/8/layout/radial1"/>
    <dgm:cxn modelId="{DC0B5CB4-6C18-46DE-85BA-211071EA40ED}" type="presParOf" srcId="{E047A546-D47D-4D2D-9DB9-01E504E59475}" destId="{BFA16E83-05B2-45E3-9042-9EA16EC31AB8}" srcOrd="0" destOrd="0" presId="urn:microsoft.com/office/officeart/2005/8/layout/radial1"/>
    <dgm:cxn modelId="{C07968C1-2FD4-4E22-898C-E0CEB5D3919D}" type="presParOf" srcId="{DBAB5C51-738A-425F-9658-C58E7D368E18}" destId="{143B9C8B-B548-424B-8440-ED4E8CBA2641}" srcOrd="14" destOrd="0" presId="urn:microsoft.com/office/officeart/2005/8/layout/radial1"/>
    <dgm:cxn modelId="{FC453F65-07E6-41D8-9B71-313189CB4F63}" type="presParOf" srcId="{DBAB5C51-738A-425F-9658-C58E7D368E18}" destId="{E24C04FB-EE11-4834-A7BF-3103FD42CAFA}" srcOrd="15" destOrd="0" presId="urn:microsoft.com/office/officeart/2005/8/layout/radial1"/>
    <dgm:cxn modelId="{41B32B90-F05B-44B8-A9C3-98D6EAB7A197}" type="presParOf" srcId="{E24C04FB-EE11-4834-A7BF-3103FD42CAFA}" destId="{0E9787E6-590B-4FCB-AB0D-9DAA1D37E347}" srcOrd="0" destOrd="0" presId="urn:microsoft.com/office/officeart/2005/8/layout/radial1"/>
    <dgm:cxn modelId="{662756A0-338E-4986-8240-66CB5E0C5B70}" type="presParOf" srcId="{DBAB5C51-738A-425F-9658-C58E7D368E18}" destId="{9C716F3F-E064-437B-8E4D-40EA75F035FA}" srcOrd="16" destOrd="0" presId="urn:microsoft.com/office/officeart/2005/8/layout/radial1"/>
    <dgm:cxn modelId="{63403321-57BC-4510-9705-AB759823E12A}" type="presParOf" srcId="{DBAB5C51-738A-425F-9658-C58E7D368E18}" destId="{345AB326-7E8E-4AF7-9099-D8811AB1D367}" srcOrd="17" destOrd="0" presId="urn:microsoft.com/office/officeart/2005/8/layout/radial1"/>
    <dgm:cxn modelId="{18273205-C8ED-4B87-9399-3CC85EC72896}" type="presParOf" srcId="{345AB326-7E8E-4AF7-9099-D8811AB1D367}" destId="{18460FE9-1082-4DB9-9584-E62C78844906}" srcOrd="0" destOrd="0" presId="urn:microsoft.com/office/officeart/2005/8/layout/radial1"/>
    <dgm:cxn modelId="{1BEA070B-2767-4CD4-96A2-C32DF8E5858E}" type="presParOf" srcId="{DBAB5C51-738A-425F-9658-C58E7D368E18}" destId="{4A020FF0-393A-4FF8-98CF-DD267222A269}" srcOrd="18" destOrd="0" presId="urn:microsoft.com/office/officeart/2005/8/layout/radial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8FAC8B-AAAC-4B41-8DD2-642823CDC5EE}"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s-ES"/>
        </a:p>
      </dgm:t>
    </dgm:pt>
    <dgm:pt modelId="{904AE583-6E0F-43F4-BAD5-8F9492616128}">
      <dgm:prSet phldrT="[Text]" custT="1"/>
      <dgm:spPr>
        <a:solidFill>
          <a:srgbClr val="046A38"/>
        </a:solidFill>
      </dgm:spPr>
      <dgm:t>
        <a:bodyPr/>
        <a:lstStyle/>
        <a:p>
          <a:r>
            <a:rPr lang="es-ES_tradnl" sz="1800" b="1"/>
            <a:t>Beneficios</a:t>
          </a:r>
          <a:endParaRPr lang="es-ES" sz="1400" b="1"/>
        </a:p>
      </dgm:t>
    </dgm:pt>
    <dgm:pt modelId="{347BB4CD-6ED0-46C0-8724-02C921C4CA83}" type="parTrans" cxnId="{1D5FA468-7FDB-40D6-8D9B-B8FB771062F4}">
      <dgm:prSet/>
      <dgm:spPr/>
      <dgm:t>
        <a:bodyPr/>
        <a:lstStyle/>
        <a:p>
          <a:endParaRPr lang="es-ES" sz="1400"/>
        </a:p>
      </dgm:t>
    </dgm:pt>
    <dgm:pt modelId="{7C35F977-3478-407E-8116-26C1CD392281}" type="sibTrans" cxnId="{1D5FA468-7FDB-40D6-8D9B-B8FB771062F4}">
      <dgm:prSet/>
      <dgm:spPr/>
      <dgm:t>
        <a:bodyPr/>
        <a:lstStyle/>
        <a:p>
          <a:endParaRPr lang="es-ES" sz="1400"/>
        </a:p>
      </dgm:t>
    </dgm:pt>
    <dgm:pt modelId="{30913F47-1B9A-4832-8867-22AA2267B831}">
      <dgm:prSet phldrT="[Text]" custT="1"/>
      <dgm:spPr>
        <a:solidFill>
          <a:schemeClr val="bg1"/>
        </a:solidFill>
        <a:ln>
          <a:solidFill>
            <a:srgbClr val="046A38"/>
          </a:solidFill>
        </a:ln>
      </dgm:spPr>
      <dgm:t>
        <a:bodyPr/>
        <a:lstStyle/>
        <a:p>
          <a:pPr>
            <a:buFont typeface="Wingdings" panose="05000000000000000000" pitchFamily="2" charset="2"/>
            <a:buChar char="§"/>
          </a:pPr>
          <a:r>
            <a:rPr lang="es-ES" sz="1400">
              <a:solidFill>
                <a:schemeClr val="tx1"/>
              </a:solidFill>
              <a:sym typeface="Wingdings" panose="05000000000000000000" pitchFamily="2" charset="2"/>
            </a:rPr>
            <a:t>Evitar malentendidos sobre los requisitos</a:t>
          </a:r>
          <a:endParaRPr lang="es-ES" sz="1400">
            <a:solidFill>
              <a:schemeClr val="tx1"/>
            </a:solidFill>
          </a:endParaRPr>
        </a:p>
      </dgm:t>
    </dgm:pt>
    <dgm:pt modelId="{BE85C459-7033-4BBA-9EA5-EB238C3E93C0}" type="parTrans" cxnId="{7766096C-375B-4DFD-8F52-C8EEA5765E15}">
      <dgm:prSet/>
      <dgm:spPr/>
      <dgm:t>
        <a:bodyPr/>
        <a:lstStyle/>
        <a:p>
          <a:endParaRPr lang="es-ES" sz="1400"/>
        </a:p>
      </dgm:t>
    </dgm:pt>
    <dgm:pt modelId="{C1192FBE-BBAD-49BD-AFDB-F550FD70AA6E}" type="sibTrans" cxnId="{7766096C-375B-4DFD-8F52-C8EEA5765E15}">
      <dgm:prSet/>
      <dgm:spPr/>
      <dgm:t>
        <a:bodyPr/>
        <a:lstStyle/>
        <a:p>
          <a:endParaRPr lang="es-ES" sz="1400"/>
        </a:p>
      </dgm:t>
    </dgm:pt>
    <dgm:pt modelId="{7B2FD02F-407C-49E0-8685-73A6413E06DA}">
      <dgm:prSet phldrT="[Text]" custT="1"/>
      <dgm:spPr>
        <a:solidFill>
          <a:schemeClr val="bg1"/>
        </a:solidFill>
        <a:ln>
          <a:solidFill>
            <a:srgbClr val="046A38"/>
          </a:solidFill>
        </a:ln>
      </dgm:spPr>
      <dgm:t>
        <a:bodyPr/>
        <a:lstStyle/>
        <a:p>
          <a:pPr>
            <a:buFont typeface="Wingdings" panose="05000000000000000000" pitchFamily="2" charset="2"/>
            <a:buChar char="§"/>
          </a:pPr>
          <a:r>
            <a:rPr lang="es-ES" sz="1400">
              <a:solidFill>
                <a:schemeClr val="tx1"/>
              </a:solidFill>
              <a:sym typeface="Wingdings" panose="05000000000000000000" pitchFamily="2" charset="2"/>
            </a:rPr>
            <a:t>Aclarar las solicitudes de prestaciones de los clientes</a:t>
          </a:r>
          <a:endParaRPr lang="es-ES" sz="1400">
            <a:solidFill>
              <a:schemeClr val="tx1"/>
            </a:solidFill>
          </a:endParaRPr>
        </a:p>
      </dgm:t>
    </dgm:pt>
    <dgm:pt modelId="{3CF6D4BD-3F4D-4013-9F63-E984E8DA36D6}" type="parTrans" cxnId="{BDEA43A2-96B0-4AA5-A4AA-1787783F247C}">
      <dgm:prSet/>
      <dgm:spPr/>
      <dgm:t>
        <a:bodyPr/>
        <a:lstStyle/>
        <a:p>
          <a:endParaRPr lang="es-ES" sz="1400"/>
        </a:p>
      </dgm:t>
    </dgm:pt>
    <dgm:pt modelId="{AF3343F0-D4B7-4AE4-AAA4-D6D9B765ADED}" type="sibTrans" cxnId="{BDEA43A2-96B0-4AA5-A4AA-1787783F247C}">
      <dgm:prSet/>
      <dgm:spPr/>
      <dgm:t>
        <a:bodyPr/>
        <a:lstStyle/>
        <a:p>
          <a:endParaRPr lang="es-ES" sz="1400"/>
        </a:p>
      </dgm:t>
    </dgm:pt>
    <dgm:pt modelId="{5C2BC07C-FADC-4AB7-85EE-0183A5C6580B}">
      <dgm:prSet phldrT="[Text]" custT="1"/>
      <dgm:spPr>
        <a:solidFill>
          <a:schemeClr val="bg1"/>
        </a:solidFill>
        <a:ln>
          <a:solidFill>
            <a:srgbClr val="046A38"/>
          </a:solidFill>
        </a:ln>
      </dgm:spPr>
      <dgm:t>
        <a:bodyPr/>
        <a:lstStyle/>
        <a:p>
          <a:pPr>
            <a:buFont typeface="Wingdings" panose="05000000000000000000" pitchFamily="2" charset="2"/>
            <a:buChar char="§"/>
          </a:pPr>
          <a:r>
            <a:rPr lang="es-ES" sz="1400">
              <a:solidFill>
                <a:schemeClr val="tx1"/>
              </a:solidFill>
              <a:sym typeface="Wingdings" panose="05000000000000000000" pitchFamily="2" charset="2"/>
            </a:rPr>
            <a:t>Descubrir, aislar y resolver los problemas de calidad de forma temprana</a:t>
          </a:r>
          <a:endParaRPr lang="es-ES" sz="1400">
            <a:solidFill>
              <a:schemeClr val="tx1"/>
            </a:solidFill>
          </a:endParaRPr>
        </a:p>
      </dgm:t>
    </dgm:pt>
    <dgm:pt modelId="{481AC85E-2F99-4036-886A-5447A2BB14E8}" type="parTrans" cxnId="{FE399A77-E9C0-4CEA-B608-15A53527099A}">
      <dgm:prSet/>
      <dgm:spPr/>
      <dgm:t>
        <a:bodyPr/>
        <a:lstStyle/>
        <a:p>
          <a:endParaRPr lang="es-ES" sz="1400"/>
        </a:p>
      </dgm:t>
    </dgm:pt>
    <dgm:pt modelId="{621983CD-6C5E-4547-9FA1-362257316699}" type="sibTrans" cxnId="{FE399A77-E9C0-4CEA-B608-15A53527099A}">
      <dgm:prSet/>
      <dgm:spPr/>
      <dgm:t>
        <a:bodyPr/>
        <a:lstStyle/>
        <a:p>
          <a:endParaRPr lang="es-ES" sz="1400"/>
        </a:p>
      </dgm:t>
    </dgm:pt>
    <dgm:pt modelId="{4E55F5C5-7B90-405F-9714-17F973B45904}">
      <dgm:prSet custT="1"/>
      <dgm:spPr>
        <a:solidFill>
          <a:schemeClr val="bg1"/>
        </a:solidFill>
        <a:ln>
          <a:solidFill>
            <a:srgbClr val="046A38"/>
          </a:solidFill>
        </a:ln>
      </dgm:spPr>
      <dgm:t>
        <a:bodyPr/>
        <a:lstStyle/>
        <a:p>
          <a:pPr>
            <a:buFont typeface="Wingdings" panose="05000000000000000000" pitchFamily="2" charset="2"/>
            <a:buChar char="§"/>
          </a:pPr>
          <a:r>
            <a:rPr lang="es-ES" sz="1400">
              <a:solidFill>
                <a:schemeClr val="tx1"/>
              </a:solidFill>
              <a:sym typeface="Wingdings" panose="05000000000000000000" pitchFamily="2" charset="2"/>
            </a:rPr>
            <a:t>Aportar información al equipo ágil sobre su productividad y capacidad para realizar entregas</a:t>
          </a:r>
          <a:endParaRPr lang="es-ES" sz="1400">
            <a:solidFill>
              <a:schemeClr val="tx1"/>
            </a:solidFill>
          </a:endParaRPr>
        </a:p>
      </dgm:t>
    </dgm:pt>
    <dgm:pt modelId="{9BBBFC0D-CE68-4F79-A440-2D4C5E3EA92C}" type="parTrans" cxnId="{21EC8AF0-08B1-44F5-9A58-DA55C1677092}">
      <dgm:prSet/>
      <dgm:spPr/>
      <dgm:t>
        <a:bodyPr/>
        <a:lstStyle/>
        <a:p>
          <a:endParaRPr lang="es-ES"/>
        </a:p>
      </dgm:t>
    </dgm:pt>
    <dgm:pt modelId="{3B2E6D27-B4CA-4715-A5F9-2D169C13BA9B}" type="sibTrans" cxnId="{21EC8AF0-08B1-44F5-9A58-DA55C1677092}">
      <dgm:prSet/>
      <dgm:spPr/>
      <dgm:t>
        <a:bodyPr/>
        <a:lstStyle/>
        <a:p>
          <a:endParaRPr lang="es-ES"/>
        </a:p>
      </dgm:t>
    </dgm:pt>
    <dgm:pt modelId="{0BAEEA07-FEC6-446D-B18D-3AFED62C1118}">
      <dgm:prSet custT="1"/>
      <dgm:spPr>
        <a:solidFill>
          <a:schemeClr val="bg1"/>
        </a:solidFill>
        <a:ln>
          <a:solidFill>
            <a:srgbClr val="046A38"/>
          </a:solidFill>
        </a:ln>
      </dgm:spPr>
      <dgm:t>
        <a:bodyPr/>
        <a:lstStyle/>
        <a:p>
          <a:pPr>
            <a:buFont typeface="Wingdings" panose="05000000000000000000" pitchFamily="2" charset="2"/>
            <a:buChar char="§"/>
          </a:pPr>
          <a:r>
            <a:rPr lang="es-ES" sz="1400">
              <a:solidFill>
                <a:schemeClr val="tx1"/>
              </a:solidFill>
              <a:sym typeface="Wingdings" panose="05000000000000000000" pitchFamily="2" charset="2"/>
            </a:rPr>
            <a:t>Promover un impulso consistente al proyecto</a:t>
          </a:r>
        </a:p>
      </dgm:t>
    </dgm:pt>
    <dgm:pt modelId="{FC2448DC-A4F5-4322-9413-A1D505877401}" type="parTrans" cxnId="{3B11D963-680A-4905-931D-7DA3D7CBD157}">
      <dgm:prSet/>
      <dgm:spPr/>
      <dgm:t>
        <a:bodyPr/>
        <a:lstStyle/>
        <a:p>
          <a:endParaRPr lang="es-ES"/>
        </a:p>
      </dgm:t>
    </dgm:pt>
    <dgm:pt modelId="{D7C0913A-BBD9-457D-88DF-67512D3FFFB6}" type="sibTrans" cxnId="{3B11D963-680A-4905-931D-7DA3D7CBD157}">
      <dgm:prSet/>
      <dgm:spPr/>
      <dgm:t>
        <a:bodyPr/>
        <a:lstStyle/>
        <a:p>
          <a:endParaRPr lang="es-ES"/>
        </a:p>
      </dgm:t>
    </dgm:pt>
    <dgm:pt modelId="{F768CE52-D631-402E-8835-19C4550544A9}" type="pres">
      <dgm:prSet presAssocID="{018FAC8B-AAAC-4B41-8DD2-642823CDC5EE}" presName="Name0" presStyleCnt="0">
        <dgm:presLayoutVars>
          <dgm:chPref val="1"/>
          <dgm:dir/>
          <dgm:animOne val="branch"/>
          <dgm:animLvl val="lvl"/>
          <dgm:resizeHandles/>
        </dgm:presLayoutVars>
      </dgm:prSet>
      <dgm:spPr/>
    </dgm:pt>
    <dgm:pt modelId="{27FA8063-762F-4B15-9A3E-B4A3D0805486}" type="pres">
      <dgm:prSet presAssocID="{904AE583-6E0F-43F4-BAD5-8F9492616128}" presName="vertOne" presStyleCnt="0"/>
      <dgm:spPr/>
    </dgm:pt>
    <dgm:pt modelId="{856FDFFE-15F5-4FCE-A082-5EF2F9BC36BA}" type="pres">
      <dgm:prSet presAssocID="{904AE583-6E0F-43F4-BAD5-8F9492616128}" presName="txOne" presStyleLbl="node0" presStyleIdx="0" presStyleCnt="1" custScaleY="21665" custLinFactNeighborX="668" custLinFactNeighborY="78073">
        <dgm:presLayoutVars>
          <dgm:chPref val="3"/>
        </dgm:presLayoutVars>
      </dgm:prSet>
      <dgm:spPr/>
    </dgm:pt>
    <dgm:pt modelId="{B3E5D1D6-03C0-47E8-AE1E-08A055D4E020}" type="pres">
      <dgm:prSet presAssocID="{904AE583-6E0F-43F4-BAD5-8F9492616128}" presName="parTransOne" presStyleCnt="0"/>
      <dgm:spPr/>
    </dgm:pt>
    <dgm:pt modelId="{560C5C78-248D-43CC-8528-85A4CC0EE687}" type="pres">
      <dgm:prSet presAssocID="{904AE583-6E0F-43F4-BAD5-8F9492616128}" presName="horzOne" presStyleCnt="0"/>
      <dgm:spPr/>
    </dgm:pt>
    <dgm:pt modelId="{22F4EF12-9551-4667-A5F0-1E5F7E1A62E2}" type="pres">
      <dgm:prSet presAssocID="{30913F47-1B9A-4832-8867-22AA2267B831}" presName="vertTwo" presStyleCnt="0"/>
      <dgm:spPr/>
    </dgm:pt>
    <dgm:pt modelId="{F5706349-CAFE-4D34-8A52-3B36F615B3CE}" type="pres">
      <dgm:prSet presAssocID="{30913F47-1B9A-4832-8867-22AA2267B831}" presName="txTwo" presStyleLbl="node2" presStyleIdx="0" presStyleCnt="5">
        <dgm:presLayoutVars>
          <dgm:chPref val="3"/>
        </dgm:presLayoutVars>
      </dgm:prSet>
      <dgm:spPr/>
    </dgm:pt>
    <dgm:pt modelId="{7CE59674-4272-443C-95CD-D094BD3018FE}" type="pres">
      <dgm:prSet presAssocID="{30913F47-1B9A-4832-8867-22AA2267B831}" presName="horzTwo" presStyleCnt="0"/>
      <dgm:spPr/>
    </dgm:pt>
    <dgm:pt modelId="{8D00C26A-57C0-4EED-8E1E-7194AB5DB310}" type="pres">
      <dgm:prSet presAssocID="{C1192FBE-BBAD-49BD-AFDB-F550FD70AA6E}" presName="sibSpaceTwo" presStyleCnt="0"/>
      <dgm:spPr/>
    </dgm:pt>
    <dgm:pt modelId="{8035ACF2-EB13-494A-8708-2686AE4F9582}" type="pres">
      <dgm:prSet presAssocID="{7B2FD02F-407C-49E0-8685-73A6413E06DA}" presName="vertTwo" presStyleCnt="0"/>
      <dgm:spPr/>
    </dgm:pt>
    <dgm:pt modelId="{008FEE1F-5BA2-4442-9843-817330F3A078}" type="pres">
      <dgm:prSet presAssocID="{7B2FD02F-407C-49E0-8685-73A6413E06DA}" presName="txTwo" presStyleLbl="node2" presStyleIdx="1" presStyleCnt="5">
        <dgm:presLayoutVars>
          <dgm:chPref val="3"/>
        </dgm:presLayoutVars>
      </dgm:prSet>
      <dgm:spPr/>
    </dgm:pt>
    <dgm:pt modelId="{B789B108-7E73-458C-9BE7-E3FD2206F1E6}" type="pres">
      <dgm:prSet presAssocID="{7B2FD02F-407C-49E0-8685-73A6413E06DA}" presName="horzTwo" presStyleCnt="0"/>
      <dgm:spPr/>
    </dgm:pt>
    <dgm:pt modelId="{6A5F02DB-DA5E-4EB2-9258-5AF22689CAE4}" type="pres">
      <dgm:prSet presAssocID="{AF3343F0-D4B7-4AE4-AAA4-D6D9B765ADED}" presName="sibSpaceTwo" presStyleCnt="0"/>
      <dgm:spPr/>
    </dgm:pt>
    <dgm:pt modelId="{CECF6A0B-B19D-41D7-978E-CA3757EF6F3E}" type="pres">
      <dgm:prSet presAssocID="{5C2BC07C-FADC-4AB7-85EE-0183A5C6580B}" presName="vertTwo" presStyleCnt="0"/>
      <dgm:spPr/>
    </dgm:pt>
    <dgm:pt modelId="{61CB971E-83EB-4836-BD2A-50AFAAAB55C9}" type="pres">
      <dgm:prSet presAssocID="{5C2BC07C-FADC-4AB7-85EE-0183A5C6580B}" presName="txTwo" presStyleLbl="node2" presStyleIdx="2" presStyleCnt="5">
        <dgm:presLayoutVars>
          <dgm:chPref val="3"/>
        </dgm:presLayoutVars>
      </dgm:prSet>
      <dgm:spPr/>
    </dgm:pt>
    <dgm:pt modelId="{5049C042-6EDF-4EBE-A987-7D391421270B}" type="pres">
      <dgm:prSet presAssocID="{5C2BC07C-FADC-4AB7-85EE-0183A5C6580B}" presName="horzTwo" presStyleCnt="0"/>
      <dgm:spPr/>
    </dgm:pt>
    <dgm:pt modelId="{356566CE-4CA0-4BEA-9AF8-09C3148D9C6A}" type="pres">
      <dgm:prSet presAssocID="{621983CD-6C5E-4547-9FA1-362257316699}" presName="sibSpaceTwo" presStyleCnt="0"/>
      <dgm:spPr/>
    </dgm:pt>
    <dgm:pt modelId="{B196BC7D-78AD-4C95-A9C2-3E766DF021C3}" type="pres">
      <dgm:prSet presAssocID="{4E55F5C5-7B90-405F-9714-17F973B45904}" presName="vertTwo" presStyleCnt="0"/>
      <dgm:spPr/>
    </dgm:pt>
    <dgm:pt modelId="{070557CC-7386-48C4-B82C-394BC4633F94}" type="pres">
      <dgm:prSet presAssocID="{4E55F5C5-7B90-405F-9714-17F973B45904}" presName="txTwo" presStyleLbl="node2" presStyleIdx="3" presStyleCnt="5">
        <dgm:presLayoutVars>
          <dgm:chPref val="3"/>
        </dgm:presLayoutVars>
      </dgm:prSet>
      <dgm:spPr/>
    </dgm:pt>
    <dgm:pt modelId="{2CCA1B29-BCC5-4120-8589-13BF9E313CE4}" type="pres">
      <dgm:prSet presAssocID="{4E55F5C5-7B90-405F-9714-17F973B45904}" presName="horzTwo" presStyleCnt="0"/>
      <dgm:spPr/>
    </dgm:pt>
    <dgm:pt modelId="{08659B60-59A0-4EDE-BB5E-FF826BA4CB2E}" type="pres">
      <dgm:prSet presAssocID="{3B2E6D27-B4CA-4715-A5F9-2D169C13BA9B}" presName="sibSpaceTwo" presStyleCnt="0"/>
      <dgm:spPr/>
    </dgm:pt>
    <dgm:pt modelId="{640052E4-7739-4A85-A734-29EAFF224ED2}" type="pres">
      <dgm:prSet presAssocID="{0BAEEA07-FEC6-446D-B18D-3AFED62C1118}" presName="vertTwo" presStyleCnt="0"/>
      <dgm:spPr/>
    </dgm:pt>
    <dgm:pt modelId="{3F1C86D1-90A3-4CBD-A38D-ABF9B372AEB9}" type="pres">
      <dgm:prSet presAssocID="{0BAEEA07-FEC6-446D-B18D-3AFED62C1118}" presName="txTwo" presStyleLbl="node2" presStyleIdx="4" presStyleCnt="5">
        <dgm:presLayoutVars>
          <dgm:chPref val="3"/>
        </dgm:presLayoutVars>
      </dgm:prSet>
      <dgm:spPr/>
    </dgm:pt>
    <dgm:pt modelId="{DFE92692-5D2D-43F8-B5EF-DAF6258FDF42}" type="pres">
      <dgm:prSet presAssocID="{0BAEEA07-FEC6-446D-B18D-3AFED62C1118}" presName="horzTwo" presStyleCnt="0"/>
      <dgm:spPr/>
    </dgm:pt>
  </dgm:ptLst>
  <dgm:cxnLst>
    <dgm:cxn modelId="{042C8601-83B3-4293-AE66-40ACE2F4D42E}" type="presOf" srcId="{0BAEEA07-FEC6-446D-B18D-3AFED62C1118}" destId="{3F1C86D1-90A3-4CBD-A38D-ABF9B372AEB9}" srcOrd="0" destOrd="0" presId="urn:microsoft.com/office/officeart/2005/8/layout/hierarchy4"/>
    <dgm:cxn modelId="{BE83F824-78EF-4A16-8CB1-C9E5E3520E92}" type="presOf" srcId="{904AE583-6E0F-43F4-BAD5-8F9492616128}" destId="{856FDFFE-15F5-4FCE-A082-5EF2F9BC36BA}" srcOrd="0" destOrd="0" presId="urn:microsoft.com/office/officeart/2005/8/layout/hierarchy4"/>
    <dgm:cxn modelId="{3B11D963-680A-4905-931D-7DA3D7CBD157}" srcId="{904AE583-6E0F-43F4-BAD5-8F9492616128}" destId="{0BAEEA07-FEC6-446D-B18D-3AFED62C1118}" srcOrd="4" destOrd="0" parTransId="{FC2448DC-A4F5-4322-9413-A1D505877401}" sibTransId="{D7C0913A-BBD9-457D-88DF-67512D3FFFB6}"/>
    <dgm:cxn modelId="{1D5FA468-7FDB-40D6-8D9B-B8FB771062F4}" srcId="{018FAC8B-AAAC-4B41-8DD2-642823CDC5EE}" destId="{904AE583-6E0F-43F4-BAD5-8F9492616128}" srcOrd="0" destOrd="0" parTransId="{347BB4CD-6ED0-46C0-8724-02C921C4CA83}" sibTransId="{7C35F977-3478-407E-8116-26C1CD392281}"/>
    <dgm:cxn modelId="{7766096C-375B-4DFD-8F52-C8EEA5765E15}" srcId="{904AE583-6E0F-43F4-BAD5-8F9492616128}" destId="{30913F47-1B9A-4832-8867-22AA2267B831}" srcOrd="0" destOrd="0" parTransId="{BE85C459-7033-4BBA-9EA5-EB238C3E93C0}" sibTransId="{C1192FBE-BBAD-49BD-AFDB-F550FD70AA6E}"/>
    <dgm:cxn modelId="{1D65B951-3679-4E4B-AA69-53299518884B}" type="presOf" srcId="{5C2BC07C-FADC-4AB7-85EE-0183A5C6580B}" destId="{61CB971E-83EB-4836-BD2A-50AFAAAB55C9}" srcOrd="0" destOrd="0" presId="urn:microsoft.com/office/officeart/2005/8/layout/hierarchy4"/>
    <dgm:cxn modelId="{FE399A77-E9C0-4CEA-B608-15A53527099A}" srcId="{904AE583-6E0F-43F4-BAD5-8F9492616128}" destId="{5C2BC07C-FADC-4AB7-85EE-0183A5C6580B}" srcOrd="2" destOrd="0" parTransId="{481AC85E-2F99-4036-886A-5447A2BB14E8}" sibTransId="{621983CD-6C5E-4547-9FA1-362257316699}"/>
    <dgm:cxn modelId="{BD9C887C-90B6-45FF-B676-70CF3AF8DFE8}" type="presOf" srcId="{4E55F5C5-7B90-405F-9714-17F973B45904}" destId="{070557CC-7386-48C4-B82C-394BC4633F94}" srcOrd="0" destOrd="0" presId="urn:microsoft.com/office/officeart/2005/8/layout/hierarchy4"/>
    <dgm:cxn modelId="{C5F5DC82-AE93-43D7-91F9-2F294E5B9EE9}" type="presOf" srcId="{7B2FD02F-407C-49E0-8685-73A6413E06DA}" destId="{008FEE1F-5BA2-4442-9843-817330F3A078}" srcOrd="0" destOrd="0" presId="urn:microsoft.com/office/officeart/2005/8/layout/hierarchy4"/>
    <dgm:cxn modelId="{BDEA43A2-96B0-4AA5-A4AA-1787783F247C}" srcId="{904AE583-6E0F-43F4-BAD5-8F9492616128}" destId="{7B2FD02F-407C-49E0-8685-73A6413E06DA}" srcOrd="1" destOrd="0" parTransId="{3CF6D4BD-3F4D-4013-9F63-E984E8DA36D6}" sibTransId="{AF3343F0-D4B7-4AE4-AAA4-D6D9B765ADED}"/>
    <dgm:cxn modelId="{A52347C1-E3B5-4FDB-81D2-C3EFE07DC682}" type="presOf" srcId="{30913F47-1B9A-4832-8867-22AA2267B831}" destId="{F5706349-CAFE-4D34-8A52-3B36F615B3CE}" srcOrd="0" destOrd="0" presId="urn:microsoft.com/office/officeart/2005/8/layout/hierarchy4"/>
    <dgm:cxn modelId="{7808F6C8-80B9-4937-9ACF-EB3E34AE5605}" type="presOf" srcId="{018FAC8B-AAAC-4B41-8DD2-642823CDC5EE}" destId="{F768CE52-D631-402E-8835-19C4550544A9}" srcOrd="0" destOrd="0" presId="urn:microsoft.com/office/officeart/2005/8/layout/hierarchy4"/>
    <dgm:cxn modelId="{21EC8AF0-08B1-44F5-9A58-DA55C1677092}" srcId="{904AE583-6E0F-43F4-BAD5-8F9492616128}" destId="{4E55F5C5-7B90-405F-9714-17F973B45904}" srcOrd="3" destOrd="0" parTransId="{9BBBFC0D-CE68-4F79-A440-2D4C5E3EA92C}" sibTransId="{3B2E6D27-B4CA-4715-A5F9-2D169C13BA9B}"/>
    <dgm:cxn modelId="{8F03B73B-D45D-4C0D-BE27-2C6999381315}" type="presParOf" srcId="{F768CE52-D631-402E-8835-19C4550544A9}" destId="{27FA8063-762F-4B15-9A3E-B4A3D0805486}" srcOrd="0" destOrd="0" presId="urn:microsoft.com/office/officeart/2005/8/layout/hierarchy4"/>
    <dgm:cxn modelId="{532FCC2F-DE35-40F4-B2C0-1888DBA31D23}" type="presParOf" srcId="{27FA8063-762F-4B15-9A3E-B4A3D0805486}" destId="{856FDFFE-15F5-4FCE-A082-5EF2F9BC36BA}" srcOrd="0" destOrd="0" presId="urn:microsoft.com/office/officeart/2005/8/layout/hierarchy4"/>
    <dgm:cxn modelId="{63F1915C-4348-474A-98F2-26B4A8272E83}" type="presParOf" srcId="{27FA8063-762F-4B15-9A3E-B4A3D0805486}" destId="{B3E5D1D6-03C0-47E8-AE1E-08A055D4E020}" srcOrd="1" destOrd="0" presId="urn:microsoft.com/office/officeart/2005/8/layout/hierarchy4"/>
    <dgm:cxn modelId="{5AA82186-721B-4065-88C3-9DC87B1E7D8A}" type="presParOf" srcId="{27FA8063-762F-4B15-9A3E-B4A3D0805486}" destId="{560C5C78-248D-43CC-8528-85A4CC0EE687}" srcOrd="2" destOrd="0" presId="urn:microsoft.com/office/officeart/2005/8/layout/hierarchy4"/>
    <dgm:cxn modelId="{B8DF885D-90C3-46EC-AD4D-5352001BD529}" type="presParOf" srcId="{560C5C78-248D-43CC-8528-85A4CC0EE687}" destId="{22F4EF12-9551-4667-A5F0-1E5F7E1A62E2}" srcOrd="0" destOrd="0" presId="urn:microsoft.com/office/officeart/2005/8/layout/hierarchy4"/>
    <dgm:cxn modelId="{4D9CCECB-8C0F-4F58-987A-0684A2EA9104}" type="presParOf" srcId="{22F4EF12-9551-4667-A5F0-1E5F7E1A62E2}" destId="{F5706349-CAFE-4D34-8A52-3B36F615B3CE}" srcOrd="0" destOrd="0" presId="urn:microsoft.com/office/officeart/2005/8/layout/hierarchy4"/>
    <dgm:cxn modelId="{B540095E-D949-4714-BBCC-506203F0E402}" type="presParOf" srcId="{22F4EF12-9551-4667-A5F0-1E5F7E1A62E2}" destId="{7CE59674-4272-443C-95CD-D094BD3018FE}" srcOrd="1" destOrd="0" presId="urn:microsoft.com/office/officeart/2005/8/layout/hierarchy4"/>
    <dgm:cxn modelId="{772F2671-6571-44A0-B852-A019010C2736}" type="presParOf" srcId="{560C5C78-248D-43CC-8528-85A4CC0EE687}" destId="{8D00C26A-57C0-4EED-8E1E-7194AB5DB310}" srcOrd="1" destOrd="0" presId="urn:microsoft.com/office/officeart/2005/8/layout/hierarchy4"/>
    <dgm:cxn modelId="{E55085A9-465B-4282-B0CF-53B37B76CB04}" type="presParOf" srcId="{560C5C78-248D-43CC-8528-85A4CC0EE687}" destId="{8035ACF2-EB13-494A-8708-2686AE4F9582}" srcOrd="2" destOrd="0" presId="urn:microsoft.com/office/officeart/2005/8/layout/hierarchy4"/>
    <dgm:cxn modelId="{AC65CDC6-3169-4BB1-ABFC-D77546B1671A}" type="presParOf" srcId="{8035ACF2-EB13-494A-8708-2686AE4F9582}" destId="{008FEE1F-5BA2-4442-9843-817330F3A078}" srcOrd="0" destOrd="0" presId="urn:microsoft.com/office/officeart/2005/8/layout/hierarchy4"/>
    <dgm:cxn modelId="{A6FDFB1D-C52F-4598-98E0-862334A4246F}" type="presParOf" srcId="{8035ACF2-EB13-494A-8708-2686AE4F9582}" destId="{B789B108-7E73-458C-9BE7-E3FD2206F1E6}" srcOrd="1" destOrd="0" presId="urn:microsoft.com/office/officeart/2005/8/layout/hierarchy4"/>
    <dgm:cxn modelId="{6A223FC1-F260-4231-A080-E3F6C4242167}" type="presParOf" srcId="{560C5C78-248D-43CC-8528-85A4CC0EE687}" destId="{6A5F02DB-DA5E-4EB2-9258-5AF22689CAE4}" srcOrd="3" destOrd="0" presId="urn:microsoft.com/office/officeart/2005/8/layout/hierarchy4"/>
    <dgm:cxn modelId="{FABD560E-43FE-4F06-B0F2-6525002AFA0D}" type="presParOf" srcId="{560C5C78-248D-43CC-8528-85A4CC0EE687}" destId="{CECF6A0B-B19D-41D7-978E-CA3757EF6F3E}" srcOrd="4" destOrd="0" presId="urn:microsoft.com/office/officeart/2005/8/layout/hierarchy4"/>
    <dgm:cxn modelId="{6E2A5299-9965-44F1-AC2E-F3B7D008C7EA}" type="presParOf" srcId="{CECF6A0B-B19D-41D7-978E-CA3757EF6F3E}" destId="{61CB971E-83EB-4836-BD2A-50AFAAAB55C9}" srcOrd="0" destOrd="0" presId="urn:microsoft.com/office/officeart/2005/8/layout/hierarchy4"/>
    <dgm:cxn modelId="{966CE00E-C3BC-43E3-8909-FA86C1672AF9}" type="presParOf" srcId="{CECF6A0B-B19D-41D7-978E-CA3757EF6F3E}" destId="{5049C042-6EDF-4EBE-A987-7D391421270B}" srcOrd="1" destOrd="0" presId="urn:microsoft.com/office/officeart/2005/8/layout/hierarchy4"/>
    <dgm:cxn modelId="{7042C466-CA41-4ABD-A7B7-94F9EF0AE6C9}" type="presParOf" srcId="{560C5C78-248D-43CC-8528-85A4CC0EE687}" destId="{356566CE-4CA0-4BEA-9AF8-09C3148D9C6A}" srcOrd="5" destOrd="0" presId="urn:microsoft.com/office/officeart/2005/8/layout/hierarchy4"/>
    <dgm:cxn modelId="{FF3896D4-3933-4916-AA36-13AE0B63B9EC}" type="presParOf" srcId="{560C5C78-248D-43CC-8528-85A4CC0EE687}" destId="{B196BC7D-78AD-4C95-A9C2-3E766DF021C3}" srcOrd="6" destOrd="0" presId="urn:microsoft.com/office/officeart/2005/8/layout/hierarchy4"/>
    <dgm:cxn modelId="{8F962CCA-A3A6-4811-8E52-885AD5FABA23}" type="presParOf" srcId="{B196BC7D-78AD-4C95-A9C2-3E766DF021C3}" destId="{070557CC-7386-48C4-B82C-394BC4633F94}" srcOrd="0" destOrd="0" presId="urn:microsoft.com/office/officeart/2005/8/layout/hierarchy4"/>
    <dgm:cxn modelId="{D125714D-50E7-4A9E-8BB6-0D6DE1958853}" type="presParOf" srcId="{B196BC7D-78AD-4C95-A9C2-3E766DF021C3}" destId="{2CCA1B29-BCC5-4120-8589-13BF9E313CE4}" srcOrd="1" destOrd="0" presId="urn:microsoft.com/office/officeart/2005/8/layout/hierarchy4"/>
    <dgm:cxn modelId="{126FA1E8-F68F-4E63-8B1B-0C3E59A5300A}" type="presParOf" srcId="{560C5C78-248D-43CC-8528-85A4CC0EE687}" destId="{08659B60-59A0-4EDE-BB5E-FF826BA4CB2E}" srcOrd="7" destOrd="0" presId="urn:microsoft.com/office/officeart/2005/8/layout/hierarchy4"/>
    <dgm:cxn modelId="{70462797-47DA-498E-A92B-7A5FE9515738}" type="presParOf" srcId="{560C5C78-248D-43CC-8528-85A4CC0EE687}" destId="{640052E4-7739-4A85-A734-29EAFF224ED2}" srcOrd="8" destOrd="0" presId="urn:microsoft.com/office/officeart/2005/8/layout/hierarchy4"/>
    <dgm:cxn modelId="{EF199812-734B-4FAA-B48B-61A2D752682E}" type="presParOf" srcId="{640052E4-7739-4A85-A734-29EAFF224ED2}" destId="{3F1C86D1-90A3-4CBD-A38D-ABF9B372AEB9}" srcOrd="0" destOrd="0" presId="urn:microsoft.com/office/officeart/2005/8/layout/hierarchy4"/>
    <dgm:cxn modelId="{02953751-3170-4E96-B2D4-6FCF4B38C75C}" type="presParOf" srcId="{640052E4-7739-4A85-A734-29EAFF224ED2}" destId="{DFE92692-5D2D-43F8-B5EF-DAF6258FDF42}" srcOrd="1" destOrd="0" presId="urn:microsoft.com/office/officeart/2005/8/layout/hierarchy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9C9FFDC-8237-4CF7-96CF-C6BF5518FE44}"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77DCADAC-E510-490F-B616-53A9DB1CE953}">
      <dgm:prSet phldrT="[Text]" custT="1"/>
      <dgm:spPr/>
      <dgm:t>
        <a:bodyPr/>
        <a:lstStyle/>
        <a:p>
          <a:pPr algn="l"/>
          <a:r>
            <a:rPr lang="es-ES" sz="1200"/>
            <a:t>Integración con herramientas de gestión de la configuración, que pueden permitir el registro de entrada de código </a:t>
          </a:r>
          <a:endParaRPr lang="en-US" sz="1200"/>
        </a:p>
      </dgm:t>
    </dgm:pt>
    <dgm:pt modelId="{152AD6B3-EFC6-4461-B510-F4A2D35A6E0C}" type="sibTrans" cxnId="{942527E7-70E9-4799-B5BF-61F08D6EA138}">
      <dgm:prSet/>
      <dgm:spPr/>
      <dgm:t>
        <a:bodyPr/>
        <a:lstStyle/>
        <a:p>
          <a:endParaRPr lang="en-US"/>
        </a:p>
      </dgm:t>
    </dgm:pt>
    <dgm:pt modelId="{3829B5BB-9107-43C0-A72D-950C2D9C88EB}" type="parTrans" cxnId="{942527E7-70E9-4799-B5BF-61F08D6EA138}">
      <dgm:prSet/>
      <dgm:spPr/>
      <dgm:t>
        <a:bodyPr/>
        <a:lstStyle/>
        <a:p>
          <a:endParaRPr lang="en-US"/>
        </a:p>
      </dgm:t>
    </dgm:pt>
    <dgm:pt modelId="{8F250492-29E7-46F4-AAD1-B9AEF8D9248E}">
      <dgm:prSet phldrT="[Text]" custT="1"/>
      <dgm:spPr/>
      <dgm:t>
        <a:bodyPr/>
        <a:lstStyle/>
        <a:p>
          <a:pPr algn="l"/>
          <a:r>
            <a:rPr lang="es-ES" sz="1200"/>
            <a:t>Proporcionar una representación visual del estado actual de cada historia de usuario, la iteración y la entrega, lo que permite a todos los implicados</a:t>
          </a:r>
          <a:endParaRPr lang="en-US" sz="1200"/>
        </a:p>
      </dgm:t>
    </dgm:pt>
    <dgm:pt modelId="{01209BCF-2162-4E84-BE07-F6378FCFE8E3}" type="sibTrans" cxnId="{43FAEEC8-D482-4A85-ACB6-C5FB8E759B34}">
      <dgm:prSet/>
      <dgm:spPr/>
      <dgm:t>
        <a:bodyPr/>
        <a:lstStyle/>
        <a:p>
          <a:endParaRPr lang="en-US"/>
        </a:p>
      </dgm:t>
    </dgm:pt>
    <dgm:pt modelId="{51777E26-E223-4E77-9B49-DDA7DFF224FF}" type="parTrans" cxnId="{43FAEEC8-D482-4A85-ACB6-C5FB8E759B34}">
      <dgm:prSet/>
      <dgm:spPr/>
      <dgm:t>
        <a:bodyPr/>
        <a:lstStyle/>
        <a:p>
          <a:endParaRPr lang="en-US"/>
        </a:p>
      </dgm:t>
    </dgm:pt>
    <dgm:pt modelId="{E457D54D-933D-484C-B9BB-ACA38B4BD1B2}">
      <dgm:prSet phldrT="[Text]" custT="1"/>
      <dgm:spPr/>
      <dgm:t>
        <a:bodyPr/>
        <a:lstStyle/>
        <a:p>
          <a:pPr algn="l"/>
          <a:r>
            <a:rPr lang="es-ES" sz="1200"/>
            <a:t>Agregar las actualizaciones de los desarrolladores y probadores al estado de la tarea a medida que completan su trabajo</a:t>
          </a:r>
          <a:endParaRPr lang="en-US" sz="1200"/>
        </a:p>
      </dgm:t>
    </dgm:pt>
    <dgm:pt modelId="{3628DCE4-16D2-4DF8-AE5D-821237B66DFF}" type="sibTrans" cxnId="{51CB4550-AA45-441A-8DDB-B3E261E7B1DD}">
      <dgm:prSet/>
      <dgm:spPr/>
      <dgm:t>
        <a:bodyPr/>
        <a:lstStyle/>
        <a:p>
          <a:endParaRPr lang="en-US"/>
        </a:p>
      </dgm:t>
    </dgm:pt>
    <dgm:pt modelId="{4730FF64-5C02-4467-B6BB-C3D521B2BAA7}" type="parTrans" cxnId="{51CB4550-AA45-441A-8DDB-B3E261E7B1DD}">
      <dgm:prSet/>
      <dgm:spPr/>
      <dgm:t>
        <a:bodyPr/>
        <a:lstStyle/>
        <a:p>
          <a:endParaRPr lang="en-US"/>
        </a:p>
      </dgm:t>
    </dgm:pt>
    <dgm:pt modelId="{CD529ED7-7CF7-4BFF-B14C-DC39011B59DF}">
      <dgm:prSet phldrT="[Text]" custT="1"/>
      <dgm:spPr/>
      <dgm:t>
        <a:bodyPr/>
        <a:lstStyle/>
        <a:p>
          <a:pPr algn="l"/>
          <a:r>
            <a:rPr lang="es-ES" sz="1200"/>
            <a:t>Asociar las tareas de desarrollo y las tareas de prueba con la misma historia</a:t>
          </a:r>
          <a:endParaRPr lang="en-US" sz="1200"/>
        </a:p>
      </dgm:t>
    </dgm:pt>
    <dgm:pt modelId="{EBD64675-DB3C-4A3E-8E5F-E99992D5320B}" type="sibTrans" cxnId="{52E8E76D-3EFC-404F-AE74-45CE167734FA}">
      <dgm:prSet/>
      <dgm:spPr/>
      <dgm:t>
        <a:bodyPr/>
        <a:lstStyle/>
        <a:p>
          <a:endParaRPr lang="en-US"/>
        </a:p>
      </dgm:t>
    </dgm:pt>
    <dgm:pt modelId="{DA43BAF5-DCCC-45CB-813D-446581EA2D4A}" type="parTrans" cxnId="{52E8E76D-3EFC-404F-AE74-45CE167734FA}">
      <dgm:prSet/>
      <dgm:spPr/>
      <dgm:t>
        <a:bodyPr/>
        <a:lstStyle/>
        <a:p>
          <a:endParaRPr lang="en-US"/>
        </a:p>
      </dgm:t>
    </dgm:pt>
    <dgm:pt modelId="{706ADE8D-9934-42EE-AFE6-DC5D0955827F}">
      <dgm:prSet phldrT="[Text]" custT="1"/>
      <dgm:spPr/>
      <dgm:t>
        <a:bodyPr/>
        <a:lstStyle/>
        <a:p>
          <a:pPr algn="l"/>
          <a:r>
            <a:rPr lang="es-ES" sz="1200"/>
            <a:t>Capturar las estimaciones de los miembros del equipo sobre sus tareas y calcular automáticamente el esfuerzo necesario para implementar una historia</a:t>
          </a:r>
          <a:endParaRPr lang="en-US" sz="1200"/>
        </a:p>
      </dgm:t>
    </dgm:pt>
    <dgm:pt modelId="{6F2892C8-2B66-4734-B263-AAD903D79316}" type="sibTrans" cxnId="{78661453-CC5A-4122-A94D-CA8506A765AF}">
      <dgm:prSet/>
      <dgm:spPr/>
      <dgm:t>
        <a:bodyPr/>
        <a:lstStyle/>
        <a:p>
          <a:endParaRPr lang="en-US"/>
        </a:p>
      </dgm:t>
    </dgm:pt>
    <dgm:pt modelId="{77AE6244-8E70-4BE3-B838-80B001859BEC}" type="parTrans" cxnId="{78661453-CC5A-4122-A94D-CA8506A765AF}">
      <dgm:prSet/>
      <dgm:spPr/>
      <dgm:t>
        <a:bodyPr/>
        <a:lstStyle/>
        <a:p>
          <a:endParaRPr lang="en-US"/>
        </a:p>
      </dgm:t>
    </dgm:pt>
    <dgm:pt modelId="{5797BCC5-0E5B-4566-97F8-610563266B69}">
      <dgm:prSet phldrT="[Text]" custT="1"/>
      <dgm:spPr/>
      <dgm:t>
        <a:bodyPr/>
        <a:lstStyle/>
        <a:p>
          <a:pPr algn="l"/>
          <a:r>
            <a:rPr lang="es-ES" sz="1200"/>
            <a:t>Registrar las historias y sus correspondientes tareas de desarrollo y prueba</a:t>
          </a:r>
          <a:endParaRPr lang="en-US" sz="1200"/>
        </a:p>
      </dgm:t>
    </dgm:pt>
    <dgm:pt modelId="{A9730AD3-585C-4CE3-93E7-6A5E931FF197}" type="sibTrans" cxnId="{1ED8A2E7-1149-4AA7-B32F-F091B1E85B0D}">
      <dgm:prSet/>
      <dgm:spPr/>
      <dgm:t>
        <a:bodyPr/>
        <a:lstStyle/>
        <a:p>
          <a:endParaRPr lang="en-US"/>
        </a:p>
      </dgm:t>
    </dgm:pt>
    <dgm:pt modelId="{CABE3104-DD59-442F-B81A-8BC98B1CFBF6}" type="parTrans" cxnId="{1ED8A2E7-1149-4AA7-B32F-F091B1E85B0D}">
      <dgm:prSet/>
      <dgm:spPr/>
      <dgm:t>
        <a:bodyPr/>
        <a:lstStyle/>
        <a:p>
          <a:endParaRPr lang="en-US"/>
        </a:p>
      </dgm:t>
    </dgm:pt>
    <dgm:pt modelId="{B3CC3AA2-9043-4B2B-940C-228F43C69882}">
      <dgm:prSet phldrT="[Text]" custT="1"/>
      <dgm:spPr/>
      <dgm:t>
        <a:bodyPr/>
        <a:lstStyle/>
        <a:p>
          <a:pPr algn="ctr"/>
          <a:r>
            <a:rPr lang="es-ES" sz="1200" noProof="0"/>
            <a:t>Competencias</a:t>
          </a:r>
        </a:p>
      </dgm:t>
    </dgm:pt>
    <dgm:pt modelId="{FA1744A0-B30E-497F-841E-7A48D4621068}" type="parTrans" cxnId="{39697AC6-D27C-4710-AA4C-89EB51FEB01C}">
      <dgm:prSet/>
      <dgm:spPr/>
      <dgm:t>
        <a:bodyPr/>
        <a:lstStyle/>
        <a:p>
          <a:endParaRPr lang="es-ES"/>
        </a:p>
      </dgm:t>
    </dgm:pt>
    <dgm:pt modelId="{2C565CA8-6E41-47A6-BA5D-2D874F3CAFA8}" type="sibTrans" cxnId="{39697AC6-D27C-4710-AA4C-89EB51FEB01C}">
      <dgm:prSet/>
      <dgm:spPr/>
      <dgm:t>
        <a:bodyPr/>
        <a:lstStyle/>
        <a:p>
          <a:endParaRPr lang="es-ES"/>
        </a:p>
      </dgm:t>
    </dgm:pt>
    <dgm:pt modelId="{B0528F71-ABDD-4791-AC89-BE9CE2974E51}" type="pres">
      <dgm:prSet presAssocID="{F9C9FFDC-8237-4CF7-96CF-C6BF5518FE44}" presName="diagram" presStyleCnt="0">
        <dgm:presLayoutVars>
          <dgm:chPref val="1"/>
          <dgm:dir/>
          <dgm:animOne val="branch"/>
          <dgm:animLvl val="lvl"/>
          <dgm:resizeHandles/>
        </dgm:presLayoutVars>
      </dgm:prSet>
      <dgm:spPr/>
    </dgm:pt>
    <dgm:pt modelId="{25AE032E-A4CF-4475-9A8B-9E9FB667CC31}" type="pres">
      <dgm:prSet presAssocID="{B3CC3AA2-9043-4B2B-940C-228F43C69882}" presName="root" presStyleCnt="0"/>
      <dgm:spPr/>
    </dgm:pt>
    <dgm:pt modelId="{D3F103D3-DE50-431E-AD68-D2C8850BFC8D}" type="pres">
      <dgm:prSet presAssocID="{B3CC3AA2-9043-4B2B-940C-228F43C69882}" presName="rootComposite" presStyleCnt="0"/>
      <dgm:spPr/>
    </dgm:pt>
    <dgm:pt modelId="{466D8F05-F2EF-4003-A2C4-D9D26162B083}" type="pres">
      <dgm:prSet presAssocID="{B3CC3AA2-9043-4B2B-940C-228F43C69882}" presName="rootText" presStyleLbl="node1" presStyleIdx="0" presStyleCnt="1" custScaleX="159308"/>
      <dgm:spPr/>
    </dgm:pt>
    <dgm:pt modelId="{A54F3D2A-C8A8-41E7-BBE2-BFE350F9EB09}" type="pres">
      <dgm:prSet presAssocID="{B3CC3AA2-9043-4B2B-940C-228F43C69882}" presName="rootConnector" presStyleLbl="node1" presStyleIdx="0" presStyleCnt="1"/>
      <dgm:spPr/>
    </dgm:pt>
    <dgm:pt modelId="{5696D89A-5B37-46C5-856E-D6D0D7C95559}" type="pres">
      <dgm:prSet presAssocID="{B3CC3AA2-9043-4B2B-940C-228F43C69882}" presName="childShape" presStyleCnt="0"/>
      <dgm:spPr/>
    </dgm:pt>
    <dgm:pt modelId="{41E98369-3704-4EF8-8A73-D3D5A9927768}" type="pres">
      <dgm:prSet presAssocID="{CABE3104-DD59-442F-B81A-8BC98B1CFBF6}" presName="Name13" presStyleLbl="parChTrans1D2" presStyleIdx="0" presStyleCnt="6"/>
      <dgm:spPr/>
    </dgm:pt>
    <dgm:pt modelId="{2372BCE7-DD61-47FF-A5EA-634D57D49FB1}" type="pres">
      <dgm:prSet presAssocID="{5797BCC5-0E5B-4566-97F8-610563266B69}" presName="childText" presStyleLbl="bgAcc1" presStyleIdx="0" presStyleCnt="6" custScaleX="1235822" custScaleY="88088">
        <dgm:presLayoutVars>
          <dgm:bulletEnabled val="1"/>
        </dgm:presLayoutVars>
      </dgm:prSet>
      <dgm:spPr/>
    </dgm:pt>
    <dgm:pt modelId="{6F09AAE9-EB2D-4BF9-AF58-F10E25826E38}" type="pres">
      <dgm:prSet presAssocID="{77AE6244-8E70-4BE3-B838-80B001859BEC}" presName="Name13" presStyleLbl="parChTrans1D2" presStyleIdx="1" presStyleCnt="6"/>
      <dgm:spPr/>
    </dgm:pt>
    <dgm:pt modelId="{3A573BF2-AB6E-4D4B-8827-B8FA1C52C3FA}" type="pres">
      <dgm:prSet presAssocID="{706ADE8D-9934-42EE-AFE6-DC5D0955827F}" presName="childText" presStyleLbl="bgAcc1" presStyleIdx="1" presStyleCnt="6" custScaleX="1227783" custScaleY="81856" custLinFactNeighborX="4902" custLinFactNeighborY="-9212">
        <dgm:presLayoutVars>
          <dgm:bulletEnabled val="1"/>
        </dgm:presLayoutVars>
      </dgm:prSet>
      <dgm:spPr/>
    </dgm:pt>
    <dgm:pt modelId="{E2A3D87A-9C5B-4E46-9924-38E8CBC2FBA4}" type="pres">
      <dgm:prSet presAssocID="{DA43BAF5-DCCC-45CB-813D-446581EA2D4A}" presName="Name13" presStyleLbl="parChTrans1D2" presStyleIdx="2" presStyleCnt="6"/>
      <dgm:spPr/>
    </dgm:pt>
    <dgm:pt modelId="{935995E8-1CBD-40D2-A010-65128E12BB67}" type="pres">
      <dgm:prSet presAssocID="{CD529ED7-7CF7-4BFF-B14C-DC39011B59DF}" presName="childText" presStyleLbl="bgAcc1" presStyleIdx="2" presStyleCnt="6" custScaleX="1227783" custScaleY="45115" custLinFactNeighborX="-189" custLinFactNeighborY="-13443">
        <dgm:presLayoutVars>
          <dgm:bulletEnabled val="1"/>
        </dgm:presLayoutVars>
      </dgm:prSet>
      <dgm:spPr/>
    </dgm:pt>
    <dgm:pt modelId="{EFE3F865-9820-49E9-978D-EB35FE6809F8}" type="pres">
      <dgm:prSet presAssocID="{4730FF64-5C02-4467-B6BB-C3D521B2BAA7}" presName="Name13" presStyleLbl="parChTrans1D2" presStyleIdx="3" presStyleCnt="6"/>
      <dgm:spPr/>
    </dgm:pt>
    <dgm:pt modelId="{DF516282-88F3-4E43-9E00-4F5CDC872AA7}" type="pres">
      <dgm:prSet presAssocID="{E457D54D-933D-484C-B9BB-ACA38B4BD1B2}" presName="childText" presStyleLbl="bgAcc1" presStyleIdx="3" presStyleCnt="6" custScaleX="1227783" custScaleY="45115" custLinFactNeighborX="1772" custLinFactNeighborY="-4522">
        <dgm:presLayoutVars>
          <dgm:bulletEnabled val="1"/>
        </dgm:presLayoutVars>
      </dgm:prSet>
      <dgm:spPr/>
    </dgm:pt>
    <dgm:pt modelId="{20144766-9D3F-4EA7-82B8-8501BB029C90}" type="pres">
      <dgm:prSet presAssocID="{51777E26-E223-4E77-9B49-DDA7DFF224FF}" presName="Name13" presStyleLbl="parChTrans1D2" presStyleIdx="4" presStyleCnt="6"/>
      <dgm:spPr/>
    </dgm:pt>
    <dgm:pt modelId="{1B2199F0-3BB8-4861-A089-B3A18654DFDF}" type="pres">
      <dgm:prSet presAssocID="{8F250492-29E7-46F4-AAD1-B9AEF8D9248E}" presName="childText" presStyleLbl="bgAcc1" presStyleIdx="4" presStyleCnt="6" custScaleX="1227783" custScaleY="77642" custLinFactNeighborX="644" custLinFactNeighborY="3937">
        <dgm:presLayoutVars>
          <dgm:bulletEnabled val="1"/>
        </dgm:presLayoutVars>
      </dgm:prSet>
      <dgm:spPr/>
    </dgm:pt>
    <dgm:pt modelId="{9FB34EBC-1C73-4DA3-B971-E82A7D9DA01A}" type="pres">
      <dgm:prSet presAssocID="{3829B5BB-9107-43C0-A72D-950C2D9C88EB}" presName="Name13" presStyleLbl="parChTrans1D2" presStyleIdx="5" presStyleCnt="6"/>
      <dgm:spPr/>
    </dgm:pt>
    <dgm:pt modelId="{B4E69D34-EC51-4CEB-8776-BB439E51E45F}" type="pres">
      <dgm:prSet presAssocID="{77DCADAC-E510-490F-B616-53A9DB1CE953}" presName="childText" presStyleLbl="bgAcc1" presStyleIdx="5" presStyleCnt="6" custScaleX="1227783" custScaleY="45115" custLinFactNeighborX="1534" custLinFactNeighborY="8230">
        <dgm:presLayoutVars>
          <dgm:bulletEnabled val="1"/>
        </dgm:presLayoutVars>
      </dgm:prSet>
      <dgm:spPr/>
    </dgm:pt>
  </dgm:ptLst>
  <dgm:cxnLst>
    <dgm:cxn modelId="{3ABE511B-F421-43B7-B63D-FEF007F9312A}" type="presOf" srcId="{77AE6244-8E70-4BE3-B838-80B001859BEC}" destId="{6F09AAE9-EB2D-4BF9-AF58-F10E25826E38}" srcOrd="0" destOrd="0" presId="urn:microsoft.com/office/officeart/2005/8/layout/hierarchy3"/>
    <dgm:cxn modelId="{17CB9F37-A643-4E74-8746-3A05CDBE8356}" type="presOf" srcId="{CD529ED7-7CF7-4BFF-B14C-DC39011B59DF}" destId="{935995E8-1CBD-40D2-A010-65128E12BB67}" srcOrd="0" destOrd="0" presId="urn:microsoft.com/office/officeart/2005/8/layout/hierarchy3"/>
    <dgm:cxn modelId="{E2DA985C-1E7B-4422-BF34-30DB3C5677D7}" type="presOf" srcId="{DA43BAF5-DCCC-45CB-813D-446581EA2D4A}" destId="{E2A3D87A-9C5B-4E46-9924-38E8CBC2FBA4}" srcOrd="0" destOrd="0" presId="urn:microsoft.com/office/officeart/2005/8/layout/hierarchy3"/>
    <dgm:cxn modelId="{8CC58D42-7BB0-4AE6-82C8-96469BF24E76}" type="presOf" srcId="{B3CC3AA2-9043-4B2B-940C-228F43C69882}" destId="{A54F3D2A-C8A8-41E7-BBE2-BFE350F9EB09}" srcOrd="1" destOrd="0" presId="urn:microsoft.com/office/officeart/2005/8/layout/hierarchy3"/>
    <dgm:cxn modelId="{28BDE467-1A85-41BF-9FCC-9335D7DE25CD}" type="presOf" srcId="{77DCADAC-E510-490F-B616-53A9DB1CE953}" destId="{B4E69D34-EC51-4CEB-8776-BB439E51E45F}" srcOrd="0" destOrd="0" presId="urn:microsoft.com/office/officeart/2005/8/layout/hierarchy3"/>
    <dgm:cxn modelId="{97067E68-F282-4B8B-A8B1-87666A2CE770}" type="presOf" srcId="{4730FF64-5C02-4467-B6BB-C3D521B2BAA7}" destId="{EFE3F865-9820-49E9-978D-EB35FE6809F8}" srcOrd="0" destOrd="0" presId="urn:microsoft.com/office/officeart/2005/8/layout/hierarchy3"/>
    <dgm:cxn modelId="{52E8E76D-3EFC-404F-AE74-45CE167734FA}" srcId="{B3CC3AA2-9043-4B2B-940C-228F43C69882}" destId="{CD529ED7-7CF7-4BFF-B14C-DC39011B59DF}" srcOrd="2" destOrd="0" parTransId="{DA43BAF5-DCCC-45CB-813D-446581EA2D4A}" sibTransId="{EBD64675-DB3C-4A3E-8E5F-E99992D5320B}"/>
    <dgm:cxn modelId="{51CB4550-AA45-441A-8DDB-B3E261E7B1DD}" srcId="{B3CC3AA2-9043-4B2B-940C-228F43C69882}" destId="{E457D54D-933D-484C-B9BB-ACA38B4BD1B2}" srcOrd="3" destOrd="0" parTransId="{4730FF64-5C02-4467-B6BB-C3D521B2BAA7}" sibTransId="{3628DCE4-16D2-4DF8-AE5D-821237B66DFF}"/>
    <dgm:cxn modelId="{78661453-CC5A-4122-A94D-CA8506A765AF}" srcId="{B3CC3AA2-9043-4B2B-940C-228F43C69882}" destId="{706ADE8D-9934-42EE-AFE6-DC5D0955827F}" srcOrd="1" destOrd="0" parTransId="{77AE6244-8E70-4BE3-B838-80B001859BEC}" sibTransId="{6F2892C8-2B66-4734-B263-AAD903D79316}"/>
    <dgm:cxn modelId="{ED000B56-2E32-411F-81F5-0C23D1BF2B81}" type="presOf" srcId="{F9C9FFDC-8237-4CF7-96CF-C6BF5518FE44}" destId="{B0528F71-ABDD-4791-AC89-BE9CE2974E51}" srcOrd="0" destOrd="0" presId="urn:microsoft.com/office/officeart/2005/8/layout/hierarchy3"/>
    <dgm:cxn modelId="{66189176-69EE-47D6-8834-4AAAFCD850E8}" type="presOf" srcId="{8F250492-29E7-46F4-AAD1-B9AEF8D9248E}" destId="{1B2199F0-3BB8-4861-A089-B3A18654DFDF}" srcOrd="0" destOrd="0" presId="urn:microsoft.com/office/officeart/2005/8/layout/hierarchy3"/>
    <dgm:cxn modelId="{C3C1478A-A838-4504-8426-E45DE324B93C}" type="presOf" srcId="{51777E26-E223-4E77-9B49-DDA7DFF224FF}" destId="{20144766-9D3F-4EA7-82B8-8501BB029C90}" srcOrd="0" destOrd="0" presId="urn:microsoft.com/office/officeart/2005/8/layout/hierarchy3"/>
    <dgm:cxn modelId="{F04BC994-C461-41D7-A6DF-5D7EDDDEB00D}" type="presOf" srcId="{5797BCC5-0E5B-4566-97F8-610563266B69}" destId="{2372BCE7-DD61-47FF-A5EA-634D57D49FB1}" srcOrd="0" destOrd="0" presId="urn:microsoft.com/office/officeart/2005/8/layout/hierarchy3"/>
    <dgm:cxn modelId="{ECE80698-EE64-4D96-ABD4-5D686030BCAA}" type="presOf" srcId="{3829B5BB-9107-43C0-A72D-950C2D9C88EB}" destId="{9FB34EBC-1C73-4DA3-B971-E82A7D9DA01A}" srcOrd="0" destOrd="0" presId="urn:microsoft.com/office/officeart/2005/8/layout/hierarchy3"/>
    <dgm:cxn modelId="{8D3ACF9F-FBA5-4110-8F2D-1A309B8A463B}" type="presOf" srcId="{B3CC3AA2-9043-4B2B-940C-228F43C69882}" destId="{466D8F05-F2EF-4003-A2C4-D9D26162B083}" srcOrd="0" destOrd="0" presId="urn:microsoft.com/office/officeart/2005/8/layout/hierarchy3"/>
    <dgm:cxn modelId="{505E9BB2-6EFB-4759-8AD7-473FA2FAE208}" type="presOf" srcId="{E457D54D-933D-484C-B9BB-ACA38B4BD1B2}" destId="{DF516282-88F3-4E43-9E00-4F5CDC872AA7}" srcOrd="0" destOrd="0" presId="urn:microsoft.com/office/officeart/2005/8/layout/hierarchy3"/>
    <dgm:cxn modelId="{39697AC6-D27C-4710-AA4C-89EB51FEB01C}" srcId="{F9C9FFDC-8237-4CF7-96CF-C6BF5518FE44}" destId="{B3CC3AA2-9043-4B2B-940C-228F43C69882}" srcOrd="0" destOrd="0" parTransId="{FA1744A0-B30E-497F-841E-7A48D4621068}" sibTransId="{2C565CA8-6E41-47A6-BA5D-2D874F3CAFA8}"/>
    <dgm:cxn modelId="{43FAEEC8-D482-4A85-ACB6-C5FB8E759B34}" srcId="{B3CC3AA2-9043-4B2B-940C-228F43C69882}" destId="{8F250492-29E7-46F4-AAD1-B9AEF8D9248E}" srcOrd="4" destOrd="0" parTransId="{51777E26-E223-4E77-9B49-DDA7DFF224FF}" sibTransId="{01209BCF-2162-4E84-BE07-F6378FCFE8E3}"/>
    <dgm:cxn modelId="{EBD49ACA-0CD9-41E9-B4E1-326B29F903BA}" type="presOf" srcId="{CABE3104-DD59-442F-B81A-8BC98B1CFBF6}" destId="{41E98369-3704-4EF8-8A73-D3D5A9927768}" srcOrd="0" destOrd="0" presId="urn:microsoft.com/office/officeart/2005/8/layout/hierarchy3"/>
    <dgm:cxn modelId="{942527E7-70E9-4799-B5BF-61F08D6EA138}" srcId="{B3CC3AA2-9043-4B2B-940C-228F43C69882}" destId="{77DCADAC-E510-490F-B616-53A9DB1CE953}" srcOrd="5" destOrd="0" parTransId="{3829B5BB-9107-43C0-A72D-950C2D9C88EB}" sibTransId="{152AD6B3-EFC6-4461-B510-F4A2D35A6E0C}"/>
    <dgm:cxn modelId="{1ED8A2E7-1149-4AA7-B32F-F091B1E85B0D}" srcId="{B3CC3AA2-9043-4B2B-940C-228F43C69882}" destId="{5797BCC5-0E5B-4566-97F8-610563266B69}" srcOrd="0" destOrd="0" parTransId="{CABE3104-DD59-442F-B81A-8BC98B1CFBF6}" sibTransId="{A9730AD3-585C-4CE3-93E7-6A5E931FF197}"/>
    <dgm:cxn modelId="{7DEF8AF9-2882-406E-9727-C169398E3DCC}" type="presOf" srcId="{706ADE8D-9934-42EE-AFE6-DC5D0955827F}" destId="{3A573BF2-AB6E-4D4B-8827-B8FA1C52C3FA}" srcOrd="0" destOrd="0" presId="urn:microsoft.com/office/officeart/2005/8/layout/hierarchy3"/>
    <dgm:cxn modelId="{5BB7FC38-DF15-491C-96E0-E0DB9A9D0F47}" type="presParOf" srcId="{B0528F71-ABDD-4791-AC89-BE9CE2974E51}" destId="{25AE032E-A4CF-4475-9A8B-9E9FB667CC31}" srcOrd="0" destOrd="0" presId="urn:microsoft.com/office/officeart/2005/8/layout/hierarchy3"/>
    <dgm:cxn modelId="{B484ACF3-20E4-4E97-BE2C-D54BAD533A2F}" type="presParOf" srcId="{25AE032E-A4CF-4475-9A8B-9E9FB667CC31}" destId="{D3F103D3-DE50-431E-AD68-D2C8850BFC8D}" srcOrd="0" destOrd="0" presId="urn:microsoft.com/office/officeart/2005/8/layout/hierarchy3"/>
    <dgm:cxn modelId="{20843659-BAB9-4B32-A237-BDDB944EAC11}" type="presParOf" srcId="{D3F103D3-DE50-431E-AD68-D2C8850BFC8D}" destId="{466D8F05-F2EF-4003-A2C4-D9D26162B083}" srcOrd="0" destOrd="0" presId="urn:microsoft.com/office/officeart/2005/8/layout/hierarchy3"/>
    <dgm:cxn modelId="{7C9198AE-0DED-4C7C-8FAE-56A3283D5342}" type="presParOf" srcId="{D3F103D3-DE50-431E-AD68-D2C8850BFC8D}" destId="{A54F3D2A-C8A8-41E7-BBE2-BFE350F9EB09}" srcOrd="1" destOrd="0" presId="urn:microsoft.com/office/officeart/2005/8/layout/hierarchy3"/>
    <dgm:cxn modelId="{B6B74488-836B-47FE-AE03-E4911486A7AA}" type="presParOf" srcId="{25AE032E-A4CF-4475-9A8B-9E9FB667CC31}" destId="{5696D89A-5B37-46C5-856E-D6D0D7C95559}" srcOrd="1" destOrd="0" presId="urn:microsoft.com/office/officeart/2005/8/layout/hierarchy3"/>
    <dgm:cxn modelId="{5E23E56C-CBC9-48E5-9C10-2E53506234D3}" type="presParOf" srcId="{5696D89A-5B37-46C5-856E-D6D0D7C95559}" destId="{41E98369-3704-4EF8-8A73-D3D5A9927768}" srcOrd="0" destOrd="0" presId="urn:microsoft.com/office/officeart/2005/8/layout/hierarchy3"/>
    <dgm:cxn modelId="{22B02AD6-34EF-461A-A16B-3B943A438401}" type="presParOf" srcId="{5696D89A-5B37-46C5-856E-D6D0D7C95559}" destId="{2372BCE7-DD61-47FF-A5EA-634D57D49FB1}" srcOrd="1" destOrd="0" presId="urn:microsoft.com/office/officeart/2005/8/layout/hierarchy3"/>
    <dgm:cxn modelId="{691630BD-88D1-4290-B965-51A719FD8BFE}" type="presParOf" srcId="{5696D89A-5B37-46C5-856E-D6D0D7C95559}" destId="{6F09AAE9-EB2D-4BF9-AF58-F10E25826E38}" srcOrd="2" destOrd="0" presId="urn:microsoft.com/office/officeart/2005/8/layout/hierarchy3"/>
    <dgm:cxn modelId="{E57BDF89-0EF1-4315-8CE5-32F58BF03DA1}" type="presParOf" srcId="{5696D89A-5B37-46C5-856E-D6D0D7C95559}" destId="{3A573BF2-AB6E-4D4B-8827-B8FA1C52C3FA}" srcOrd="3" destOrd="0" presId="urn:microsoft.com/office/officeart/2005/8/layout/hierarchy3"/>
    <dgm:cxn modelId="{BBE4D1CF-CC11-4745-AC84-A91A3F70BE32}" type="presParOf" srcId="{5696D89A-5B37-46C5-856E-D6D0D7C95559}" destId="{E2A3D87A-9C5B-4E46-9924-38E8CBC2FBA4}" srcOrd="4" destOrd="0" presId="urn:microsoft.com/office/officeart/2005/8/layout/hierarchy3"/>
    <dgm:cxn modelId="{9F90D05E-8175-4F64-B175-587B92C5A248}" type="presParOf" srcId="{5696D89A-5B37-46C5-856E-D6D0D7C95559}" destId="{935995E8-1CBD-40D2-A010-65128E12BB67}" srcOrd="5" destOrd="0" presId="urn:microsoft.com/office/officeart/2005/8/layout/hierarchy3"/>
    <dgm:cxn modelId="{5830CE42-E9B2-4FDF-B977-EE831212F6C7}" type="presParOf" srcId="{5696D89A-5B37-46C5-856E-D6D0D7C95559}" destId="{EFE3F865-9820-49E9-978D-EB35FE6809F8}" srcOrd="6" destOrd="0" presId="urn:microsoft.com/office/officeart/2005/8/layout/hierarchy3"/>
    <dgm:cxn modelId="{C54241ED-24B4-4749-B7CE-B69DC9ACF224}" type="presParOf" srcId="{5696D89A-5B37-46C5-856E-D6D0D7C95559}" destId="{DF516282-88F3-4E43-9E00-4F5CDC872AA7}" srcOrd="7" destOrd="0" presId="urn:microsoft.com/office/officeart/2005/8/layout/hierarchy3"/>
    <dgm:cxn modelId="{B884AB48-D50A-4CA3-B635-8FA1670D99F5}" type="presParOf" srcId="{5696D89A-5B37-46C5-856E-D6D0D7C95559}" destId="{20144766-9D3F-4EA7-82B8-8501BB029C90}" srcOrd="8" destOrd="0" presId="urn:microsoft.com/office/officeart/2005/8/layout/hierarchy3"/>
    <dgm:cxn modelId="{0E38C5C4-3173-4E5F-8672-6E0FBE6182ED}" type="presParOf" srcId="{5696D89A-5B37-46C5-856E-D6D0D7C95559}" destId="{1B2199F0-3BB8-4861-A089-B3A18654DFDF}" srcOrd="9" destOrd="0" presId="urn:microsoft.com/office/officeart/2005/8/layout/hierarchy3"/>
    <dgm:cxn modelId="{452673F9-4931-4275-B82E-D47EDB815761}" type="presParOf" srcId="{5696D89A-5B37-46C5-856E-D6D0D7C95559}" destId="{9FB34EBC-1C73-4DA3-B971-E82A7D9DA01A}" srcOrd="10" destOrd="0" presId="urn:microsoft.com/office/officeart/2005/8/layout/hierarchy3"/>
    <dgm:cxn modelId="{8CA1FC0C-0371-46B3-B9C4-6047CB340341}" type="presParOf" srcId="{5696D89A-5B37-46C5-856E-D6D0D7C95559}" destId="{B4E69D34-EC51-4CEB-8776-BB439E51E45F}" srcOrd="11" destOrd="0" presId="urn:microsoft.com/office/officeart/2005/8/layout/hierarchy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91202DC-E4E0-4788-8624-299324D51833}"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s-ES"/>
        </a:p>
      </dgm:t>
    </dgm:pt>
    <dgm:pt modelId="{E8518FE5-AA7C-480A-B8E1-6530CFADC23C}">
      <dgm:prSet phldrT="[Text]" custT="1"/>
      <dgm:spPr/>
      <dgm:t>
        <a:bodyPr/>
        <a:lstStyle/>
        <a:p>
          <a:r>
            <a:rPr lang="es-ES_tradnl" sz="1100"/>
            <a:t>Wikis</a:t>
          </a:r>
          <a:endParaRPr lang="es-ES" sz="1100"/>
        </a:p>
      </dgm:t>
    </dgm:pt>
    <dgm:pt modelId="{0C46BB17-BCE8-4732-B94A-2D583A527AFD}" type="parTrans" cxnId="{B805F2AD-50D8-42E9-A247-129B42905A99}">
      <dgm:prSet/>
      <dgm:spPr/>
      <dgm:t>
        <a:bodyPr/>
        <a:lstStyle/>
        <a:p>
          <a:endParaRPr lang="es-ES" sz="1100"/>
        </a:p>
      </dgm:t>
    </dgm:pt>
    <dgm:pt modelId="{725F079D-4026-464C-ACB4-49D68896D7F8}" type="sibTrans" cxnId="{B805F2AD-50D8-42E9-A247-129B42905A99}">
      <dgm:prSet/>
      <dgm:spPr/>
      <dgm:t>
        <a:bodyPr/>
        <a:lstStyle/>
        <a:p>
          <a:endParaRPr lang="es-ES" sz="1100"/>
        </a:p>
      </dgm:t>
    </dgm:pt>
    <dgm:pt modelId="{3200BFE7-8802-4637-BA99-2B0BD22E9E47}">
      <dgm:prSet phldrT="[Text]" custT="1"/>
      <dgm:spPr/>
      <dgm:t>
        <a:bodyPr/>
        <a:lstStyle/>
        <a:p>
          <a:pPr>
            <a:buFont typeface="Wingdings" panose="05000000000000000000" pitchFamily="2" charset="2"/>
            <a:buChar char="§"/>
          </a:pPr>
          <a:r>
            <a:rPr lang="es-ES" sz="800">
              <a:latin typeface="Calibri" panose="020F0502020204030204" pitchFamily="34" charset="0"/>
              <a:cs typeface="Times New Roman" panose="02020603050405020304" pitchFamily="18" charset="0"/>
            </a:rPr>
            <a:t>Diagramas de las prestaciones del producto, discusiones sobre las prestaciones, diagramas de los prototipos, fotos de las discusiones en la pizarra, y otra información.</a:t>
          </a:r>
          <a:endParaRPr lang="es-ES" sz="800"/>
        </a:p>
      </dgm:t>
    </dgm:pt>
    <dgm:pt modelId="{3B0171E9-F207-49E4-840E-A9804FECC1EC}" type="parTrans" cxnId="{3DC4112D-C19E-4B85-B92A-74EBA04E555B}">
      <dgm:prSet/>
      <dgm:spPr/>
      <dgm:t>
        <a:bodyPr/>
        <a:lstStyle/>
        <a:p>
          <a:endParaRPr lang="es-ES" sz="1100"/>
        </a:p>
      </dgm:t>
    </dgm:pt>
    <dgm:pt modelId="{F6C7715F-C7D5-4160-9FE7-9803FCF569E8}" type="sibTrans" cxnId="{3DC4112D-C19E-4B85-B92A-74EBA04E555B}">
      <dgm:prSet/>
      <dgm:spPr/>
      <dgm:t>
        <a:bodyPr/>
        <a:lstStyle/>
        <a:p>
          <a:endParaRPr lang="es-ES" sz="1100"/>
        </a:p>
      </dgm:t>
    </dgm:pt>
    <dgm:pt modelId="{ED8E736B-936D-4930-832F-47229D9D1F76}">
      <dgm:prSet custT="1"/>
      <dgm:spPr/>
      <dgm:t>
        <a:bodyPr/>
        <a:lstStyle/>
        <a:p>
          <a:r>
            <a:rPr lang="es-ES" sz="800">
              <a:latin typeface="Calibri" panose="020F0502020204030204" pitchFamily="34" charset="0"/>
              <a:cs typeface="Times New Roman" panose="02020603050405020304" pitchFamily="18" charset="0"/>
            </a:rPr>
            <a:t>Herramientas y/o técnicas de desarrollo y prueba que otros miembros del equipo consideran útiles.</a:t>
          </a:r>
        </a:p>
      </dgm:t>
    </dgm:pt>
    <dgm:pt modelId="{DC1D41BC-0FB6-4C73-90F2-E438F6B365C1}" type="parTrans" cxnId="{F83C3579-92F5-47C5-8D37-96CAB8055021}">
      <dgm:prSet/>
      <dgm:spPr/>
      <dgm:t>
        <a:bodyPr/>
        <a:lstStyle/>
        <a:p>
          <a:endParaRPr lang="es-ES" sz="1100"/>
        </a:p>
      </dgm:t>
    </dgm:pt>
    <dgm:pt modelId="{EF484A90-6D2D-4511-91C9-EB27E10E772B}" type="sibTrans" cxnId="{F83C3579-92F5-47C5-8D37-96CAB8055021}">
      <dgm:prSet/>
      <dgm:spPr/>
      <dgm:t>
        <a:bodyPr/>
        <a:lstStyle/>
        <a:p>
          <a:endParaRPr lang="es-ES" sz="1100"/>
        </a:p>
      </dgm:t>
    </dgm:pt>
    <dgm:pt modelId="{EFC8E8D0-8335-40C2-9B8E-A890673B833D}">
      <dgm:prSet custT="1"/>
      <dgm:spPr/>
      <dgm:t>
        <a:bodyPr/>
        <a:lstStyle/>
        <a:p>
          <a:r>
            <a:rPr lang="es-ES" sz="800">
              <a:latin typeface="Calibri" panose="020F0502020204030204" pitchFamily="34" charset="0"/>
              <a:cs typeface="Times New Roman" panose="02020603050405020304" pitchFamily="18" charset="0"/>
            </a:rPr>
            <a:t>Métricas, gráficos y paneles de control sobre el estado del producto, lo que resulta especialmente útil cuando el wiki está integrado con otras herramientas, como el servidor de construcción y el sistema de gestión de tareas, ya que la herramienta puede actualizar el estado del producto automáticamente.</a:t>
          </a:r>
        </a:p>
      </dgm:t>
    </dgm:pt>
    <dgm:pt modelId="{2EEFB16D-052E-4BCA-861B-A5F0783C34AC}" type="parTrans" cxnId="{76F733A4-CE0F-4668-A727-3E82EB3BE835}">
      <dgm:prSet/>
      <dgm:spPr/>
      <dgm:t>
        <a:bodyPr/>
        <a:lstStyle/>
        <a:p>
          <a:endParaRPr lang="es-ES" sz="1100"/>
        </a:p>
      </dgm:t>
    </dgm:pt>
    <dgm:pt modelId="{C288EBA1-94F2-45DE-B01A-85869610453E}" type="sibTrans" cxnId="{76F733A4-CE0F-4668-A727-3E82EB3BE835}">
      <dgm:prSet/>
      <dgm:spPr/>
      <dgm:t>
        <a:bodyPr/>
        <a:lstStyle/>
        <a:p>
          <a:endParaRPr lang="es-ES" sz="1100"/>
        </a:p>
      </dgm:t>
    </dgm:pt>
    <dgm:pt modelId="{F4841BBD-989A-4B55-9505-ED5075AEC79E}">
      <dgm:prSet custT="1"/>
      <dgm:spPr/>
      <dgm:t>
        <a:bodyPr/>
        <a:lstStyle/>
        <a:p>
          <a:r>
            <a:rPr lang="es-ES" sz="800">
              <a:latin typeface="Calibri" panose="020F0502020204030204" pitchFamily="34" charset="0"/>
              <a:cs typeface="Times New Roman" panose="02020603050405020304" pitchFamily="18" charset="0"/>
            </a:rPr>
            <a:t>Conversaciones entre los miembros del equipo, similares a la mensajería instantánea y al correo electrónico, pero de forma compartida con todos los miembros del equipo</a:t>
          </a:r>
        </a:p>
      </dgm:t>
    </dgm:pt>
    <dgm:pt modelId="{63A08663-A6E9-4AE4-A431-ED468705A939}" type="parTrans" cxnId="{F17E7F3E-348F-4ECA-A5EC-0345DC454F11}">
      <dgm:prSet/>
      <dgm:spPr/>
      <dgm:t>
        <a:bodyPr/>
        <a:lstStyle/>
        <a:p>
          <a:endParaRPr lang="es-ES" sz="1100"/>
        </a:p>
      </dgm:t>
    </dgm:pt>
    <dgm:pt modelId="{7567E360-37BB-411D-8DF9-2AC014727BA8}" type="sibTrans" cxnId="{F17E7F3E-348F-4ECA-A5EC-0345DC454F11}">
      <dgm:prSet/>
      <dgm:spPr/>
      <dgm:t>
        <a:bodyPr/>
        <a:lstStyle/>
        <a:p>
          <a:endParaRPr lang="es-ES" sz="1100"/>
        </a:p>
      </dgm:t>
    </dgm:pt>
    <dgm:pt modelId="{9438E738-CC27-491D-B8E5-76D5A8869CC1}">
      <dgm:prSet custT="1"/>
      <dgm:spPr/>
      <dgm:t>
        <a:bodyPr/>
        <a:lstStyle/>
        <a:p>
          <a:r>
            <a:rPr lang="es-ES_tradnl" sz="1100">
              <a:latin typeface="+mn-lt"/>
              <a:cs typeface="Times New Roman" panose="02020603050405020304" pitchFamily="18" charset="0"/>
            </a:rPr>
            <a:t>Mensajería instantánea</a:t>
          </a:r>
          <a:endParaRPr lang="es-ES" sz="1100">
            <a:latin typeface="+mn-lt"/>
            <a:cs typeface="Times New Roman" panose="02020603050405020304" pitchFamily="18" charset="0"/>
          </a:endParaRPr>
        </a:p>
      </dgm:t>
    </dgm:pt>
    <dgm:pt modelId="{4AF38EA9-9A30-45D2-B244-2EB086CDD1E3}" type="parTrans" cxnId="{A2836011-3F15-44DE-ACE3-BB1BF20AF685}">
      <dgm:prSet/>
      <dgm:spPr/>
      <dgm:t>
        <a:bodyPr/>
        <a:lstStyle/>
        <a:p>
          <a:endParaRPr lang="es-ES" sz="1100"/>
        </a:p>
      </dgm:t>
    </dgm:pt>
    <dgm:pt modelId="{8A5BDD31-7890-418C-8286-4B8C26A7AD13}" type="sibTrans" cxnId="{A2836011-3F15-44DE-ACE3-BB1BF20AF685}">
      <dgm:prSet/>
      <dgm:spPr/>
      <dgm:t>
        <a:bodyPr/>
        <a:lstStyle/>
        <a:p>
          <a:endParaRPr lang="es-ES" sz="1100"/>
        </a:p>
      </dgm:t>
    </dgm:pt>
    <dgm:pt modelId="{CF751E2F-508E-47EB-B3B0-FA44FE93D06B}">
      <dgm:prSet custT="1"/>
      <dgm:spPr/>
      <dgm:t>
        <a:bodyPr/>
        <a:lstStyle/>
        <a:p>
          <a:pPr>
            <a:buFont typeface="Symbol" panose="05050102010706020507" pitchFamily="18" charset="2"/>
            <a:buChar char=""/>
          </a:pPr>
          <a:r>
            <a:rPr lang="es-ES" sz="800">
              <a:latin typeface="Calibri" panose="020F0502020204030204" pitchFamily="34" charset="0"/>
              <a:cs typeface="Calibri" panose="020F0502020204030204" pitchFamily="34" charset="0"/>
            </a:rPr>
            <a:t>Las herramientas de mensajería instantánea, teleconferencia de audio y videochat ofrecen las siguientes ventajas.</a:t>
          </a:r>
        </a:p>
      </dgm:t>
    </dgm:pt>
    <dgm:pt modelId="{60B23667-E911-485B-856F-00281585D8B0}" type="parTrans" cxnId="{6D4D56DB-FB9F-4B26-9615-A2E37EBE1158}">
      <dgm:prSet/>
      <dgm:spPr/>
      <dgm:t>
        <a:bodyPr/>
        <a:lstStyle/>
        <a:p>
          <a:endParaRPr lang="es-ES" sz="1100"/>
        </a:p>
      </dgm:t>
    </dgm:pt>
    <dgm:pt modelId="{673DD22E-2791-4B08-9C93-92C44C8757DD}" type="sibTrans" cxnId="{6D4D56DB-FB9F-4B26-9615-A2E37EBE1158}">
      <dgm:prSet/>
      <dgm:spPr/>
      <dgm:t>
        <a:bodyPr/>
        <a:lstStyle/>
        <a:p>
          <a:endParaRPr lang="es-ES" sz="1100"/>
        </a:p>
      </dgm:t>
    </dgm:pt>
    <dgm:pt modelId="{CC4158DB-1B46-40CA-BA9D-432E508C7FDA}">
      <dgm:prSet custT="1"/>
      <dgm:spPr/>
      <dgm:t>
        <a:bodyPr/>
        <a:lstStyle/>
        <a:p>
          <a:pPr>
            <a:buFont typeface="Symbol" panose="05050102010706020507" pitchFamily="18" charset="2"/>
            <a:buChar char=""/>
          </a:pPr>
          <a:r>
            <a:rPr lang="es-ES" sz="800">
              <a:latin typeface="Calibri" panose="020F0502020204030204" pitchFamily="34" charset="0"/>
              <a:cs typeface="Calibri" panose="020F0502020204030204" pitchFamily="34" charset="0"/>
            </a:rPr>
            <a:t>Involucrar a los equipos distribuidos en las reuniones de pie.</a:t>
          </a:r>
        </a:p>
      </dgm:t>
    </dgm:pt>
    <dgm:pt modelId="{68E3CBA9-5EFD-49C2-AEE8-BB44CC8133E3}" type="parTrans" cxnId="{59378996-8273-47CE-944C-A48D37B4123C}">
      <dgm:prSet/>
      <dgm:spPr/>
      <dgm:t>
        <a:bodyPr/>
        <a:lstStyle/>
        <a:p>
          <a:endParaRPr lang="es-ES" sz="1100"/>
        </a:p>
      </dgm:t>
    </dgm:pt>
    <dgm:pt modelId="{B8152747-02F2-4C99-8F68-90E499E7B0A5}" type="sibTrans" cxnId="{59378996-8273-47CE-944C-A48D37B4123C}">
      <dgm:prSet/>
      <dgm:spPr/>
      <dgm:t>
        <a:bodyPr/>
        <a:lstStyle/>
        <a:p>
          <a:endParaRPr lang="es-ES" sz="1100"/>
        </a:p>
      </dgm:t>
    </dgm:pt>
    <dgm:pt modelId="{7A9707AF-F1FF-4D2E-8E8B-4102A57E299A}">
      <dgm:prSet custT="1"/>
      <dgm:spPr/>
      <dgm:t>
        <a:bodyPr/>
        <a:lstStyle/>
        <a:p>
          <a:pPr>
            <a:buFont typeface="Symbol" panose="05050102010706020507" pitchFamily="18" charset="2"/>
            <a:buChar char=""/>
          </a:pPr>
          <a:r>
            <a:rPr lang="es-ES" sz="800">
              <a:latin typeface="Calibri" panose="020F0502020204030204" pitchFamily="34" charset="0"/>
              <a:cs typeface="Calibri" panose="020F0502020204030204" pitchFamily="34" charset="0"/>
            </a:rPr>
            <a:t>Reducir las facturas telefónicas mediante el uso de la tecnología de voz sobre IP, eliminando las limitaciones de costes que podrían reducir la comunicación de los miembros del equipo en entornos distribuidos.</a:t>
          </a:r>
        </a:p>
      </dgm:t>
    </dgm:pt>
    <dgm:pt modelId="{31F0AFBF-A4E9-4720-BC6A-70F54AFFB0DF}" type="parTrans" cxnId="{38F9054A-D762-4058-B247-8218ECB7DA3E}">
      <dgm:prSet/>
      <dgm:spPr/>
      <dgm:t>
        <a:bodyPr/>
        <a:lstStyle/>
        <a:p>
          <a:endParaRPr lang="es-ES" sz="1100"/>
        </a:p>
      </dgm:t>
    </dgm:pt>
    <dgm:pt modelId="{C3385F22-7B69-4BEC-999F-F80CF6656464}" type="sibTrans" cxnId="{38F9054A-D762-4058-B247-8218ECB7DA3E}">
      <dgm:prSet/>
      <dgm:spPr/>
      <dgm:t>
        <a:bodyPr/>
        <a:lstStyle/>
        <a:p>
          <a:endParaRPr lang="es-ES" sz="1100"/>
        </a:p>
      </dgm:t>
    </dgm:pt>
    <dgm:pt modelId="{D3D629CD-428F-4357-9405-763BF0381E7A}">
      <dgm:prSet custT="1"/>
      <dgm:spPr/>
      <dgm:t>
        <a:bodyPr/>
        <a:lstStyle/>
        <a:p>
          <a:pPr>
            <a:buFont typeface="Symbol" panose="05050102010706020507" pitchFamily="18" charset="2"/>
            <a:buChar char=""/>
          </a:pPr>
          <a:r>
            <a:rPr lang="es-ES_tradnl" sz="1100"/>
            <a:t>Escritorio compartido</a:t>
          </a:r>
          <a:endParaRPr lang="es-ES" sz="1100"/>
        </a:p>
      </dgm:t>
    </dgm:pt>
    <dgm:pt modelId="{C7F814F8-402A-4702-9EB6-08692A77F098}" type="parTrans" cxnId="{BF71F35B-45EE-4A4B-9C64-C81A663C54C7}">
      <dgm:prSet/>
      <dgm:spPr/>
      <dgm:t>
        <a:bodyPr/>
        <a:lstStyle/>
        <a:p>
          <a:endParaRPr lang="es-ES" sz="1100"/>
        </a:p>
      </dgm:t>
    </dgm:pt>
    <dgm:pt modelId="{2CB7A828-6777-4617-BD9A-17CCF77A9C56}" type="sibTrans" cxnId="{BF71F35B-45EE-4A4B-9C64-C81A663C54C7}">
      <dgm:prSet/>
      <dgm:spPr/>
      <dgm:t>
        <a:bodyPr/>
        <a:lstStyle/>
        <a:p>
          <a:endParaRPr lang="es-ES" sz="1100"/>
        </a:p>
      </dgm:t>
    </dgm:pt>
    <dgm:pt modelId="{D65A2F34-4563-43AF-BDE8-275B17C72518}">
      <dgm:prSet custT="1"/>
      <dgm:spPr/>
      <dgm:t>
        <a:bodyPr/>
        <a:lstStyle/>
        <a:p>
          <a:pPr>
            <a:buFont typeface="Symbol" panose="05050102010706020507" pitchFamily="18" charset="2"/>
            <a:buChar char=""/>
          </a:pPr>
          <a:r>
            <a:rPr lang="es-ES" sz="800">
              <a:latin typeface="Calibri" panose="020F0502020204030204" pitchFamily="34" charset="0"/>
              <a:cs typeface="Calibri" panose="020F0502020204030204" pitchFamily="34" charset="0"/>
            </a:rPr>
            <a:t>En equipos distribuidos, se pueden realizar demostraciones de productos, revisiones de código e incluso trabajo en pareja. </a:t>
          </a:r>
        </a:p>
      </dgm:t>
    </dgm:pt>
    <dgm:pt modelId="{9D631654-6361-4FB1-BD52-6D3CB51798BF}" type="parTrans" cxnId="{D1001583-7FD4-45F2-A9EE-6D3E80670CD2}">
      <dgm:prSet/>
      <dgm:spPr/>
      <dgm:t>
        <a:bodyPr/>
        <a:lstStyle/>
        <a:p>
          <a:endParaRPr lang="es-ES" sz="1100"/>
        </a:p>
      </dgm:t>
    </dgm:pt>
    <dgm:pt modelId="{6A2EA1DA-1019-49C1-9337-8DD7E6F6BDC6}" type="sibTrans" cxnId="{D1001583-7FD4-45F2-A9EE-6D3E80670CD2}">
      <dgm:prSet/>
      <dgm:spPr/>
      <dgm:t>
        <a:bodyPr/>
        <a:lstStyle/>
        <a:p>
          <a:endParaRPr lang="es-ES" sz="1100"/>
        </a:p>
      </dgm:t>
    </dgm:pt>
    <dgm:pt modelId="{2E157D57-AD30-417C-84CF-59F645DE7E42}">
      <dgm:prSet custT="1"/>
      <dgm:spPr/>
      <dgm:t>
        <a:bodyPr/>
        <a:lstStyle/>
        <a:p>
          <a:pPr>
            <a:buFont typeface="Symbol" panose="05050102010706020507" pitchFamily="18" charset="2"/>
            <a:buChar char=""/>
          </a:pPr>
          <a:r>
            <a:rPr lang="es-ES" sz="800">
              <a:latin typeface="Calibri" panose="020F0502020204030204" pitchFamily="34" charset="0"/>
              <a:cs typeface="Calibri" panose="020F0502020204030204" pitchFamily="34" charset="0"/>
            </a:rPr>
            <a:t>Captura de demostraciones de productos al final de cada iteración, que pueden publicarse en la wiki del equipo. Estas herramientas deben utilizarse para complementar y ampliar, no para sustituir, la comunicación cara a cara en los equipos ágiles.</a:t>
          </a:r>
        </a:p>
      </dgm:t>
    </dgm:pt>
    <dgm:pt modelId="{0B39BD71-8EAF-48AB-942D-222276CB5540}" type="parTrans" cxnId="{3E0D440A-AB99-4ABE-B3F3-605373E38879}">
      <dgm:prSet/>
      <dgm:spPr/>
      <dgm:t>
        <a:bodyPr/>
        <a:lstStyle/>
        <a:p>
          <a:endParaRPr lang="es-ES" sz="1100"/>
        </a:p>
      </dgm:t>
    </dgm:pt>
    <dgm:pt modelId="{B5C3959A-D54B-4B70-B563-44BA588FA31D}" type="sibTrans" cxnId="{3E0D440A-AB99-4ABE-B3F3-605373E38879}">
      <dgm:prSet/>
      <dgm:spPr/>
      <dgm:t>
        <a:bodyPr/>
        <a:lstStyle/>
        <a:p>
          <a:endParaRPr lang="es-ES" sz="1100"/>
        </a:p>
      </dgm:t>
    </dgm:pt>
    <dgm:pt modelId="{FD54D730-9761-42FB-87FA-3F2F6EAD3D33}" type="pres">
      <dgm:prSet presAssocID="{191202DC-E4E0-4788-8624-299324D51833}" presName="diagram" presStyleCnt="0">
        <dgm:presLayoutVars>
          <dgm:chPref val="1"/>
          <dgm:dir/>
          <dgm:animOne val="branch"/>
          <dgm:animLvl val="lvl"/>
          <dgm:resizeHandles/>
        </dgm:presLayoutVars>
      </dgm:prSet>
      <dgm:spPr/>
    </dgm:pt>
    <dgm:pt modelId="{5C0F7335-05DB-49F4-B5BB-305FADF4045A}" type="pres">
      <dgm:prSet presAssocID="{E8518FE5-AA7C-480A-B8E1-6530CFADC23C}" presName="root" presStyleCnt="0"/>
      <dgm:spPr/>
    </dgm:pt>
    <dgm:pt modelId="{FD938E25-1E92-4ABD-B1C5-A9DF221680C9}" type="pres">
      <dgm:prSet presAssocID="{E8518FE5-AA7C-480A-B8E1-6530CFADC23C}" presName="rootComposite" presStyleCnt="0"/>
      <dgm:spPr/>
    </dgm:pt>
    <dgm:pt modelId="{4EE25777-35A6-4CAE-80F2-7C2B45868F13}" type="pres">
      <dgm:prSet presAssocID="{E8518FE5-AA7C-480A-B8E1-6530CFADC23C}" presName="rootText" presStyleLbl="node1" presStyleIdx="0" presStyleCnt="3" custScaleX="243309"/>
      <dgm:spPr/>
    </dgm:pt>
    <dgm:pt modelId="{10CE44EC-A5F0-428E-8EDA-9DFC8DECED19}" type="pres">
      <dgm:prSet presAssocID="{E8518FE5-AA7C-480A-B8E1-6530CFADC23C}" presName="rootConnector" presStyleLbl="node1" presStyleIdx="0" presStyleCnt="3"/>
      <dgm:spPr/>
    </dgm:pt>
    <dgm:pt modelId="{1CD315A1-5466-495F-BFE9-2BDE99ABE95A}" type="pres">
      <dgm:prSet presAssocID="{E8518FE5-AA7C-480A-B8E1-6530CFADC23C}" presName="childShape" presStyleCnt="0"/>
      <dgm:spPr/>
    </dgm:pt>
    <dgm:pt modelId="{476EB543-6D61-4024-A91D-655A29384126}" type="pres">
      <dgm:prSet presAssocID="{3B0171E9-F207-49E4-840E-A9804FECC1EC}" presName="Name13" presStyleLbl="parChTrans1D2" presStyleIdx="0" presStyleCnt="9"/>
      <dgm:spPr/>
    </dgm:pt>
    <dgm:pt modelId="{663B7DE9-EE93-4D02-8F9B-63AB59B675DF}" type="pres">
      <dgm:prSet presAssocID="{3200BFE7-8802-4637-BA99-2B0BD22E9E47}" presName="childText" presStyleLbl="bgAcc1" presStyleIdx="0" presStyleCnt="9" custScaleX="254266">
        <dgm:presLayoutVars>
          <dgm:bulletEnabled val="1"/>
        </dgm:presLayoutVars>
      </dgm:prSet>
      <dgm:spPr/>
    </dgm:pt>
    <dgm:pt modelId="{4E8FE0F3-50D2-495B-A843-709F87505A37}" type="pres">
      <dgm:prSet presAssocID="{DC1D41BC-0FB6-4C73-90F2-E438F6B365C1}" presName="Name13" presStyleLbl="parChTrans1D2" presStyleIdx="1" presStyleCnt="9"/>
      <dgm:spPr/>
    </dgm:pt>
    <dgm:pt modelId="{FCC8B6F4-D615-40FF-A9D4-8D40B1C2E544}" type="pres">
      <dgm:prSet presAssocID="{ED8E736B-936D-4930-832F-47229D9D1F76}" presName="childText" presStyleLbl="bgAcc1" presStyleIdx="1" presStyleCnt="9" custScaleX="256496">
        <dgm:presLayoutVars>
          <dgm:bulletEnabled val="1"/>
        </dgm:presLayoutVars>
      </dgm:prSet>
      <dgm:spPr/>
    </dgm:pt>
    <dgm:pt modelId="{AAE6B2D3-CF27-4715-98F3-BD5E01FABA4A}" type="pres">
      <dgm:prSet presAssocID="{2EEFB16D-052E-4BCA-861B-A5F0783C34AC}" presName="Name13" presStyleLbl="parChTrans1D2" presStyleIdx="2" presStyleCnt="9"/>
      <dgm:spPr/>
    </dgm:pt>
    <dgm:pt modelId="{9656AD79-373B-460A-8417-258D51B6CE3E}" type="pres">
      <dgm:prSet presAssocID="{EFC8E8D0-8335-40C2-9B8E-A890673B833D}" presName="childText" presStyleLbl="bgAcc1" presStyleIdx="2" presStyleCnt="9" custScaleX="255042">
        <dgm:presLayoutVars>
          <dgm:bulletEnabled val="1"/>
        </dgm:presLayoutVars>
      </dgm:prSet>
      <dgm:spPr/>
    </dgm:pt>
    <dgm:pt modelId="{D5B79DDF-6C94-480F-9242-62D2960909A0}" type="pres">
      <dgm:prSet presAssocID="{63A08663-A6E9-4AE4-A431-ED468705A939}" presName="Name13" presStyleLbl="parChTrans1D2" presStyleIdx="3" presStyleCnt="9"/>
      <dgm:spPr/>
    </dgm:pt>
    <dgm:pt modelId="{7B623E54-EF39-4ABA-910E-A1255F1D2029}" type="pres">
      <dgm:prSet presAssocID="{F4841BBD-989A-4B55-9505-ED5075AEC79E}" presName="childText" presStyleLbl="bgAcc1" presStyleIdx="3" presStyleCnt="9" custScaleX="259308">
        <dgm:presLayoutVars>
          <dgm:bulletEnabled val="1"/>
        </dgm:presLayoutVars>
      </dgm:prSet>
      <dgm:spPr/>
    </dgm:pt>
    <dgm:pt modelId="{1F044A02-6E93-4D03-9BDF-8FED8A640538}" type="pres">
      <dgm:prSet presAssocID="{9438E738-CC27-491D-B8E5-76D5A8869CC1}" presName="root" presStyleCnt="0"/>
      <dgm:spPr/>
    </dgm:pt>
    <dgm:pt modelId="{CB2EE7FB-4C29-4AEE-8566-E292B9F3AA38}" type="pres">
      <dgm:prSet presAssocID="{9438E738-CC27-491D-B8E5-76D5A8869CC1}" presName="rootComposite" presStyleCnt="0"/>
      <dgm:spPr/>
    </dgm:pt>
    <dgm:pt modelId="{6EA03F9C-8E36-4EA5-B436-5EAA5BAF4B27}" type="pres">
      <dgm:prSet presAssocID="{9438E738-CC27-491D-B8E5-76D5A8869CC1}" presName="rootText" presStyleLbl="node1" presStyleIdx="1" presStyleCnt="3" custScaleX="196984"/>
      <dgm:spPr/>
    </dgm:pt>
    <dgm:pt modelId="{28F7C04B-C4F1-4E96-B9F8-FF9FADE565DA}" type="pres">
      <dgm:prSet presAssocID="{9438E738-CC27-491D-B8E5-76D5A8869CC1}" presName="rootConnector" presStyleLbl="node1" presStyleIdx="1" presStyleCnt="3"/>
      <dgm:spPr/>
    </dgm:pt>
    <dgm:pt modelId="{81CA53D2-6B79-4B6F-AF02-A875C7B12D4B}" type="pres">
      <dgm:prSet presAssocID="{9438E738-CC27-491D-B8E5-76D5A8869CC1}" presName="childShape" presStyleCnt="0"/>
      <dgm:spPr/>
    </dgm:pt>
    <dgm:pt modelId="{4461968D-E51A-4504-8D7A-37AAC2E942FD}" type="pres">
      <dgm:prSet presAssocID="{60B23667-E911-485B-856F-00281585D8B0}" presName="Name13" presStyleLbl="parChTrans1D2" presStyleIdx="4" presStyleCnt="9"/>
      <dgm:spPr/>
    </dgm:pt>
    <dgm:pt modelId="{CC77357F-2F3F-43A3-B106-1F6F1C7A19E2}" type="pres">
      <dgm:prSet presAssocID="{CF751E2F-508E-47EB-B3B0-FA44FE93D06B}" presName="childText" presStyleLbl="bgAcc1" presStyleIdx="4" presStyleCnt="9" custScaleX="244490">
        <dgm:presLayoutVars>
          <dgm:bulletEnabled val="1"/>
        </dgm:presLayoutVars>
      </dgm:prSet>
      <dgm:spPr/>
    </dgm:pt>
    <dgm:pt modelId="{205C8703-C82D-4577-900D-C54F991C33A6}" type="pres">
      <dgm:prSet presAssocID="{68E3CBA9-5EFD-49C2-AEE8-BB44CC8133E3}" presName="Name13" presStyleLbl="parChTrans1D2" presStyleIdx="5" presStyleCnt="9"/>
      <dgm:spPr/>
    </dgm:pt>
    <dgm:pt modelId="{EB54B5E5-294B-4083-8B5F-D81FE4C74C33}" type="pres">
      <dgm:prSet presAssocID="{CC4158DB-1B46-40CA-BA9D-432E508C7FDA}" presName="childText" presStyleLbl="bgAcc1" presStyleIdx="5" presStyleCnt="9" custScaleX="248558">
        <dgm:presLayoutVars>
          <dgm:bulletEnabled val="1"/>
        </dgm:presLayoutVars>
      </dgm:prSet>
      <dgm:spPr/>
    </dgm:pt>
    <dgm:pt modelId="{22BF0A7E-9C13-48BA-9242-FCD955C1BFF8}" type="pres">
      <dgm:prSet presAssocID="{31F0AFBF-A4E9-4720-BC6A-70F54AFFB0DF}" presName="Name13" presStyleLbl="parChTrans1D2" presStyleIdx="6" presStyleCnt="9"/>
      <dgm:spPr/>
    </dgm:pt>
    <dgm:pt modelId="{A1496C45-EEFD-4B73-9F15-E5FB9909DE9D}" type="pres">
      <dgm:prSet presAssocID="{7A9707AF-F1FF-4D2E-8E8B-4102A57E299A}" presName="childText" presStyleLbl="bgAcc1" presStyleIdx="6" presStyleCnt="9" custScaleX="256111">
        <dgm:presLayoutVars>
          <dgm:bulletEnabled val="1"/>
        </dgm:presLayoutVars>
      </dgm:prSet>
      <dgm:spPr/>
    </dgm:pt>
    <dgm:pt modelId="{5C7DEC88-FA69-4DDD-BAE7-B13D03181059}" type="pres">
      <dgm:prSet presAssocID="{D3D629CD-428F-4357-9405-763BF0381E7A}" presName="root" presStyleCnt="0"/>
      <dgm:spPr/>
    </dgm:pt>
    <dgm:pt modelId="{179962CE-46BC-4B2C-9BCC-ED86E5D82691}" type="pres">
      <dgm:prSet presAssocID="{D3D629CD-428F-4357-9405-763BF0381E7A}" presName="rootComposite" presStyleCnt="0"/>
      <dgm:spPr/>
    </dgm:pt>
    <dgm:pt modelId="{4A9AB7C6-72BD-4832-8CD5-2C274FB0452A}" type="pres">
      <dgm:prSet presAssocID="{D3D629CD-428F-4357-9405-763BF0381E7A}" presName="rootText" presStyleLbl="node1" presStyleIdx="2" presStyleCnt="3" custScaleX="208052"/>
      <dgm:spPr/>
    </dgm:pt>
    <dgm:pt modelId="{DA3E10A6-A802-4E61-8A6A-BB728E47DB3F}" type="pres">
      <dgm:prSet presAssocID="{D3D629CD-428F-4357-9405-763BF0381E7A}" presName="rootConnector" presStyleLbl="node1" presStyleIdx="2" presStyleCnt="3"/>
      <dgm:spPr/>
    </dgm:pt>
    <dgm:pt modelId="{7F3B990C-DA8E-4617-8BAD-B852595C8BC6}" type="pres">
      <dgm:prSet presAssocID="{D3D629CD-428F-4357-9405-763BF0381E7A}" presName="childShape" presStyleCnt="0"/>
      <dgm:spPr/>
    </dgm:pt>
    <dgm:pt modelId="{3CF694D7-A0B9-40FD-A886-73D870D88459}" type="pres">
      <dgm:prSet presAssocID="{9D631654-6361-4FB1-BD52-6D3CB51798BF}" presName="Name13" presStyleLbl="parChTrans1D2" presStyleIdx="7" presStyleCnt="9"/>
      <dgm:spPr/>
    </dgm:pt>
    <dgm:pt modelId="{E9A3084E-3A45-402B-B12F-2B58198CBE3E}" type="pres">
      <dgm:prSet presAssocID="{D65A2F34-4563-43AF-BDE8-275B17C72518}" presName="childText" presStyleLbl="bgAcc1" presStyleIdx="7" presStyleCnt="9" custScaleX="300676">
        <dgm:presLayoutVars>
          <dgm:bulletEnabled val="1"/>
        </dgm:presLayoutVars>
      </dgm:prSet>
      <dgm:spPr/>
    </dgm:pt>
    <dgm:pt modelId="{2C09BD28-201A-4E6C-A4EC-562368065509}" type="pres">
      <dgm:prSet presAssocID="{0B39BD71-8EAF-48AB-942D-222276CB5540}" presName="Name13" presStyleLbl="parChTrans1D2" presStyleIdx="8" presStyleCnt="9"/>
      <dgm:spPr/>
    </dgm:pt>
    <dgm:pt modelId="{97F3CE09-E558-4900-85F1-C2132711AD2E}" type="pres">
      <dgm:prSet presAssocID="{2E157D57-AD30-417C-84CF-59F645DE7E42}" presName="childText" presStyleLbl="bgAcc1" presStyleIdx="8" presStyleCnt="9" custScaleX="299415">
        <dgm:presLayoutVars>
          <dgm:bulletEnabled val="1"/>
        </dgm:presLayoutVars>
      </dgm:prSet>
      <dgm:spPr/>
    </dgm:pt>
  </dgm:ptLst>
  <dgm:cxnLst>
    <dgm:cxn modelId="{A70BE801-4939-4411-BDCF-F44D2CB856AC}" type="presOf" srcId="{2E157D57-AD30-417C-84CF-59F645DE7E42}" destId="{97F3CE09-E558-4900-85F1-C2132711AD2E}" srcOrd="0" destOrd="0" presId="urn:microsoft.com/office/officeart/2005/8/layout/hierarchy3"/>
    <dgm:cxn modelId="{3E0D440A-AB99-4ABE-B3F3-605373E38879}" srcId="{D3D629CD-428F-4357-9405-763BF0381E7A}" destId="{2E157D57-AD30-417C-84CF-59F645DE7E42}" srcOrd="1" destOrd="0" parTransId="{0B39BD71-8EAF-48AB-942D-222276CB5540}" sibTransId="{B5C3959A-D54B-4B70-B563-44BA588FA31D}"/>
    <dgm:cxn modelId="{A2836011-3F15-44DE-ACE3-BB1BF20AF685}" srcId="{191202DC-E4E0-4788-8624-299324D51833}" destId="{9438E738-CC27-491D-B8E5-76D5A8869CC1}" srcOrd="1" destOrd="0" parTransId="{4AF38EA9-9A30-45D2-B244-2EB086CDD1E3}" sibTransId="{8A5BDD31-7890-418C-8286-4B8C26A7AD13}"/>
    <dgm:cxn modelId="{CEDE1A17-0C34-406E-8292-D028438AAC28}" type="presOf" srcId="{9D631654-6361-4FB1-BD52-6D3CB51798BF}" destId="{3CF694D7-A0B9-40FD-A886-73D870D88459}" srcOrd="0" destOrd="0" presId="urn:microsoft.com/office/officeart/2005/8/layout/hierarchy3"/>
    <dgm:cxn modelId="{9257D620-D672-4A31-93ED-D2ACAC99688B}" type="presOf" srcId="{7A9707AF-F1FF-4D2E-8E8B-4102A57E299A}" destId="{A1496C45-EEFD-4B73-9F15-E5FB9909DE9D}" srcOrd="0" destOrd="0" presId="urn:microsoft.com/office/officeart/2005/8/layout/hierarchy3"/>
    <dgm:cxn modelId="{872B2021-9721-4E3B-A0AD-BBCC48AED48B}" type="presOf" srcId="{DC1D41BC-0FB6-4C73-90F2-E438F6B365C1}" destId="{4E8FE0F3-50D2-495B-A843-709F87505A37}" srcOrd="0" destOrd="0" presId="urn:microsoft.com/office/officeart/2005/8/layout/hierarchy3"/>
    <dgm:cxn modelId="{3DC4112D-C19E-4B85-B92A-74EBA04E555B}" srcId="{E8518FE5-AA7C-480A-B8E1-6530CFADC23C}" destId="{3200BFE7-8802-4637-BA99-2B0BD22E9E47}" srcOrd="0" destOrd="0" parTransId="{3B0171E9-F207-49E4-840E-A9804FECC1EC}" sibTransId="{F6C7715F-C7D5-4160-9FE7-9803FCF569E8}"/>
    <dgm:cxn modelId="{F17E7F3E-348F-4ECA-A5EC-0345DC454F11}" srcId="{E8518FE5-AA7C-480A-B8E1-6530CFADC23C}" destId="{F4841BBD-989A-4B55-9505-ED5075AEC79E}" srcOrd="3" destOrd="0" parTransId="{63A08663-A6E9-4AE4-A431-ED468705A939}" sibTransId="{7567E360-37BB-411D-8DF9-2AC014727BA8}"/>
    <dgm:cxn modelId="{BF71F35B-45EE-4A4B-9C64-C81A663C54C7}" srcId="{191202DC-E4E0-4788-8624-299324D51833}" destId="{D3D629CD-428F-4357-9405-763BF0381E7A}" srcOrd="2" destOrd="0" parTransId="{C7F814F8-402A-4702-9EB6-08692A77F098}" sibTransId="{2CB7A828-6777-4617-BD9A-17CCF77A9C56}"/>
    <dgm:cxn modelId="{11DB5E60-EF71-45C5-BF41-8F7BB57A9614}" type="presOf" srcId="{63A08663-A6E9-4AE4-A431-ED468705A939}" destId="{D5B79DDF-6C94-480F-9242-62D2960909A0}" srcOrd="0" destOrd="0" presId="urn:microsoft.com/office/officeart/2005/8/layout/hierarchy3"/>
    <dgm:cxn modelId="{38F9054A-D762-4058-B247-8218ECB7DA3E}" srcId="{9438E738-CC27-491D-B8E5-76D5A8869CC1}" destId="{7A9707AF-F1FF-4D2E-8E8B-4102A57E299A}" srcOrd="2" destOrd="0" parTransId="{31F0AFBF-A4E9-4720-BC6A-70F54AFFB0DF}" sibTransId="{C3385F22-7B69-4BEC-999F-F80CF6656464}"/>
    <dgm:cxn modelId="{CB34234B-37F6-45B0-878B-2874137E7ACB}" type="presOf" srcId="{9438E738-CC27-491D-B8E5-76D5A8869CC1}" destId="{28F7C04B-C4F1-4E96-B9F8-FF9FADE565DA}" srcOrd="1" destOrd="0" presId="urn:microsoft.com/office/officeart/2005/8/layout/hierarchy3"/>
    <dgm:cxn modelId="{5C7D484B-21D4-4163-B207-DB8BEDE3DD98}" type="presOf" srcId="{F4841BBD-989A-4B55-9505-ED5075AEC79E}" destId="{7B623E54-EF39-4ABA-910E-A1255F1D2029}" srcOrd="0" destOrd="0" presId="urn:microsoft.com/office/officeart/2005/8/layout/hierarchy3"/>
    <dgm:cxn modelId="{990CFE6F-1ED9-446B-B733-A7D15D5B413E}" type="presOf" srcId="{E8518FE5-AA7C-480A-B8E1-6530CFADC23C}" destId="{4EE25777-35A6-4CAE-80F2-7C2B45868F13}" srcOrd="0" destOrd="0" presId="urn:microsoft.com/office/officeart/2005/8/layout/hierarchy3"/>
    <dgm:cxn modelId="{FFDF8C51-7E8C-48E2-BDF2-49FE432D4A01}" type="presOf" srcId="{D3D629CD-428F-4357-9405-763BF0381E7A}" destId="{4A9AB7C6-72BD-4832-8CD5-2C274FB0452A}" srcOrd="0" destOrd="0" presId="urn:microsoft.com/office/officeart/2005/8/layout/hierarchy3"/>
    <dgm:cxn modelId="{D7D99F52-F789-40C3-BCAA-8AD0802DCC78}" type="presOf" srcId="{CF751E2F-508E-47EB-B3B0-FA44FE93D06B}" destId="{CC77357F-2F3F-43A3-B106-1F6F1C7A19E2}" srcOrd="0" destOrd="0" presId="urn:microsoft.com/office/officeart/2005/8/layout/hierarchy3"/>
    <dgm:cxn modelId="{81942678-5E6D-4CA8-93A7-92E566918006}" type="presOf" srcId="{31F0AFBF-A4E9-4720-BC6A-70F54AFFB0DF}" destId="{22BF0A7E-9C13-48BA-9242-FCD955C1BFF8}" srcOrd="0" destOrd="0" presId="urn:microsoft.com/office/officeart/2005/8/layout/hierarchy3"/>
    <dgm:cxn modelId="{F83C3579-92F5-47C5-8D37-96CAB8055021}" srcId="{E8518FE5-AA7C-480A-B8E1-6530CFADC23C}" destId="{ED8E736B-936D-4930-832F-47229D9D1F76}" srcOrd="1" destOrd="0" parTransId="{DC1D41BC-0FB6-4C73-90F2-E438F6B365C1}" sibTransId="{EF484A90-6D2D-4511-91C9-EB27E10E772B}"/>
    <dgm:cxn modelId="{53F56A7F-99BD-4FC9-98D0-29105A8CF816}" type="presOf" srcId="{D65A2F34-4563-43AF-BDE8-275B17C72518}" destId="{E9A3084E-3A45-402B-B12F-2B58198CBE3E}" srcOrd="0" destOrd="0" presId="urn:microsoft.com/office/officeart/2005/8/layout/hierarchy3"/>
    <dgm:cxn modelId="{3A31B880-3B6B-492A-B9D6-BEC15E7E1BB6}" type="presOf" srcId="{191202DC-E4E0-4788-8624-299324D51833}" destId="{FD54D730-9761-42FB-87FA-3F2F6EAD3D33}" srcOrd="0" destOrd="0" presId="urn:microsoft.com/office/officeart/2005/8/layout/hierarchy3"/>
    <dgm:cxn modelId="{D1001583-7FD4-45F2-A9EE-6D3E80670CD2}" srcId="{D3D629CD-428F-4357-9405-763BF0381E7A}" destId="{D65A2F34-4563-43AF-BDE8-275B17C72518}" srcOrd="0" destOrd="0" parTransId="{9D631654-6361-4FB1-BD52-6D3CB51798BF}" sibTransId="{6A2EA1DA-1019-49C1-9337-8DD7E6F6BDC6}"/>
    <dgm:cxn modelId="{CA77BF86-311E-4040-A21F-0FBA56AC669C}" type="presOf" srcId="{60B23667-E911-485B-856F-00281585D8B0}" destId="{4461968D-E51A-4504-8D7A-37AAC2E942FD}" srcOrd="0" destOrd="0" presId="urn:microsoft.com/office/officeart/2005/8/layout/hierarchy3"/>
    <dgm:cxn modelId="{59378996-8273-47CE-944C-A48D37B4123C}" srcId="{9438E738-CC27-491D-B8E5-76D5A8869CC1}" destId="{CC4158DB-1B46-40CA-BA9D-432E508C7FDA}" srcOrd="1" destOrd="0" parTransId="{68E3CBA9-5EFD-49C2-AEE8-BB44CC8133E3}" sibTransId="{B8152747-02F2-4C99-8F68-90E499E7B0A5}"/>
    <dgm:cxn modelId="{F6BA29A2-56B8-4BF7-8B14-6E7E41340542}" type="presOf" srcId="{3200BFE7-8802-4637-BA99-2B0BD22E9E47}" destId="{663B7DE9-EE93-4D02-8F9B-63AB59B675DF}" srcOrd="0" destOrd="0" presId="urn:microsoft.com/office/officeart/2005/8/layout/hierarchy3"/>
    <dgm:cxn modelId="{76F733A4-CE0F-4668-A727-3E82EB3BE835}" srcId="{E8518FE5-AA7C-480A-B8E1-6530CFADC23C}" destId="{EFC8E8D0-8335-40C2-9B8E-A890673B833D}" srcOrd="2" destOrd="0" parTransId="{2EEFB16D-052E-4BCA-861B-A5F0783C34AC}" sibTransId="{C288EBA1-94F2-45DE-B01A-85869610453E}"/>
    <dgm:cxn modelId="{B805F2AD-50D8-42E9-A247-129B42905A99}" srcId="{191202DC-E4E0-4788-8624-299324D51833}" destId="{E8518FE5-AA7C-480A-B8E1-6530CFADC23C}" srcOrd="0" destOrd="0" parTransId="{0C46BB17-BCE8-4732-B94A-2D583A527AFD}" sibTransId="{725F079D-4026-464C-ACB4-49D68896D7F8}"/>
    <dgm:cxn modelId="{C37767B9-9D3E-4D0D-BA98-52CE0D04E436}" type="presOf" srcId="{68E3CBA9-5EFD-49C2-AEE8-BB44CC8133E3}" destId="{205C8703-C82D-4577-900D-C54F991C33A6}" srcOrd="0" destOrd="0" presId="urn:microsoft.com/office/officeart/2005/8/layout/hierarchy3"/>
    <dgm:cxn modelId="{E7CA5AC8-52FE-4F21-A017-1C24E4248343}" type="presOf" srcId="{EFC8E8D0-8335-40C2-9B8E-A890673B833D}" destId="{9656AD79-373B-460A-8417-258D51B6CE3E}" srcOrd="0" destOrd="0" presId="urn:microsoft.com/office/officeart/2005/8/layout/hierarchy3"/>
    <dgm:cxn modelId="{77B7A7CD-9E66-4623-9287-B8D6B31E7EED}" type="presOf" srcId="{3B0171E9-F207-49E4-840E-A9804FECC1EC}" destId="{476EB543-6D61-4024-A91D-655A29384126}" srcOrd="0" destOrd="0" presId="urn:microsoft.com/office/officeart/2005/8/layout/hierarchy3"/>
    <dgm:cxn modelId="{6D4D56DB-FB9F-4B26-9615-A2E37EBE1158}" srcId="{9438E738-CC27-491D-B8E5-76D5A8869CC1}" destId="{CF751E2F-508E-47EB-B3B0-FA44FE93D06B}" srcOrd="0" destOrd="0" parTransId="{60B23667-E911-485B-856F-00281585D8B0}" sibTransId="{673DD22E-2791-4B08-9C93-92C44C8757DD}"/>
    <dgm:cxn modelId="{A4DDE6E0-D288-4418-8561-6122939E5FCA}" type="presOf" srcId="{ED8E736B-936D-4930-832F-47229D9D1F76}" destId="{FCC8B6F4-D615-40FF-A9D4-8D40B1C2E544}" srcOrd="0" destOrd="0" presId="urn:microsoft.com/office/officeart/2005/8/layout/hierarchy3"/>
    <dgm:cxn modelId="{E65B3BE1-00FC-439E-BFE2-31EF8EC1381A}" type="presOf" srcId="{2EEFB16D-052E-4BCA-861B-A5F0783C34AC}" destId="{AAE6B2D3-CF27-4715-98F3-BD5E01FABA4A}" srcOrd="0" destOrd="0" presId="urn:microsoft.com/office/officeart/2005/8/layout/hierarchy3"/>
    <dgm:cxn modelId="{A01A66E8-D7AD-4F3A-AFAA-82654E7A8D29}" type="presOf" srcId="{CC4158DB-1B46-40CA-BA9D-432E508C7FDA}" destId="{EB54B5E5-294B-4083-8B5F-D81FE4C74C33}" srcOrd="0" destOrd="0" presId="urn:microsoft.com/office/officeart/2005/8/layout/hierarchy3"/>
    <dgm:cxn modelId="{C5F846EC-90D8-419D-9CA4-107D2464E3DB}" type="presOf" srcId="{E8518FE5-AA7C-480A-B8E1-6530CFADC23C}" destId="{10CE44EC-A5F0-428E-8EDA-9DFC8DECED19}" srcOrd="1" destOrd="0" presId="urn:microsoft.com/office/officeart/2005/8/layout/hierarchy3"/>
    <dgm:cxn modelId="{E0B414F1-15ED-4C06-AD76-29D682B42455}" type="presOf" srcId="{9438E738-CC27-491D-B8E5-76D5A8869CC1}" destId="{6EA03F9C-8E36-4EA5-B436-5EAA5BAF4B27}" srcOrd="0" destOrd="0" presId="urn:microsoft.com/office/officeart/2005/8/layout/hierarchy3"/>
    <dgm:cxn modelId="{09B9A6F8-A903-4DE9-B719-0228CB12C862}" type="presOf" srcId="{D3D629CD-428F-4357-9405-763BF0381E7A}" destId="{DA3E10A6-A802-4E61-8A6A-BB728E47DB3F}" srcOrd="1" destOrd="0" presId="urn:microsoft.com/office/officeart/2005/8/layout/hierarchy3"/>
    <dgm:cxn modelId="{F7CE0FFC-C612-40CF-9E44-B109CA09DE78}" type="presOf" srcId="{0B39BD71-8EAF-48AB-942D-222276CB5540}" destId="{2C09BD28-201A-4E6C-A4EC-562368065509}" srcOrd="0" destOrd="0" presId="urn:microsoft.com/office/officeart/2005/8/layout/hierarchy3"/>
    <dgm:cxn modelId="{C222515C-6EAA-42BE-B3C8-6593F870243A}" type="presParOf" srcId="{FD54D730-9761-42FB-87FA-3F2F6EAD3D33}" destId="{5C0F7335-05DB-49F4-B5BB-305FADF4045A}" srcOrd="0" destOrd="0" presId="urn:microsoft.com/office/officeart/2005/8/layout/hierarchy3"/>
    <dgm:cxn modelId="{FCA441D4-8F1F-4BCF-8983-F76EF8384016}" type="presParOf" srcId="{5C0F7335-05DB-49F4-B5BB-305FADF4045A}" destId="{FD938E25-1E92-4ABD-B1C5-A9DF221680C9}" srcOrd="0" destOrd="0" presId="urn:microsoft.com/office/officeart/2005/8/layout/hierarchy3"/>
    <dgm:cxn modelId="{0D6D2881-44F1-4367-9D2F-8A110C0ADEA9}" type="presParOf" srcId="{FD938E25-1E92-4ABD-B1C5-A9DF221680C9}" destId="{4EE25777-35A6-4CAE-80F2-7C2B45868F13}" srcOrd="0" destOrd="0" presId="urn:microsoft.com/office/officeart/2005/8/layout/hierarchy3"/>
    <dgm:cxn modelId="{AB45FCE5-DDC6-455D-ABFF-911E4411E2E6}" type="presParOf" srcId="{FD938E25-1E92-4ABD-B1C5-A9DF221680C9}" destId="{10CE44EC-A5F0-428E-8EDA-9DFC8DECED19}" srcOrd="1" destOrd="0" presId="urn:microsoft.com/office/officeart/2005/8/layout/hierarchy3"/>
    <dgm:cxn modelId="{EAAC2269-BF84-4438-90C0-B234A1577ABF}" type="presParOf" srcId="{5C0F7335-05DB-49F4-B5BB-305FADF4045A}" destId="{1CD315A1-5466-495F-BFE9-2BDE99ABE95A}" srcOrd="1" destOrd="0" presId="urn:microsoft.com/office/officeart/2005/8/layout/hierarchy3"/>
    <dgm:cxn modelId="{C16A3624-3E21-411D-A8BF-DE51BC45735F}" type="presParOf" srcId="{1CD315A1-5466-495F-BFE9-2BDE99ABE95A}" destId="{476EB543-6D61-4024-A91D-655A29384126}" srcOrd="0" destOrd="0" presId="urn:microsoft.com/office/officeart/2005/8/layout/hierarchy3"/>
    <dgm:cxn modelId="{13FA7C99-F4B3-44A1-9AF9-AF2968E90FF6}" type="presParOf" srcId="{1CD315A1-5466-495F-BFE9-2BDE99ABE95A}" destId="{663B7DE9-EE93-4D02-8F9B-63AB59B675DF}" srcOrd="1" destOrd="0" presId="urn:microsoft.com/office/officeart/2005/8/layout/hierarchy3"/>
    <dgm:cxn modelId="{FBDB0316-D759-463A-9FDD-BC853F099532}" type="presParOf" srcId="{1CD315A1-5466-495F-BFE9-2BDE99ABE95A}" destId="{4E8FE0F3-50D2-495B-A843-709F87505A37}" srcOrd="2" destOrd="0" presId="urn:microsoft.com/office/officeart/2005/8/layout/hierarchy3"/>
    <dgm:cxn modelId="{7B6C2FDD-B5B0-4295-ACB6-340C8A53D2C0}" type="presParOf" srcId="{1CD315A1-5466-495F-BFE9-2BDE99ABE95A}" destId="{FCC8B6F4-D615-40FF-A9D4-8D40B1C2E544}" srcOrd="3" destOrd="0" presId="urn:microsoft.com/office/officeart/2005/8/layout/hierarchy3"/>
    <dgm:cxn modelId="{18941C11-A4BF-4980-9E15-4894A351326A}" type="presParOf" srcId="{1CD315A1-5466-495F-BFE9-2BDE99ABE95A}" destId="{AAE6B2D3-CF27-4715-98F3-BD5E01FABA4A}" srcOrd="4" destOrd="0" presId="urn:microsoft.com/office/officeart/2005/8/layout/hierarchy3"/>
    <dgm:cxn modelId="{293F52E8-CFDF-4895-B639-FFC641117CAD}" type="presParOf" srcId="{1CD315A1-5466-495F-BFE9-2BDE99ABE95A}" destId="{9656AD79-373B-460A-8417-258D51B6CE3E}" srcOrd="5" destOrd="0" presId="urn:microsoft.com/office/officeart/2005/8/layout/hierarchy3"/>
    <dgm:cxn modelId="{45AFBD22-5E7D-4BC6-9D00-6274B1829836}" type="presParOf" srcId="{1CD315A1-5466-495F-BFE9-2BDE99ABE95A}" destId="{D5B79DDF-6C94-480F-9242-62D2960909A0}" srcOrd="6" destOrd="0" presId="urn:microsoft.com/office/officeart/2005/8/layout/hierarchy3"/>
    <dgm:cxn modelId="{4DD818B0-42A1-4B51-BAFA-42C4731EEA0D}" type="presParOf" srcId="{1CD315A1-5466-495F-BFE9-2BDE99ABE95A}" destId="{7B623E54-EF39-4ABA-910E-A1255F1D2029}" srcOrd="7" destOrd="0" presId="urn:microsoft.com/office/officeart/2005/8/layout/hierarchy3"/>
    <dgm:cxn modelId="{5BCC44C7-4273-4202-B7DF-C79E406EDFF7}" type="presParOf" srcId="{FD54D730-9761-42FB-87FA-3F2F6EAD3D33}" destId="{1F044A02-6E93-4D03-9BDF-8FED8A640538}" srcOrd="1" destOrd="0" presId="urn:microsoft.com/office/officeart/2005/8/layout/hierarchy3"/>
    <dgm:cxn modelId="{F7FAEE75-1667-454E-83F8-33AFA6310CA6}" type="presParOf" srcId="{1F044A02-6E93-4D03-9BDF-8FED8A640538}" destId="{CB2EE7FB-4C29-4AEE-8566-E292B9F3AA38}" srcOrd="0" destOrd="0" presId="urn:microsoft.com/office/officeart/2005/8/layout/hierarchy3"/>
    <dgm:cxn modelId="{5D98C6A0-1D12-4FE5-A223-CDD385A7E92E}" type="presParOf" srcId="{CB2EE7FB-4C29-4AEE-8566-E292B9F3AA38}" destId="{6EA03F9C-8E36-4EA5-B436-5EAA5BAF4B27}" srcOrd="0" destOrd="0" presId="urn:microsoft.com/office/officeart/2005/8/layout/hierarchy3"/>
    <dgm:cxn modelId="{24DCA480-E087-485D-8A61-463496AB1243}" type="presParOf" srcId="{CB2EE7FB-4C29-4AEE-8566-E292B9F3AA38}" destId="{28F7C04B-C4F1-4E96-B9F8-FF9FADE565DA}" srcOrd="1" destOrd="0" presId="urn:microsoft.com/office/officeart/2005/8/layout/hierarchy3"/>
    <dgm:cxn modelId="{88DF30D5-F001-439B-B1F4-196D376208D8}" type="presParOf" srcId="{1F044A02-6E93-4D03-9BDF-8FED8A640538}" destId="{81CA53D2-6B79-4B6F-AF02-A875C7B12D4B}" srcOrd="1" destOrd="0" presId="urn:microsoft.com/office/officeart/2005/8/layout/hierarchy3"/>
    <dgm:cxn modelId="{14803316-39F1-4869-B875-009A8CCEABCE}" type="presParOf" srcId="{81CA53D2-6B79-4B6F-AF02-A875C7B12D4B}" destId="{4461968D-E51A-4504-8D7A-37AAC2E942FD}" srcOrd="0" destOrd="0" presId="urn:microsoft.com/office/officeart/2005/8/layout/hierarchy3"/>
    <dgm:cxn modelId="{2F237D46-0FE6-49A7-86B5-A8737B4B30E4}" type="presParOf" srcId="{81CA53D2-6B79-4B6F-AF02-A875C7B12D4B}" destId="{CC77357F-2F3F-43A3-B106-1F6F1C7A19E2}" srcOrd="1" destOrd="0" presId="urn:microsoft.com/office/officeart/2005/8/layout/hierarchy3"/>
    <dgm:cxn modelId="{D2AE845D-E377-4588-89D8-A2897CF063B8}" type="presParOf" srcId="{81CA53D2-6B79-4B6F-AF02-A875C7B12D4B}" destId="{205C8703-C82D-4577-900D-C54F991C33A6}" srcOrd="2" destOrd="0" presId="urn:microsoft.com/office/officeart/2005/8/layout/hierarchy3"/>
    <dgm:cxn modelId="{915C0132-FCE3-4C0A-BA39-F13C3707374A}" type="presParOf" srcId="{81CA53D2-6B79-4B6F-AF02-A875C7B12D4B}" destId="{EB54B5E5-294B-4083-8B5F-D81FE4C74C33}" srcOrd="3" destOrd="0" presId="urn:microsoft.com/office/officeart/2005/8/layout/hierarchy3"/>
    <dgm:cxn modelId="{01AC8637-B9F2-4140-B7E3-96D6F597BFF3}" type="presParOf" srcId="{81CA53D2-6B79-4B6F-AF02-A875C7B12D4B}" destId="{22BF0A7E-9C13-48BA-9242-FCD955C1BFF8}" srcOrd="4" destOrd="0" presId="urn:microsoft.com/office/officeart/2005/8/layout/hierarchy3"/>
    <dgm:cxn modelId="{1573D31E-9EBB-4974-9A8D-266429EF0FA2}" type="presParOf" srcId="{81CA53D2-6B79-4B6F-AF02-A875C7B12D4B}" destId="{A1496C45-EEFD-4B73-9F15-E5FB9909DE9D}" srcOrd="5" destOrd="0" presId="urn:microsoft.com/office/officeart/2005/8/layout/hierarchy3"/>
    <dgm:cxn modelId="{26EDA696-B158-404F-885C-FCFBA72B50DA}" type="presParOf" srcId="{FD54D730-9761-42FB-87FA-3F2F6EAD3D33}" destId="{5C7DEC88-FA69-4DDD-BAE7-B13D03181059}" srcOrd="2" destOrd="0" presId="urn:microsoft.com/office/officeart/2005/8/layout/hierarchy3"/>
    <dgm:cxn modelId="{015E3EC0-8FAE-476E-B6FD-5B0C60285391}" type="presParOf" srcId="{5C7DEC88-FA69-4DDD-BAE7-B13D03181059}" destId="{179962CE-46BC-4B2C-9BCC-ED86E5D82691}" srcOrd="0" destOrd="0" presId="urn:microsoft.com/office/officeart/2005/8/layout/hierarchy3"/>
    <dgm:cxn modelId="{875DB103-719E-48BA-9E9C-7CC83C013F15}" type="presParOf" srcId="{179962CE-46BC-4B2C-9BCC-ED86E5D82691}" destId="{4A9AB7C6-72BD-4832-8CD5-2C274FB0452A}" srcOrd="0" destOrd="0" presId="urn:microsoft.com/office/officeart/2005/8/layout/hierarchy3"/>
    <dgm:cxn modelId="{5BB7F391-E8DC-4B07-9650-CC3C9F1F75C8}" type="presParOf" srcId="{179962CE-46BC-4B2C-9BCC-ED86E5D82691}" destId="{DA3E10A6-A802-4E61-8A6A-BB728E47DB3F}" srcOrd="1" destOrd="0" presId="urn:microsoft.com/office/officeart/2005/8/layout/hierarchy3"/>
    <dgm:cxn modelId="{4EB549E9-FD50-4F60-8D3E-BDF2CF7CCD71}" type="presParOf" srcId="{5C7DEC88-FA69-4DDD-BAE7-B13D03181059}" destId="{7F3B990C-DA8E-4617-8BAD-B852595C8BC6}" srcOrd="1" destOrd="0" presId="urn:microsoft.com/office/officeart/2005/8/layout/hierarchy3"/>
    <dgm:cxn modelId="{938127B6-3AEA-4E6A-A349-D35A43CD5FB6}" type="presParOf" srcId="{7F3B990C-DA8E-4617-8BAD-B852595C8BC6}" destId="{3CF694D7-A0B9-40FD-A886-73D870D88459}" srcOrd="0" destOrd="0" presId="urn:microsoft.com/office/officeart/2005/8/layout/hierarchy3"/>
    <dgm:cxn modelId="{FC8D0616-6F5D-48F0-AC72-1BEE532194A9}" type="presParOf" srcId="{7F3B990C-DA8E-4617-8BAD-B852595C8BC6}" destId="{E9A3084E-3A45-402B-B12F-2B58198CBE3E}" srcOrd="1" destOrd="0" presId="urn:microsoft.com/office/officeart/2005/8/layout/hierarchy3"/>
    <dgm:cxn modelId="{3A180B67-1289-4918-985C-84E9D7DC36D9}" type="presParOf" srcId="{7F3B990C-DA8E-4617-8BAD-B852595C8BC6}" destId="{2C09BD28-201A-4E6C-A4EC-562368065509}" srcOrd="2" destOrd="0" presId="urn:microsoft.com/office/officeart/2005/8/layout/hierarchy3"/>
    <dgm:cxn modelId="{6672F3A3-EB9C-4A3E-8642-684362FAE5BB}" type="presParOf" srcId="{7F3B990C-DA8E-4617-8BAD-B852595C8BC6}" destId="{97F3CE09-E558-4900-85F1-C2132711AD2E}" srcOrd="3" destOrd="0" presId="urn:microsoft.com/office/officeart/2005/8/layout/hierarchy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E14294B-A6F3-4B6C-9A15-7D4B9477A0A4}" type="doc">
      <dgm:prSet loTypeId="urn:microsoft.com/office/officeart/2005/8/layout/rings+Icon" loCatId="relationship" qsTypeId="urn:microsoft.com/office/officeart/2005/8/quickstyle/simple1" qsCatId="simple" csTypeId="urn:microsoft.com/office/officeart/2005/8/colors/accent1_2" csCatId="accent1" phldr="1"/>
      <dgm:spPr/>
    </dgm:pt>
    <dgm:pt modelId="{D0A366D5-227D-446C-8621-0F47C604F4D0}">
      <dgm:prSet phldrT="[Text]"/>
      <dgm:spPr/>
      <dgm:t>
        <a:bodyPr/>
        <a:lstStyle/>
        <a:p>
          <a:pPr>
            <a:buFont typeface="Wingdings" panose="05000000000000000000" pitchFamily="2" charset="2"/>
            <a:buChar char="§"/>
          </a:pPr>
          <a:r>
            <a:rPr lang="es-ES" b="1">
              <a:latin typeface="Calibri" panose="020F0502020204030204" pitchFamily="34" charset="0"/>
              <a:cs typeface="Times New Roman" panose="02020603050405020304" pitchFamily="18" charset="0"/>
            </a:rPr>
            <a:t>Herramientas de diseño de pruebas: </a:t>
          </a:r>
        </a:p>
        <a:p>
          <a:pPr>
            <a:buFont typeface="Wingdings" panose="05000000000000000000" pitchFamily="2" charset="2"/>
            <a:buChar char="§"/>
          </a:pPr>
          <a:r>
            <a:rPr lang="es-ES">
              <a:latin typeface="Calibri" panose="020F0502020204030204" pitchFamily="34" charset="0"/>
              <a:cs typeface="Times New Roman" panose="02020603050405020304" pitchFamily="18" charset="0"/>
            </a:rPr>
            <a:t>El uso de herramientas como los mapas mentales se ha hecho muy popular para diseñar y definir rápidamente las pruebas de una nueva prestación.</a:t>
          </a:r>
          <a:endParaRPr lang="es-ES"/>
        </a:p>
      </dgm:t>
    </dgm:pt>
    <dgm:pt modelId="{F32F286D-CFF6-4373-9EF6-1FFFCB1365C3}" type="parTrans" cxnId="{8D06AAD5-0D3D-46E1-A9E5-67C1140A3B9D}">
      <dgm:prSet/>
      <dgm:spPr/>
      <dgm:t>
        <a:bodyPr/>
        <a:lstStyle/>
        <a:p>
          <a:endParaRPr lang="es-ES"/>
        </a:p>
      </dgm:t>
    </dgm:pt>
    <dgm:pt modelId="{DCBCE714-FBAF-4DEF-BB78-9DC025625AD6}" type="sibTrans" cxnId="{8D06AAD5-0D3D-46E1-A9E5-67C1140A3B9D}">
      <dgm:prSet/>
      <dgm:spPr/>
      <dgm:t>
        <a:bodyPr/>
        <a:lstStyle/>
        <a:p>
          <a:endParaRPr lang="es-ES"/>
        </a:p>
      </dgm:t>
    </dgm:pt>
    <dgm:pt modelId="{D4AB0538-B4D4-402C-A3C7-B6618D8B9DDA}">
      <dgm:prSet/>
      <dgm:spPr/>
      <dgm:t>
        <a:bodyPr/>
        <a:lstStyle/>
        <a:p>
          <a:r>
            <a:rPr lang="es-ES" b="1">
              <a:latin typeface="Calibri" panose="020F0502020204030204" pitchFamily="34" charset="0"/>
              <a:cs typeface="Times New Roman" panose="02020603050405020304" pitchFamily="18" charset="0"/>
            </a:rPr>
            <a:t>Herramientas de gestión de casos de prueba: </a:t>
          </a:r>
        </a:p>
        <a:p>
          <a:r>
            <a:rPr lang="es-ES">
              <a:latin typeface="Calibri" panose="020F0502020204030204" pitchFamily="34" charset="0"/>
              <a:cs typeface="Times New Roman" panose="02020603050405020304" pitchFamily="18" charset="0"/>
            </a:rPr>
            <a:t>El tipo de herramientas de gestión de casos de prueba utilizadas en un entorno ágil pueden formar parte de la gestión del ciclo de vida de la aplicación</a:t>
          </a:r>
        </a:p>
      </dgm:t>
    </dgm:pt>
    <dgm:pt modelId="{AB5DC947-670B-4557-B654-908B493822E3}" type="parTrans" cxnId="{C1739D40-8F45-47C0-801F-B8658EB0E78B}">
      <dgm:prSet/>
      <dgm:spPr/>
      <dgm:t>
        <a:bodyPr/>
        <a:lstStyle/>
        <a:p>
          <a:endParaRPr lang="es-ES"/>
        </a:p>
      </dgm:t>
    </dgm:pt>
    <dgm:pt modelId="{FCA29523-EDB0-4303-B32F-24B739D6BA47}" type="sibTrans" cxnId="{C1739D40-8F45-47C0-801F-B8658EB0E78B}">
      <dgm:prSet/>
      <dgm:spPr/>
      <dgm:t>
        <a:bodyPr/>
        <a:lstStyle/>
        <a:p>
          <a:endParaRPr lang="es-ES"/>
        </a:p>
      </dgm:t>
    </dgm:pt>
    <dgm:pt modelId="{B975330C-6F5A-4888-BD30-5DE066E4F87E}">
      <dgm:prSet/>
      <dgm:spPr/>
      <dgm:t>
        <a:bodyPr/>
        <a:lstStyle/>
        <a:p>
          <a:r>
            <a:rPr lang="es-ES" b="1">
              <a:latin typeface="Calibri" panose="020F0502020204030204" pitchFamily="34" charset="0"/>
              <a:cs typeface="Times New Roman" panose="02020603050405020304" pitchFamily="18" charset="0"/>
            </a:rPr>
            <a:t>Herramientas de preparación y generación de datos de prueba:</a:t>
          </a:r>
        </a:p>
        <a:p>
          <a:r>
            <a:rPr lang="es-ES" b="1">
              <a:latin typeface="Calibri" panose="020F0502020204030204" pitchFamily="34" charset="0"/>
              <a:cs typeface="Times New Roman" panose="02020603050405020304" pitchFamily="18" charset="0"/>
            </a:rPr>
            <a:t> </a:t>
          </a:r>
          <a:r>
            <a:rPr lang="es-ES">
              <a:latin typeface="Calibri" panose="020F0502020204030204" pitchFamily="34" charset="0"/>
              <a:cs typeface="Times New Roman" panose="02020603050405020304" pitchFamily="18" charset="0"/>
            </a:rPr>
            <a:t>Las herramientas que generan datos para poblar la base de datos de una aplicación son muy beneficiosas cuando se necesitan muchos datos</a:t>
          </a:r>
        </a:p>
      </dgm:t>
    </dgm:pt>
    <dgm:pt modelId="{6F252294-25E9-4076-8C0C-BC448BAEE39F}" type="parTrans" cxnId="{A1F64954-8333-4D3B-9898-C25CF1D0D9E0}">
      <dgm:prSet/>
      <dgm:spPr/>
      <dgm:t>
        <a:bodyPr/>
        <a:lstStyle/>
        <a:p>
          <a:endParaRPr lang="es-ES"/>
        </a:p>
      </dgm:t>
    </dgm:pt>
    <dgm:pt modelId="{744D7F0F-37B9-4653-9D34-6AE79CD9BDE3}" type="sibTrans" cxnId="{A1F64954-8333-4D3B-9898-C25CF1D0D9E0}">
      <dgm:prSet/>
      <dgm:spPr/>
      <dgm:t>
        <a:bodyPr/>
        <a:lstStyle/>
        <a:p>
          <a:endParaRPr lang="es-ES"/>
        </a:p>
      </dgm:t>
    </dgm:pt>
    <dgm:pt modelId="{5C88F611-44AA-4366-B03D-3FA6FFE906AE}">
      <dgm:prSet/>
      <dgm:spPr/>
      <dgm:t>
        <a:bodyPr/>
        <a:lstStyle/>
        <a:p>
          <a:r>
            <a:rPr lang="es-ES" b="1">
              <a:latin typeface="Calibri" panose="020F0502020204030204" pitchFamily="34" charset="0"/>
              <a:cs typeface="Times New Roman" panose="02020603050405020304" pitchFamily="18" charset="0"/>
            </a:rPr>
            <a:t>Herramientas de carga de datos de prueba: </a:t>
          </a:r>
        </a:p>
        <a:p>
          <a:r>
            <a:rPr lang="es-ES">
              <a:latin typeface="Calibri" panose="020F0502020204030204" pitchFamily="34" charset="0"/>
              <a:cs typeface="Times New Roman" panose="02020603050405020304" pitchFamily="18" charset="0"/>
            </a:rPr>
            <a:t>Una vez generados los datos para las pruebas, hay que cargarlos en la aplicación. La introducción manual de datos suele requerir mucho tiempo y es propensa a errores</a:t>
          </a:r>
        </a:p>
      </dgm:t>
    </dgm:pt>
    <dgm:pt modelId="{A8970766-F07C-4AA4-B062-DC78C61BF3CC}" type="parTrans" cxnId="{6CE01F25-EA3A-44C1-BC7F-AE189C47E580}">
      <dgm:prSet/>
      <dgm:spPr/>
      <dgm:t>
        <a:bodyPr/>
        <a:lstStyle/>
        <a:p>
          <a:endParaRPr lang="es-ES"/>
        </a:p>
      </dgm:t>
    </dgm:pt>
    <dgm:pt modelId="{06A95BD9-6115-4500-835A-6B23F95567D4}" type="sibTrans" cxnId="{6CE01F25-EA3A-44C1-BC7F-AE189C47E580}">
      <dgm:prSet/>
      <dgm:spPr/>
      <dgm:t>
        <a:bodyPr/>
        <a:lstStyle/>
        <a:p>
          <a:endParaRPr lang="es-ES"/>
        </a:p>
      </dgm:t>
    </dgm:pt>
    <dgm:pt modelId="{85E7E9C0-9342-47CE-B4B0-3A08597424FC}">
      <dgm:prSet/>
      <dgm:spPr/>
      <dgm:t>
        <a:bodyPr/>
        <a:lstStyle/>
        <a:p>
          <a:r>
            <a:rPr lang="es-ES" b="1">
              <a:latin typeface="Calibri" panose="020F0502020204030204" pitchFamily="34" charset="0"/>
              <a:cs typeface="Times New Roman" panose="02020603050405020304" pitchFamily="18" charset="0"/>
            </a:rPr>
            <a:t>Herramientas de ejecución de pruebas automatizadas:</a:t>
          </a:r>
          <a:r>
            <a:rPr lang="es-ES">
              <a:latin typeface="Calibri" panose="020F0502020204030204" pitchFamily="34" charset="0"/>
              <a:cs typeface="Times New Roman" panose="02020603050405020304" pitchFamily="18" charset="0"/>
            </a:rPr>
            <a:t> </a:t>
          </a:r>
        </a:p>
        <a:p>
          <a:r>
            <a:rPr lang="es-ES">
              <a:latin typeface="Calibri" panose="020F0502020204030204" pitchFamily="34" charset="0"/>
              <a:cs typeface="Times New Roman" panose="02020603050405020304" pitchFamily="18" charset="0"/>
            </a:rPr>
            <a:t>Existen herramientas de ejecución de prueba que están más alineadas con las pruebas ágiles. </a:t>
          </a:r>
        </a:p>
      </dgm:t>
    </dgm:pt>
    <dgm:pt modelId="{FA9CA521-DE61-4C91-B877-392A49D3AA9D}" type="parTrans" cxnId="{02E627F9-2A71-4E18-933C-EF83159C95A3}">
      <dgm:prSet/>
      <dgm:spPr/>
      <dgm:t>
        <a:bodyPr/>
        <a:lstStyle/>
        <a:p>
          <a:endParaRPr lang="es-ES"/>
        </a:p>
      </dgm:t>
    </dgm:pt>
    <dgm:pt modelId="{EEDA50A3-3192-461F-95AE-B95DB47A7218}" type="sibTrans" cxnId="{02E627F9-2A71-4E18-933C-EF83159C95A3}">
      <dgm:prSet/>
      <dgm:spPr/>
      <dgm:t>
        <a:bodyPr/>
        <a:lstStyle/>
        <a:p>
          <a:endParaRPr lang="es-ES"/>
        </a:p>
      </dgm:t>
    </dgm:pt>
    <dgm:pt modelId="{A711A04E-E44D-4654-B48D-19816A69BCD5}">
      <dgm:prSet/>
      <dgm:spPr/>
      <dgm:t>
        <a:bodyPr/>
        <a:lstStyle/>
        <a:p>
          <a:r>
            <a:rPr lang="es-ES" b="1">
              <a:latin typeface="Calibri" panose="020F0502020204030204" pitchFamily="34" charset="0"/>
              <a:cs typeface="Times New Roman" panose="02020603050405020304" pitchFamily="18" charset="0"/>
            </a:rPr>
            <a:t>Herramientas de prueba exploratoria: </a:t>
          </a:r>
        </a:p>
        <a:p>
          <a:r>
            <a:rPr lang="es-ES">
              <a:latin typeface="Calibri" panose="020F0502020204030204" pitchFamily="34" charset="0"/>
              <a:cs typeface="Times New Roman" panose="02020603050405020304" pitchFamily="18" charset="0"/>
            </a:rPr>
            <a:t>Las herramientas que capturan y registran las actividades realizadas en una aplicación durante una sesión de prueba exploratoria</a:t>
          </a:r>
        </a:p>
      </dgm:t>
    </dgm:pt>
    <dgm:pt modelId="{294A5F93-1D3F-45E7-AFE4-17E443D7FC34}" type="parTrans" cxnId="{B7C8F1CC-42B5-4AF9-B848-2AF0710CDDFF}">
      <dgm:prSet/>
      <dgm:spPr/>
      <dgm:t>
        <a:bodyPr/>
        <a:lstStyle/>
        <a:p>
          <a:endParaRPr lang="es-ES"/>
        </a:p>
      </dgm:t>
    </dgm:pt>
    <dgm:pt modelId="{736AB0F7-35F6-4E1D-AAA0-35DF9AB9E302}" type="sibTrans" cxnId="{B7C8F1CC-42B5-4AF9-B848-2AF0710CDDFF}">
      <dgm:prSet/>
      <dgm:spPr/>
      <dgm:t>
        <a:bodyPr/>
        <a:lstStyle/>
        <a:p>
          <a:endParaRPr lang="es-ES"/>
        </a:p>
      </dgm:t>
    </dgm:pt>
    <dgm:pt modelId="{604D9E7B-BE28-4F0E-9418-A62D0C4887FA}" type="pres">
      <dgm:prSet presAssocID="{4E14294B-A6F3-4B6C-9A15-7D4B9477A0A4}" presName="Name0" presStyleCnt="0">
        <dgm:presLayoutVars>
          <dgm:chMax val="7"/>
          <dgm:dir/>
          <dgm:resizeHandles val="exact"/>
        </dgm:presLayoutVars>
      </dgm:prSet>
      <dgm:spPr/>
    </dgm:pt>
    <dgm:pt modelId="{3248FB4A-798A-4480-A6CD-A2C9ED591A1F}" type="pres">
      <dgm:prSet presAssocID="{4E14294B-A6F3-4B6C-9A15-7D4B9477A0A4}" presName="ellipse1" presStyleLbl="vennNode1" presStyleIdx="0" presStyleCnt="6">
        <dgm:presLayoutVars>
          <dgm:bulletEnabled val="1"/>
        </dgm:presLayoutVars>
      </dgm:prSet>
      <dgm:spPr/>
    </dgm:pt>
    <dgm:pt modelId="{A097EA24-8693-4452-B2F9-498B520FAAFC}" type="pres">
      <dgm:prSet presAssocID="{4E14294B-A6F3-4B6C-9A15-7D4B9477A0A4}" presName="ellipse2" presStyleLbl="vennNode1" presStyleIdx="1" presStyleCnt="6">
        <dgm:presLayoutVars>
          <dgm:bulletEnabled val="1"/>
        </dgm:presLayoutVars>
      </dgm:prSet>
      <dgm:spPr/>
    </dgm:pt>
    <dgm:pt modelId="{00D90A00-AA9F-42E4-B0A4-494B01552FEA}" type="pres">
      <dgm:prSet presAssocID="{4E14294B-A6F3-4B6C-9A15-7D4B9477A0A4}" presName="ellipse3" presStyleLbl="vennNode1" presStyleIdx="2" presStyleCnt="6">
        <dgm:presLayoutVars>
          <dgm:bulletEnabled val="1"/>
        </dgm:presLayoutVars>
      </dgm:prSet>
      <dgm:spPr/>
    </dgm:pt>
    <dgm:pt modelId="{37E84254-24B2-4CAC-A03E-C70B184E92CE}" type="pres">
      <dgm:prSet presAssocID="{4E14294B-A6F3-4B6C-9A15-7D4B9477A0A4}" presName="ellipse4" presStyleLbl="vennNode1" presStyleIdx="3" presStyleCnt="6">
        <dgm:presLayoutVars>
          <dgm:bulletEnabled val="1"/>
        </dgm:presLayoutVars>
      </dgm:prSet>
      <dgm:spPr/>
    </dgm:pt>
    <dgm:pt modelId="{C512A1C5-AEEF-43DE-9893-00720612B30D}" type="pres">
      <dgm:prSet presAssocID="{4E14294B-A6F3-4B6C-9A15-7D4B9477A0A4}" presName="ellipse5" presStyleLbl="vennNode1" presStyleIdx="4" presStyleCnt="6">
        <dgm:presLayoutVars>
          <dgm:bulletEnabled val="1"/>
        </dgm:presLayoutVars>
      </dgm:prSet>
      <dgm:spPr/>
    </dgm:pt>
    <dgm:pt modelId="{8067F893-7CC3-4E12-8142-04344F8C7560}" type="pres">
      <dgm:prSet presAssocID="{4E14294B-A6F3-4B6C-9A15-7D4B9477A0A4}" presName="ellipse6" presStyleLbl="vennNode1" presStyleIdx="5" presStyleCnt="6">
        <dgm:presLayoutVars>
          <dgm:bulletEnabled val="1"/>
        </dgm:presLayoutVars>
      </dgm:prSet>
      <dgm:spPr/>
    </dgm:pt>
  </dgm:ptLst>
  <dgm:cxnLst>
    <dgm:cxn modelId="{68B3B524-FBC0-4DC2-9E66-67DFC08EAB2C}" type="presOf" srcId="{5C88F611-44AA-4366-B03D-3FA6FFE906AE}" destId="{37E84254-24B2-4CAC-A03E-C70B184E92CE}" srcOrd="0" destOrd="0" presId="urn:microsoft.com/office/officeart/2005/8/layout/rings+Icon"/>
    <dgm:cxn modelId="{6CE01F25-EA3A-44C1-BC7F-AE189C47E580}" srcId="{4E14294B-A6F3-4B6C-9A15-7D4B9477A0A4}" destId="{5C88F611-44AA-4366-B03D-3FA6FFE906AE}" srcOrd="3" destOrd="0" parTransId="{A8970766-F07C-4AA4-B062-DC78C61BF3CC}" sibTransId="{06A95BD9-6115-4500-835A-6B23F95567D4}"/>
    <dgm:cxn modelId="{CA78453E-B44F-4AD0-B2A8-122C33360B95}" type="presOf" srcId="{85E7E9C0-9342-47CE-B4B0-3A08597424FC}" destId="{C512A1C5-AEEF-43DE-9893-00720612B30D}" srcOrd="0" destOrd="0" presId="urn:microsoft.com/office/officeart/2005/8/layout/rings+Icon"/>
    <dgm:cxn modelId="{C1739D40-8F45-47C0-801F-B8658EB0E78B}" srcId="{4E14294B-A6F3-4B6C-9A15-7D4B9477A0A4}" destId="{D4AB0538-B4D4-402C-A3C7-B6618D8B9DDA}" srcOrd="1" destOrd="0" parTransId="{AB5DC947-670B-4557-B654-908B493822E3}" sibTransId="{FCA29523-EDB0-4303-B32F-24B739D6BA47}"/>
    <dgm:cxn modelId="{6EC6D542-A272-4CC4-81DD-5ABFC3918B30}" type="presOf" srcId="{B975330C-6F5A-4888-BD30-5DE066E4F87E}" destId="{00D90A00-AA9F-42E4-B0A4-494B01552FEA}" srcOrd="0" destOrd="0" presId="urn:microsoft.com/office/officeart/2005/8/layout/rings+Icon"/>
    <dgm:cxn modelId="{F8DC7145-4552-4466-8B3C-69F7D1E69E63}" type="presOf" srcId="{A711A04E-E44D-4654-B48D-19816A69BCD5}" destId="{8067F893-7CC3-4E12-8142-04344F8C7560}" srcOrd="0" destOrd="0" presId="urn:microsoft.com/office/officeart/2005/8/layout/rings+Icon"/>
    <dgm:cxn modelId="{A1F64954-8333-4D3B-9898-C25CF1D0D9E0}" srcId="{4E14294B-A6F3-4B6C-9A15-7D4B9477A0A4}" destId="{B975330C-6F5A-4888-BD30-5DE066E4F87E}" srcOrd="2" destOrd="0" parTransId="{6F252294-25E9-4076-8C0C-BC448BAEE39F}" sibTransId="{744D7F0F-37B9-4653-9D34-6AE79CD9BDE3}"/>
    <dgm:cxn modelId="{28C21978-D787-4214-89F2-14DB6895EB81}" type="presOf" srcId="{D0A366D5-227D-446C-8621-0F47C604F4D0}" destId="{3248FB4A-798A-4480-A6CD-A2C9ED591A1F}" srcOrd="0" destOrd="0" presId="urn:microsoft.com/office/officeart/2005/8/layout/rings+Icon"/>
    <dgm:cxn modelId="{D9C5F48F-7EBA-4B5C-ACF5-8F72729D8C2E}" type="presOf" srcId="{D4AB0538-B4D4-402C-A3C7-B6618D8B9DDA}" destId="{A097EA24-8693-4452-B2F9-498B520FAAFC}" srcOrd="0" destOrd="0" presId="urn:microsoft.com/office/officeart/2005/8/layout/rings+Icon"/>
    <dgm:cxn modelId="{B7C8F1CC-42B5-4AF9-B848-2AF0710CDDFF}" srcId="{4E14294B-A6F3-4B6C-9A15-7D4B9477A0A4}" destId="{A711A04E-E44D-4654-B48D-19816A69BCD5}" srcOrd="5" destOrd="0" parTransId="{294A5F93-1D3F-45E7-AFE4-17E443D7FC34}" sibTransId="{736AB0F7-35F6-4E1D-AAA0-35DF9AB9E302}"/>
    <dgm:cxn modelId="{8D06AAD5-0D3D-46E1-A9E5-67C1140A3B9D}" srcId="{4E14294B-A6F3-4B6C-9A15-7D4B9477A0A4}" destId="{D0A366D5-227D-446C-8621-0F47C604F4D0}" srcOrd="0" destOrd="0" parTransId="{F32F286D-CFF6-4373-9EF6-1FFFCB1365C3}" sibTransId="{DCBCE714-FBAF-4DEF-BB78-9DC025625AD6}"/>
    <dgm:cxn modelId="{02E627F9-2A71-4E18-933C-EF83159C95A3}" srcId="{4E14294B-A6F3-4B6C-9A15-7D4B9477A0A4}" destId="{85E7E9C0-9342-47CE-B4B0-3A08597424FC}" srcOrd="4" destOrd="0" parTransId="{FA9CA521-DE61-4C91-B877-392A49D3AA9D}" sibTransId="{EEDA50A3-3192-461F-95AE-B95DB47A7218}"/>
    <dgm:cxn modelId="{CA381FFC-E6DC-4976-8FD9-B6F40370A704}" type="presOf" srcId="{4E14294B-A6F3-4B6C-9A15-7D4B9477A0A4}" destId="{604D9E7B-BE28-4F0E-9418-A62D0C4887FA}" srcOrd="0" destOrd="0" presId="urn:microsoft.com/office/officeart/2005/8/layout/rings+Icon"/>
    <dgm:cxn modelId="{500544F1-6F58-42F9-91CA-DB53F2E3D9F1}" type="presParOf" srcId="{604D9E7B-BE28-4F0E-9418-A62D0C4887FA}" destId="{3248FB4A-798A-4480-A6CD-A2C9ED591A1F}" srcOrd="0" destOrd="0" presId="urn:microsoft.com/office/officeart/2005/8/layout/rings+Icon"/>
    <dgm:cxn modelId="{FCA06E46-B9BD-4129-8730-C6AE24E2EC27}" type="presParOf" srcId="{604D9E7B-BE28-4F0E-9418-A62D0C4887FA}" destId="{A097EA24-8693-4452-B2F9-498B520FAAFC}" srcOrd="1" destOrd="0" presId="urn:microsoft.com/office/officeart/2005/8/layout/rings+Icon"/>
    <dgm:cxn modelId="{2A93D22C-D405-49E5-9C47-7EC688B8A9B8}" type="presParOf" srcId="{604D9E7B-BE28-4F0E-9418-A62D0C4887FA}" destId="{00D90A00-AA9F-42E4-B0A4-494B01552FEA}" srcOrd="2" destOrd="0" presId="urn:microsoft.com/office/officeart/2005/8/layout/rings+Icon"/>
    <dgm:cxn modelId="{6623DB1C-E775-4855-A715-3193A77FC305}" type="presParOf" srcId="{604D9E7B-BE28-4F0E-9418-A62D0C4887FA}" destId="{37E84254-24B2-4CAC-A03E-C70B184E92CE}" srcOrd="3" destOrd="0" presId="urn:microsoft.com/office/officeart/2005/8/layout/rings+Icon"/>
    <dgm:cxn modelId="{167E3CE6-E19D-4885-A1F4-0D427143FA28}" type="presParOf" srcId="{604D9E7B-BE28-4F0E-9418-A62D0C4887FA}" destId="{C512A1C5-AEEF-43DE-9893-00720612B30D}" srcOrd="4" destOrd="0" presId="urn:microsoft.com/office/officeart/2005/8/layout/rings+Icon"/>
    <dgm:cxn modelId="{0DB27F6B-0603-4CB8-AA22-111BAA96703C}" type="presParOf" srcId="{604D9E7B-BE28-4F0E-9418-A62D0C4887FA}" destId="{8067F893-7CC3-4E12-8142-04344F8C7560}" srcOrd="5" destOrd="0" presId="urn:microsoft.com/office/officeart/2005/8/layout/rings+Icon"/>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A2BE904-79FB-424A-9123-3F5CE7881657}"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s-ES"/>
        </a:p>
      </dgm:t>
    </dgm:pt>
    <dgm:pt modelId="{82FE5818-D243-4E9F-BC7C-5E473AB25011}">
      <dgm:prSet phldrT="[Text]" custT="1"/>
      <dgm:spPr>
        <a:solidFill>
          <a:srgbClr val="046A38"/>
        </a:solidFill>
      </dgm:spPr>
      <dgm:t>
        <a:bodyPr/>
        <a:lstStyle/>
        <a:p>
          <a:r>
            <a:rPr lang="es-ES_tradnl" sz="2000"/>
            <a:t>Enfoques</a:t>
          </a:r>
          <a:endParaRPr lang="es-ES" sz="2000"/>
        </a:p>
      </dgm:t>
    </dgm:pt>
    <dgm:pt modelId="{00C5AC34-FBD6-44AD-BC8A-59B9A0B57762}" type="parTrans" cxnId="{6333E530-68E6-461F-9F17-341778A51E6C}">
      <dgm:prSet/>
      <dgm:spPr/>
      <dgm:t>
        <a:bodyPr/>
        <a:lstStyle/>
        <a:p>
          <a:endParaRPr lang="es-ES"/>
        </a:p>
      </dgm:t>
    </dgm:pt>
    <dgm:pt modelId="{71C1C3F2-2B3F-4498-AA75-EB08BD16EF53}" type="sibTrans" cxnId="{6333E530-68E6-461F-9F17-341778A51E6C}">
      <dgm:prSet/>
      <dgm:spPr/>
      <dgm:t>
        <a:bodyPr/>
        <a:lstStyle/>
        <a:p>
          <a:endParaRPr lang="es-ES"/>
        </a:p>
      </dgm:t>
    </dgm:pt>
    <dgm:pt modelId="{31D07BD1-1253-4207-A86D-42F1C7F7A11C}">
      <dgm:prSet phldrT="[Text]"/>
      <dgm:spPr>
        <a:solidFill>
          <a:schemeClr val="bg1"/>
        </a:solidFill>
        <a:ln>
          <a:solidFill>
            <a:srgbClr val="046A38"/>
          </a:solidFill>
        </a:ln>
      </dgm:spPr>
      <dgm:t>
        <a:bodyPr/>
        <a:lstStyle/>
        <a:p>
          <a:r>
            <a:rPr lang="es-ES_tradnl">
              <a:solidFill>
                <a:schemeClr val="tx1"/>
              </a:solidFill>
            </a:rPr>
            <a:t>Programación Extrema (XP)</a:t>
          </a:r>
          <a:endParaRPr lang="es-ES">
            <a:solidFill>
              <a:schemeClr val="tx1"/>
            </a:solidFill>
          </a:endParaRPr>
        </a:p>
      </dgm:t>
    </dgm:pt>
    <dgm:pt modelId="{13F9F822-2964-4102-ACA7-E674AA32092D}" type="parTrans" cxnId="{26FBA074-4A14-4AD0-96AD-719425915C15}">
      <dgm:prSet/>
      <dgm:spPr>
        <a:ln>
          <a:solidFill>
            <a:srgbClr val="046A38"/>
          </a:solidFill>
        </a:ln>
      </dgm:spPr>
      <dgm:t>
        <a:bodyPr/>
        <a:lstStyle/>
        <a:p>
          <a:endParaRPr lang="es-ES"/>
        </a:p>
      </dgm:t>
    </dgm:pt>
    <dgm:pt modelId="{76AEE597-F221-4322-ABDA-9FE4D2388881}" type="sibTrans" cxnId="{26FBA074-4A14-4AD0-96AD-719425915C15}">
      <dgm:prSet/>
      <dgm:spPr/>
      <dgm:t>
        <a:bodyPr/>
        <a:lstStyle/>
        <a:p>
          <a:endParaRPr lang="es-ES"/>
        </a:p>
      </dgm:t>
    </dgm:pt>
    <dgm:pt modelId="{CF32134D-B287-4BA9-BCA7-1DD2AE5CF937}">
      <dgm:prSet phldrT="[Text]"/>
      <dgm:spPr>
        <a:solidFill>
          <a:schemeClr val="bg1"/>
        </a:solidFill>
        <a:ln>
          <a:solidFill>
            <a:srgbClr val="046A38"/>
          </a:solidFill>
        </a:ln>
      </dgm:spPr>
      <dgm:t>
        <a:bodyPr/>
        <a:lstStyle/>
        <a:p>
          <a:r>
            <a:rPr lang="es-ES_tradnl">
              <a:solidFill>
                <a:schemeClr val="tx1"/>
              </a:solidFill>
            </a:rPr>
            <a:t>Scrum</a:t>
          </a:r>
          <a:endParaRPr lang="es-ES">
            <a:solidFill>
              <a:schemeClr val="tx1"/>
            </a:solidFill>
          </a:endParaRPr>
        </a:p>
      </dgm:t>
    </dgm:pt>
    <dgm:pt modelId="{558AEE9E-ABFB-4824-AC5A-012226B968FD}" type="parTrans" cxnId="{47452FF5-FA65-4AB0-90CF-26CB6C36F313}">
      <dgm:prSet/>
      <dgm:spPr>
        <a:ln>
          <a:solidFill>
            <a:srgbClr val="046A38"/>
          </a:solidFill>
        </a:ln>
      </dgm:spPr>
      <dgm:t>
        <a:bodyPr/>
        <a:lstStyle/>
        <a:p>
          <a:endParaRPr lang="es-ES"/>
        </a:p>
      </dgm:t>
    </dgm:pt>
    <dgm:pt modelId="{B1BC015A-A044-488D-96AD-9CF72610F641}" type="sibTrans" cxnId="{47452FF5-FA65-4AB0-90CF-26CB6C36F313}">
      <dgm:prSet/>
      <dgm:spPr/>
      <dgm:t>
        <a:bodyPr/>
        <a:lstStyle/>
        <a:p>
          <a:endParaRPr lang="es-ES"/>
        </a:p>
      </dgm:t>
    </dgm:pt>
    <dgm:pt modelId="{C075A050-EAC1-45F3-BF3D-C06850E970BD}">
      <dgm:prSet phldrT="[Text]"/>
      <dgm:spPr>
        <a:solidFill>
          <a:schemeClr val="bg1"/>
        </a:solidFill>
        <a:ln>
          <a:solidFill>
            <a:srgbClr val="046A38"/>
          </a:solidFill>
        </a:ln>
      </dgm:spPr>
      <dgm:t>
        <a:bodyPr/>
        <a:lstStyle/>
        <a:p>
          <a:r>
            <a:rPr lang="es-ES_tradnl">
              <a:solidFill>
                <a:schemeClr val="tx1"/>
              </a:solidFill>
            </a:rPr>
            <a:t>Kanban</a:t>
          </a:r>
          <a:endParaRPr lang="es-ES">
            <a:solidFill>
              <a:schemeClr val="tx1"/>
            </a:solidFill>
          </a:endParaRPr>
        </a:p>
      </dgm:t>
    </dgm:pt>
    <dgm:pt modelId="{73AF58D7-CB5C-4880-9AB3-8A07FDDB649C}" type="parTrans" cxnId="{F72ABC6B-B3F7-41DD-A402-CA7FD225C31A}">
      <dgm:prSet/>
      <dgm:spPr>
        <a:ln>
          <a:solidFill>
            <a:srgbClr val="046A38"/>
          </a:solidFill>
        </a:ln>
      </dgm:spPr>
      <dgm:t>
        <a:bodyPr/>
        <a:lstStyle/>
        <a:p>
          <a:endParaRPr lang="es-ES"/>
        </a:p>
      </dgm:t>
    </dgm:pt>
    <dgm:pt modelId="{F8470294-4237-4508-B80F-CF4B2C54993D}" type="sibTrans" cxnId="{F72ABC6B-B3F7-41DD-A402-CA7FD225C31A}">
      <dgm:prSet/>
      <dgm:spPr/>
      <dgm:t>
        <a:bodyPr/>
        <a:lstStyle/>
        <a:p>
          <a:endParaRPr lang="es-ES"/>
        </a:p>
      </dgm:t>
    </dgm:pt>
    <dgm:pt modelId="{C6967490-6CC7-4E64-B025-69BC0E2E59A6}" type="pres">
      <dgm:prSet presAssocID="{AA2BE904-79FB-424A-9123-3F5CE7881657}" presName="Name0" presStyleCnt="0">
        <dgm:presLayoutVars>
          <dgm:chPref val="1"/>
          <dgm:dir/>
          <dgm:animOne val="branch"/>
          <dgm:animLvl val="lvl"/>
          <dgm:resizeHandles val="exact"/>
        </dgm:presLayoutVars>
      </dgm:prSet>
      <dgm:spPr/>
    </dgm:pt>
    <dgm:pt modelId="{0C91EFAD-714B-4A58-8FFF-1ECC1B29A776}" type="pres">
      <dgm:prSet presAssocID="{82FE5818-D243-4E9F-BC7C-5E473AB25011}" presName="root1" presStyleCnt="0"/>
      <dgm:spPr/>
    </dgm:pt>
    <dgm:pt modelId="{0ED914D7-9AC6-4CCC-8895-D8E72C5CE468}" type="pres">
      <dgm:prSet presAssocID="{82FE5818-D243-4E9F-BC7C-5E473AB25011}" presName="LevelOneTextNode" presStyleLbl="node0" presStyleIdx="0" presStyleCnt="1">
        <dgm:presLayoutVars>
          <dgm:chPref val="3"/>
        </dgm:presLayoutVars>
      </dgm:prSet>
      <dgm:spPr/>
    </dgm:pt>
    <dgm:pt modelId="{51B70837-C934-4CD9-91D4-9AC87ABDA209}" type="pres">
      <dgm:prSet presAssocID="{82FE5818-D243-4E9F-BC7C-5E473AB25011}" presName="level2hierChild" presStyleCnt="0"/>
      <dgm:spPr/>
    </dgm:pt>
    <dgm:pt modelId="{729DC21F-AA4B-47D7-B329-5F2403E5C534}" type="pres">
      <dgm:prSet presAssocID="{13F9F822-2964-4102-ACA7-E674AA32092D}" presName="conn2-1" presStyleLbl="parChTrans1D2" presStyleIdx="0" presStyleCnt="3"/>
      <dgm:spPr/>
    </dgm:pt>
    <dgm:pt modelId="{508CE1F4-5C6C-4454-9D64-2FA1C8E8AA03}" type="pres">
      <dgm:prSet presAssocID="{13F9F822-2964-4102-ACA7-E674AA32092D}" presName="connTx" presStyleLbl="parChTrans1D2" presStyleIdx="0" presStyleCnt="3"/>
      <dgm:spPr/>
    </dgm:pt>
    <dgm:pt modelId="{5396AC7E-EFE0-4068-819E-DD2ADE91A21F}" type="pres">
      <dgm:prSet presAssocID="{31D07BD1-1253-4207-A86D-42F1C7F7A11C}" presName="root2" presStyleCnt="0"/>
      <dgm:spPr/>
    </dgm:pt>
    <dgm:pt modelId="{32800216-86AA-444F-BB95-2292A44D5E89}" type="pres">
      <dgm:prSet presAssocID="{31D07BD1-1253-4207-A86D-42F1C7F7A11C}" presName="LevelTwoTextNode" presStyleLbl="node2" presStyleIdx="0" presStyleCnt="3" custScaleX="210559">
        <dgm:presLayoutVars>
          <dgm:chPref val="3"/>
        </dgm:presLayoutVars>
      </dgm:prSet>
      <dgm:spPr/>
    </dgm:pt>
    <dgm:pt modelId="{6D111382-9D73-4B9E-8C21-08266928F63D}" type="pres">
      <dgm:prSet presAssocID="{31D07BD1-1253-4207-A86D-42F1C7F7A11C}" presName="level3hierChild" presStyleCnt="0"/>
      <dgm:spPr/>
    </dgm:pt>
    <dgm:pt modelId="{7FE707B6-C351-4C39-B2B2-06CA4FB5A352}" type="pres">
      <dgm:prSet presAssocID="{558AEE9E-ABFB-4824-AC5A-012226B968FD}" presName="conn2-1" presStyleLbl="parChTrans1D2" presStyleIdx="1" presStyleCnt="3"/>
      <dgm:spPr/>
    </dgm:pt>
    <dgm:pt modelId="{D2267CCF-DF46-4D6D-9714-759E46057724}" type="pres">
      <dgm:prSet presAssocID="{558AEE9E-ABFB-4824-AC5A-012226B968FD}" presName="connTx" presStyleLbl="parChTrans1D2" presStyleIdx="1" presStyleCnt="3"/>
      <dgm:spPr/>
    </dgm:pt>
    <dgm:pt modelId="{868A82BB-0CE9-42BC-ADFA-78FA9D87E2AD}" type="pres">
      <dgm:prSet presAssocID="{CF32134D-B287-4BA9-BCA7-1DD2AE5CF937}" presName="root2" presStyleCnt="0"/>
      <dgm:spPr/>
    </dgm:pt>
    <dgm:pt modelId="{CEE0951A-E287-48FD-8B6C-AE5E7A92E250}" type="pres">
      <dgm:prSet presAssocID="{CF32134D-B287-4BA9-BCA7-1DD2AE5CF937}" presName="LevelTwoTextNode" presStyleLbl="node2" presStyleIdx="1" presStyleCnt="3" custScaleX="209714" custLinFactNeighborX="1519" custLinFactNeighborY="-1661">
        <dgm:presLayoutVars>
          <dgm:chPref val="3"/>
        </dgm:presLayoutVars>
      </dgm:prSet>
      <dgm:spPr/>
    </dgm:pt>
    <dgm:pt modelId="{D6AE1563-69FF-47C6-8753-DBF436506417}" type="pres">
      <dgm:prSet presAssocID="{CF32134D-B287-4BA9-BCA7-1DD2AE5CF937}" presName="level3hierChild" presStyleCnt="0"/>
      <dgm:spPr/>
    </dgm:pt>
    <dgm:pt modelId="{47828F08-8413-42DE-AEE0-43454EF08415}" type="pres">
      <dgm:prSet presAssocID="{73AF58D7-CB5C-4880-9AB3-8A07FDDB649C}" presName="conn2-1" presStyleLbl="parChTrans1D2" presStyleIdx="2" presStyleCnt="3"/>
      <dgm:spPr/>
    </dgm:pt>
    <dgm:pt modelId="{5F39EBA7-5D34-4BD8-86A2-5CB180A87BFC}" type="pres">
      <dgm:prSet presAssocID="{73AF58D7-CB5C-4880-9AB3-8A07FDDB649C}" presName="connTx" presStyleLbl="parChTrans1D2" presStyleIdx="2" presStyleCnt="3"/>
      <dgm:spPr/>
    </dgm:pt>
    <dgm:pt modelId="{97A5A6DB-0ADF-44DC-B7EC-40711AB35444}" type="pres">
      <dgm:prSet presAssocID="{C075A050-EAC1-45F3-BF3D-C06850E970BD}" presName="root2" presStyleCnt="0"/>
      <dgm:spPr/>
    </dgm:pt>
    <dgm:pt modelId="{A6F96EDB-9132-4408-8F2D-AAF419C7C5B8}" type="pres">
      <dgm:prSet presAssocID="{C075A050-EAC1-45F3-BF3D-C06850E970BD}" presName="LevelTwoTextNode" presStyleLbl="node2" presStyleIdx="2" presStyleCnt="3" custScaleX="211572">
        <dgm:presLayoutVars>
          <dgm:chPref val="3"/>
        </dgm:presLayoutVars>
      </dgm:prSet>
      <dgm:spPr/>
    </dgm:pt>
    <dgm:pt modelId="{E1E21D1D-02BA-485F-8486-3670FDE84E42}" type="pres">
      <dgm:prSet presAssocID="{C075A050-EAC1-45F3-BF3D-C06850E970BD}" presName="level3hierChild" presStyleCnt="0"/>
      <dgm:spPr/>
    </dgm:pt>
  </dgm:ptLst>
  <dgm:cxnLst>
    <dgm:cxn modelId="{41161A29-7B08-463B-B57C-B74D5ABAAD31}" type="presOf" srcId="{558AEE9E-ABFB-4824-AC5A-012226B968FD}" destId="{D2267CCF-DF46-4D6D-9714-759E46057724}" srcOrd="1" destOrd="0" presId="urn:microsoft.com/office/officeart/2008/layout/HorizontalMultiLevelHierarchy"/>
    <dgm:cxn modelId="{6333E530-68E6-461F-9F17-341778A51E6C}" srcId="{AA2BE904-79FB-424A-9123-3F5CE7881657}" destId="{82FE5818-D243-4E9F-BC7C-5E473AB25011}" srcOrd="0" destOrd="0" parTransId="{00C5AC34-FBD6-44AD-BC8A-59B9A0B57762}" sibTransId="{71C1C3F2-2B3F-4498-AA75-EB08BD16EF53}"/>
    <dgm:cxn modelId="{1964D03C-3702-4B58-82E4-D7D0A4B9E6C8}" type="presOf" srcId="{82FE5818-D243-4E9F-BC7C-5E473AB25011}" destId="{0ED914D7-9AC6-4CCC-8895-D8E72C5CE468}" srcOrd="0" destOrd="0" presId="urn:microsoft.com/office/officeart/2008/layout/HorizontalMultiLevelHierarchy"/>
    <dgm:cxn modelId="{13212560-A2F6-4D76-A058-F1C026976CAF}" type="presOf" srcId="{CF32134D-B287-4BA9-BCA7-1DD2AE5CF937}" destId="{CEE0951A-E287-48FD-8B6C-AE5E7A92E250}" srcOrd="0" destOrd="0" presId="urn:microsoft.com/office/officeart/2008/layout/HorizontalMultiLevelHierarchy"/>
    <dgm:cxn modelId="{08EF304B-BEAE-4426-A528-386BB9B09FF3}" type="presOf" srcId="{31D07BD1-1253-4207-A86D-42F1C7F7A11C}" destId="{32800216-86AA-444F-BB95-2292A44D5E89}" srcOrd="0" destOrd="0" presId="urn:microsoft.com/office/officeart/2008/layout/HorizontalMultiLevelHierarchy"/>
    <dgm:cxn modelId="{F72ABC6B-B3F7-41DD-A402-CA7FD225C31A}" srcId="{82FE5818-D243-4E9F-BC7C-5E473AB25011}" destId="{C075A050-EAC1-45F3-BF3D-C06850E970BD}" srcOrd="2" destOrd="0" parTransId="{73AF58D7-CB5C-4880-9AB3-8A07FDDB649C}" sibTransId="{F8470294-4237-4508-B80F-CF4B2C54993D}"/>
    <dgm:cxn modelId="{3E8E6A6C-C21F-4A31-86CD-20AB212AB6CF}" type="presOf" srcId="{73AF58D7-CB5C-4880-9AB3-8A07FDDB649C}" destId="{5F39EBA7-5D34-4BD8-86A2-5CB180A87BFC}" srcOrd="1" destOrd="0" presId="urn:microsoft.com/office/officeart/2008/layout/HorizontalMultiLevelHierarchy"/>
    <dgm:cxn modelId="{35FD5451-B0B7-4707-8205-FCB9E2982FF5}" type="presOf" srcId="{73AF58D7-CB5C-4880-9AB3-8A07FDDB649C}" destId="{47828F08-8413-42DE-AEE0-43454EF08415}" srcOrd="0" destOrd="0" presId="urn:microsoft.com/office/officeart/2008/layout/HorizontalMultiLevelHierarchy"/>
    <dgm:cxn modelId="{26FBA074-4A14-4AD0-96AD-719425915C15}" srcId="{82FE5818-D243-4E9F-BC7C-5E473AB25011}" destId="{31D07BD1-1253-4207-A86D-42F1C7F7A11C}" srcOrd="0" destOrd="0" parTransId="{13F9F822-2964-4102-ACA7-E674AA32092D}" sibTransId="{76AEE597-F221-4322-ABDA-9FE4D2388881}"/>
    <dgm:cxn modelId="{2B060559-7959-4D6E-A467-01F9B532ABC5}" type="presOf" srcId="{558AEE9E-ABFB-4824-AC5A-012226B968FD}" destId="{7FE707B6-C351-4C39-B2B2-06CA4FB5A352}" srcOrd="0" destOrd="0" presId="urn:microsoft.com/office/officeart/2008/layout/HorizontalMultiLevelHierarchy"/>
    <dgm:cxn modelId="{BC044690-945A-4626-AF10-9B674279EFE5}" type="presOf" srcId="{13F9F822-2964-4102-ACA7-E674AA32092D}" destId="{729DC21F-AA4B-47D7-B329-5F2403E5C534}" srcOrd="0" destOrd="0" presId="urn:microsoft.com/office/officeart/2008/layout/HorizontalMultiLevelHierarchy"/>
    <dgm:cxn modelId="{DF857BA0-6045-4C18-91E5-061EAA41BF20}" type="presOf" srcId="{13F9F822-2964-4102-ACA7-E674AA32092D}" destId="{508CE1F4-5C6C-4454-9D64-2FA1C8E8AA03}" srcOrd="1" destOrd="0" presId="urn:microsoft.com/office/officeart/2008/layout/HorizontalMultiLevelHierarchy"/>
    <dgm:cxn modelId="{4004ACB3-791C-4E87-A614-34CFCA9BF435}" type="presOf" srcId="{C075A050-EAC1-45F3-BF3D-C06850E970BD}" destId="{A6F96EDB-9132-4408-8F2D-AAF419C7C5B8}" srcOrd="0" destOrd="0" presId="urn:microsoft.com/office/officeart/2008/layout/HorizontalMultiLevelHierarchy"/>
    <dgm:cxn modelId="{47452FF5-FA65-4AB0-90CF-26CB6C36F313}" srcId="{82FE5818-D243-4E9F-BC7C-5E473AB25011}" destId="{CF32134D-B287-4BA9-BCA7-1DD2AE5CF937}" srcOrd="1" destOrd="0" parTransId="{558AEE9E-ABFB-4824-AC5A-012226B968FD}" sibTransId="{B1BC015A-A044-488D-96AD-9CF72610F641}"/>
    <dgm:cxn modelId="{9CC489F8-A663-4729-A5E1-2AA3AE6D98A3}" type="presOf" srcId="{AA2BE904-79FB-424A-9123-3F5CE7881657}" destId="{C6967490-6CC7-4E64-B025-69BC0E2E59A6}" srcOrd="0" destOrd="0" presId="urn:microsoft.com/office/officeart/2008/layout/HorizontalMultiLevelHierarchy"/>
    <dgm:cxn modelId="{AE629467-B042-4F45-AEE9-5AD49312005A}" type="presParOf" srcId="{C6967490-6CC7-4E64-B025-69BC0E2E59A6}" destId="{0C91EFAD-714B-4A58-8FFF-1ECC1B29A776}" srcOrd="0" destOrd="0" presId="urn:microsoft.com/office/officeart/2008/layout/HorizontalMultiLevelHierarchy"/>
    <dgm:cxn modelId="{B08E613B-D7AD-4A8E-9769-825E5421A80F}" type="presParOf" srcId="{0C91EFAD-714B-4A58-8FFF-1ECC1B29A776}" destId="{0ED914D7-9AC6-4CCC-8895-D8E72C5CE468}" srcOrd="0" destOrd="0" presId="urn:microsoft.com/office/officeart/2008/layout/HorizontalMultiLevelHierarchy"/>
    <dgm:cxn modelId="{7A761174-2E8C-4CFF-9F55-4C163EA49B2D}" type="presParOf" srcId="{0C91EFAD-714B-4A58-8FFF-1ECC1B29A776}" destId="{51B70837-C934-4CD9-91D4-9AC87ABDA209}" srcOrd="1" destOrd="0" presId="urn:microsoft.com/office/officeart/2008/layout/HorizontalMultiLevelHierarchy"/>
    <dgm:cxn modelId="{5EA7DE66-8A1E-4744-A448-1CF421A9EA0B}" type="presParOf" srcId="{51B70837-C934-4CD9-91D4-9AC87ABDA209}" destId="{729DC21F-AA4B-47D7-B329-5F2403E5C534}" srcOrd="0" destOrd="0" presId="urn:microsoft.com/office/officeart/2008/layout/HorizontalMultiLevelHierarchy"/>
    <dgm:cxn modelId="{4199089F-A89F-4B25-A142-9363A746753B}" type="presParOf" srcId="{729DC21F-AA4B-47D7-B329-5F2403E5C534}" destId="{508CE1F4-5C6C-4454-9D64-2FA1C8E8AA03}" srcOrd="0" destOrd="0" presId="urn:microsoft.com/office/officeart/2008/layout/HorizontalMultiLevelHierarchy"/>
    <dgm:cxn modelId="{B7B7BEA8-A3D3-45E4-BD16-971C187FC1E1}" type="presParOf" srcId="{51B70837-C934-4CD9-91D4-9AC87ABDA209}" destId="{5396AC7E-EFE0-4068-819E-DD2ADE91A21F}" srcOrd="1" destOrd="0" presId="urn:microsoft.com/office/officeart/2008/layout/HorizontalMultiLevelHierarchy"/>
    <dgm:cxn modelId="{CB465DBA-243A-420E-A2DF-181AEDFD8AC3}" type="presParOf" srcId="{5396AC7E-EFE0-4068-819E-DD2ADE91A21F}" destId="{32800216-86AA-444F-BB95-2292A44D5E89}" srcOrd="0" destOrd="0" presId="urn:microsoft.com/office/officeart/2008/layout/HorizontalMultiLevelHierarchy"/>
    <dgm:cxn modelId="{A1430633-5507-415A-82E6-F0F62F9793BA}" type="presParOf" srcId="{5396AC7E-EFE0-4068-819E-DD2ADE91A21F}" destId="{6D111382-9D73-4B9E-8C21-08266928F63D}" srcOrd="1" destOrd="0" presId="urn:microsoft.com/office/officeart/2008/layout/HorizontalMultiLevelHierarchy"/>
    <dgm:cxn modelId="{57930CD3-6CAE-4D03-A45C-25F45BCB2A3E}" type="presParOf" srcId="{51B70837-C934-4CD9-91D4-9AC87ABDA209}" destId="{7FE707B6-C351-4C39-B2B2-06CA4FB5A352}" srcOrd="2" destOrd="0" presId="urn:microsoft.com/office/officeart/2008/layout/HorizontalMultiLevelHierarchy"/>
    <dgm:cxn modelId="{E91E18C3-5C70-46BC-8A4B-18F4C9E43467}" type="presParOf" srcId="{7FE707B6-C351-4C39-B2B2-06CA4FB5A352}" destId="{D2267CCF-DF46-4D6D-9714-759E46057724}" srcOrd="0" destOrd="0" presId="urn:microsoft.com/office/officeart/2008/layout/HorizontalMultiLevelHierarchy"/>
    <dgm:cxn modelId="{D3030C3C-3E85-4BC8-98BF-0A4615732046}" type="presParOf" srcId="{51B70837-C934-4CD9-91D4-9AC87ABDA209}" destId="{868A82BB-0CE9-42BC-ADFA-78FA9D87E2AD}" srcOrd="3" destOrd="0" presId="urn:microsoft.com/office/officeart/2008/layout/HorizontalMultiLevelHierarchy"/>
    <dgm:cxn modelId="{BCA4CCD1-1E72-4531-9168-9E37D77A866D}" type="presParOf" srcId="{868A82BB-0CE9-42BC-ADFA-78FA9D87E2AD}" destId="{CEE0951A-E287-48FD-8B6C-AE5E7A92E250}" srcOrd="0" destOrd="0" presId="urn:microsoft.com/office/officeart/2008/layout/HorizontalMultiLevelHierarchy"/>
    <dgm:cxn modelId="{35FFE190-2621-4B47-9269-BC79464CB1BC}" type="presParOf" srcId="{868A82BB-0CE9-42BC-ADFA-78FA9D87E2AD}" destId="{D6AE1563-69FF-47C6-8753-DBF436506417}" srcOrd="1" destOrd="0" presId="urn:microsoft.com/office/officeart/2008/layout/HorizontalMultiLevelHierarchy"/>
    <dgm:cxn modelId="{5473A49C-7DAC-4614-BF20-0759542769C3}" type="presParOf" srcId="{51B70837-C934-4CD9-91D4-9AC87ABDA209}" destId="{47828F08-8413-42DE-AEE0-43454EF08415}" srcOrd="4" destOrd="0" presId="urn:microsoft.com/office/officeart/2008/layout/HorizontalMultiLevelHierarchy"/>
    <dgm:cxn modelId="{8D17453D-2E98-4D17-B2E4-70F2F6982CE2}" type="presParOf" srcId="{47828F08-8413-42DE-AEE0-43454EF08415}" destId="{5F39EBA7-5D34-4BD8-86A2-5CB180A87BFC}" srcOrd="0" destOrd="0" presId="urn:microsoft.com/office/officeart/2008/layout/HorizontalMultiLevelHierarchy"/>
    <dgm:cxn modelId="{FF5B1924-04E9-47DB-8DEF-D711EFBFB6FF}" type="presParOf" srcId="{51B70837-C934-4CD9-91D4-9AC87ABDA209}" destId="{97A5A6DB-0ADF-44DC-B7EC-40711AB35444}" srcOrd="5" destOrd="0" presId="urn:microsoft.com/office/officeart/2008/layout/HorizontalMultiLevelHierarchy"/>
    <dgm:cxn modelId="{00BA9BFE-493B-4F5A-A8DE-91780CB7CFD7}" type="presParOf" srcId="{97A5A6DB-0ADF-44DC-B7EC-40711AB35444}" destId="{A6F96EDB-9132-4408-8F2D-AAF419C7C5B8}" srcOrd="0" destOrd="0" presId="urn:microsoft.com/office/officeart/2008/layout/HorizontalMultiLevelHierarchy"/>
    <dgm:cxn modelId="{0EBDF58A-8EF9-4C97-96DE-6DA06797E4A1}" type="presParOf" srcId="{97A5A6DB-0ADF-44DC-B7EC-40711AB35444}" destId="{E1E21D1D-02BA-485F-8486-3670FDE84E42}" srcOrd="1" destOrd="0" presId="urn:microsoft.com/office/officeart/2008/layout/HorizontalMultiLevelHierarchy"/>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9C9FFDC-8237-4CF7-96CF-C6BF5518FE44}"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797BCC5-0E5B-4566-97F8-610563266B69}">
      <dgm:prSet phldrT="[Text]" custT="1"/>
      <dgm:spPr>
        <a:ln>
          <a:solidFill>
            <a:srgbClr val="046A38"/>
          </a:solidFill>
        </a:ln>
      </dgm:spPr>
      <dgm:t>
        <a:bodyPr/>
        <a:lstStyle/>
        <a:p>
          <a:pPr algn="l"/>
          <a:r>
            <a:rPr lang="es-ES" sz="1200"/>
            <a:t>¿Qué has completado desde la última reunión?</a:t>
          </a:r>
          <a:endParaRPr lang="en-US" sz="1200"/>
        </a:p>
      </dgm:t>
    </dgm:pt>
    <dgm:pt modelId="{CABE3104-DD59-442F-B81A-8BC98B1CFBF6}" type="parTrans" cxnId="{1ED8A2E7-1149-4AA7-B32F-F091B1E85B0D}">
      <dgm:prSet/>
      <dgm:spPr>
        <a:ln>
          <a:solidFill>
            <a:srgbClr val="046A38"/>
          </a:solidFill>
        </a:ln>
      </dgm:spPr>
      <dgm:t>
        <a:bodyPr/>
        <a:lstStyle/>
        <a:p>
          <a:endParaRPr lang="en-US"/>
        </a:p>
      </dgm:t>
    </dgm:pt>
    <dgm:pt modelId="{A9730AD3-585C-4CE3-93E7-6A5E931FF197}" type="sibTrans" cxnId="{1ED8A2E7-1149-4AA7-B32F-F091B1E85B0D}">
      <dgm:prSet/>
      <dgm:spPr/>
      <dgm:t>
        <a:bodyPr/>
        <a:lstStyle/>
        <a:p>
          <a:endParaRPr lang="en-US"/>
        </a:p>
      </dgm:t>
    </dgm:pt>
    <dgm:pt modelId="{2CFD376F-E7DB-4D98-8610-FDA57074F3DC}">
      <dgm:prSet phldrT="[Text]" custT="1"/>
      <dgm:spPr>
        <a:solidFill>
          <a:schemeClr val="accent2"/>
        </a:solidFill>
      </dgm:spPr>
      <dgm:t>
        <a:bodyPr/>
        <a:lstStyle/>
        <a:p>
          <a:r>
            <a:rPr lang="en-GB" altLang="en-US" sz="1400" b="1">
              <a:solidFill>
                <a:schemeClr val="bg1"/>
              </a:solidFill>
              <a:latin typeface="Verdana" pitchFamily="34" charset="0"/>
              <a:ea typeface="Arial" pitchFamily="34" charset="0"/>
              <a:cs typeface="Verdana" pitchFamily="34" charset="0"/>
            </a:rPr>
            <a:t>Temas a </a:t>
          </a:r>
          <a:r>
            <a:rPr lang="en-GB" altLang="en-US" sz="1400" b="1" err="1">
              <a:solidFill>
                <a:schemeClr val="bg1"/>
              </a:solidFill>
              <a:latin typeface="Verdana" pitchFamily="34" charset="0"/>
              <a:ea typeface="Arial" pitchFamily="34" charset="0"/>
              <a:cs typeface="Verdana" pitchFamily="34" charset="0"/>
            </a:rPr>
            <a:t>tratar</a:t>
          </a:r>
          <a:r>
            <a:rPr lang="en-GB" altLang="en-US" sz="1400" b="1">
              <a:solidFill>
                <a:schemeClr val="bg1"/>
              </a:solidFill>
              <a:latin typeface="Verdana" pitchFamily="34" charset="0"/>
              <a:ea typeface="Arial" pitchFamily="34" charset="0"/>
              <a:cs typeface="Verdana" pitchFamily="34" charset="0"/>
            </a:rPr>
            <a:t> </a:t>
          </a:r>
          <a:r>
            <a:rPr lang="en-GB" altLang="en-US" sz="1400" b="1" err="1">
              <a:solidFill>
                <a:schemeClr val="bg1"/>
              </a:solidFill>
              <a:latin typeface="Verdana" pitchFamily="34" charset="0"/>
              <a:ea typeface="Arial" pitchFamily="34" charset="0"/>
              <a:cs typeface="Verdana" pitchFamily="34" charset="0"/>
            </a:rPr>
            <a:t>en</a:t>
          </a:r>
          <a:r>
            <a:rPr lang="en-GB" altLang="en-US" sz="1400" b="1">
              <a:solidFill>
                <a:schemeClr val="bg1"/>
              </a:solidFill>
              <a:latin typeface="Verdana" pitchFamily="34" charset="0"/>
              <a:ea typeface="Arial" pitchFamily="34" charset="0"/>
              <a:cs typeface="Verdana" pitchFamily="34" charset="0"/>
            </a:rPr>
            <a:t> las </a:t>
          </a:r>
          <a:r>
            <a:rPr lang="en-GB" altLang="en-US" sz="1400" b="1" err="1">
              <a:solidFill>
                <a:schemeClr val="bg1"/>
              </a:solidFill>
              <a:latin typeface="Verdana" pitchFamily="34" charset="0"/>
              <a:ea typeface="Arial" pitchFamily="34" charset="0"/>
              <a:cs typeface="Verdana" pitchFamily="34" charset="0"/>
            </a:rPr>
            <a:t>reuniones</a:t>
          </a:r>
          <a:r>
            <a:rPr lang="en-GB" altLang="en-US" sz="1400" b="1">
              <a:solidFill>
                <a:schemeClr val="bg1"/>
              </a:solidFill>
              <a:latin typeface="Verdana" pitchFamily="34" charset="0"/>
              <a:ea typeface="Arial" pitchFamily="34" charset="0"/>
              <a:cs typeface="Verdana" pitchFamily="34" charset="0"/>
            </a:rPr>
            <a:t> </a:t>
          </a:r>
          <a:r>
            <a:rPr lang="en-GB" altLang="en-US" sz="1400" b="1" err="1">
              <a:solidFill>
                <a:schemeClr val="bg1"/>
              </a:solidFill>
              <a:latin typeface="Verdana" pitchFamily="34" charset="0"/>
              <a:ea typeface="Arial" pitchFamily="34" charset="0"/>
              <a:cs typeface="Verdana" pitchFamily="34" charset="0"/>
            </a:rPr>
            <a:t>diarias</a:t>
          </a:r>
          <a:endParaRPr lang="en-US" sz="1400">
            <a:solidFill>
              <a:schemeClr val="bg1"/>
            </a:solidFill>
          </a:endParaRPr>
        </a:p>
      </dgm:t>
    </dgm:pt>
    <dgm:pt modelId="{1C86744E-375F-4646-B4FC-DA712BDA6A40}" type="sibTrans" cxnId="{9DE144EF-9E4E-4CAD-96BE-A7A01F3F5565}">
      <dgm:prSet/>
      <dgm:spPr/>
      <dgm:t>
        <a:bodyPr/>
        <a:lstStyle/>
        <a:p>
          <a:endParaRPr lang="en-US"/>
        </a:p>
      </dgm:t>
    </dgm:pt>
    <dgm:pt modelId="{C75091F0-953F-49EA-8E95-B4B2444C2F2F}" type="parTrans" cxnId="{9DE144EF-9E4E-4CAD-96BE-A7A01F3F5565}">
      <dgm:prSet/>
      <dgm:spPr/>
      <dgm:t>
        <a:bodyPr/>
        <a:lstStyle/>
        <a:p>
          <a:endParaRPr lang="en-US"/>
        </a:p>
      </dgm:t>
    </dgm:pt>
    <dgm:pt modelId="{706ADE8D-9934-42EE-AFE6-DC5D0955827F}">
      <dgm:prSet phldrT="[Text]" custT="1"/>
      <dgm:spPr>
        <a:ln>
          <a:solidFill>
            <a:srgbClr val="046A38"/>
          </a:solidFill>
        </a:ln>
      </dgm:spPr>
      <dgm:t>
        <a:bodyPr/>
        <a:lstStyle/>
        <a:p>
          <a:pPr algn="l"/>
          <a:r>
            <a:rPr lang="es-ES" sz="1200"/>
            <a:t>¿Qué tienes previsto completar para la próxima reunión?</a:t>
          </a:r>
          <a:endParaRPr lang="en-US" sz="1200"/>
        </a:p>
      </dgm:t>
    </dgm:pt>
    <dgm:pt modelId="{77AE6244-8E70-4BE3-B838-80B001859BEC}" type="parTrans" cxnId="{78661453-CC5A-4122-A94D-CA8506A765AF}">
      <dgm:prSet/>
      <dgm:spPr>
        <a:ln>
          <a:solidFill>
            <a:srgbClr val="046A38"/>
          </a:solidFill>
        </a:ln>
      </dgm:spPr>
      <dgm:t>
        <a:bodyPr/>
        <a:lstStyle/>
        <a:p>
          <a:endParaRPr lang="en-US"/>
        </a:p>
      </dgm:t>
    </dgm:pt>
    <dgm:pt modelId="{6F2892C8-2B66-4734-B263-AAD903D79316}" type="sibTrans" cxnId="{78661453-CC5A-4122-A94D-CA8506A765AF}">
      <dgm:prSet/>
      <dgm:spPr/>
      <dgm:t>
        <a:bodyPr/>
        <a:lstStyle/>
        <a:p>
          <a:endParaRPr lang="en-US"/>
        </a:p>
      </dgm:t>
    </dgm:pt>
    <dgm:pt modelId="{CD529ED7-7CF7-4BFF-B14C-DC39011B59DF}">
      <dgm:prSet phldrT="[Text]" custT="1"/>
      <dgm:spPr>
        <a:ln>
          <a:solidFill>
            <a:srgbClr val="046A38"/>
          </a:solidFill>
        </a:ln>
      </dgm:spPr>
      <dgm:t>
        <a:bodyPr/>
        <a:lstStyle/>
        <a:p>
          <a:pPr algn="l"/>
          <a:r>
            <a:rPr lang="es-ES" sz="1200"/>
            <a:t>¿Qué se está interponiendo en tu camino?</a:t>
          </a:r>
          <a:endParaRPr lang="en-US" sz="1200"/>
        </a:p>
      </dgm:t>
    </dgm:pt>
    <dgm:pt modelId="{DA43BAF5-DCCC-45CB-813D-446581EA2D4A}" type="parTrans" cxnId="{52E8E76D-3EFC-404F-AE74-45CE167734FA}">
      <dgm:prSet/>
      <dgm:spPr>
        <a:ln>
          <a:solidFill>
            <a:srgbClr val="046A38"/>
          </a:solidFill>
        </a:ln>
      </dgm:spPr>
      <dgm:t>
        <a:bodyPr/>
        <a:lstStyle/>
        <a:p>
          <a:endParaRPr lang="en-US"/>
        </a:p>
      </dgm:t>
    </dgm:pt>
    <dgm:pt modelId="{EBD64675-DB3C-4A3E-8E5F-E99992D5320B}" type="sibTrans" cxnId="{52E8E76D-3EFC-404F-AE74-45CE167734FA}">
      <dgm:prSet/>
      <dgm:spPr/>
      <dgm:t>
        <a:bodyPr/>
        <a:lstStyle/>
        <a:p>
          <a:endParaRPr lang="en-US"/>
        </a:p>
      </dgm:t>
    </dgm:pt>
    <dgm:pt modelId="{B0528F71-ABDD-4791-AC89-BE9CE2974E51}" type="pres">
      <dgm:prSet presAssocID="{F9C9FFDC-8237-4CF7-96CF-C6BF5518FE44}" presName="diagram" presStyleCnt="0">
        <dgm:presLayoutVars>
          <dgm:chPref val="1"/>
          <dgm:dir/>
          <dgm:animOne val="branch"/>
          <dgm:animLvl val="lvl"/>
          <dgm:resizeHandles/>
        </dgm:presLayoutVars>
      </dgm:prSet>
      <dgm:spPr/>
    </dgm:pt>
    <dgm:pt modelId="{DE8F0946-C01C-43E3-BE2D-69CD40F26E80}" type="pres">
      <dgm:prSet presAssocID="{2CFD376F-E7DB-4D98-8610-FDA57074F3DC}" presName="root" presStyleCnt="0"/>
      <dgm:spPr/>
    </dgm:pt>
    <dgm:pt modelId="{82B6E71B-EBAF-4C6D-B7BD-E9AA77920D80}" type="pres">
      <dgm:prSet presAssocID="{2CFD376F-E7DB-4D98-8610-FDA57074F3DC}" presName="rootComposite" presStyleCnt="0"/>
      <dgm:spPr/>
    </dgm:pt>
    <dgm:pt modelId="{A67D1B5A-8C74-4428-BE9F-5140AF431C87}" type="pres">
      <dgm:prSet presAssocID="{2CFD376F-E7DB-4D98-8610-FDA57074F3DC}" presName="rootText" presStyleLbl="node1" presStyleIdx="0" presStyleCnt="1" custScaleX="430656" custScaleY="49407" custLinFactNeighborX="24" custLinFactNeighborY="-54632"/>
      <dgm:spPr/>
    </dgm:pt>
    <dgm:pt modelId="{5E128362-B522-4F29-B863-47D94C2FE9B6}" type="pres">
      <dgm:prSet presAssocID="{2CFD376F-E7DB-4D98-8610-FDA57074F3DC}" presName="rootConnector" presStyleLbl="node1" presStyleIdx="0" presStyleCnt="1"/>
      <dgm:spPr/>
    </dgm:pt>
    <dgm:pt modelId="{7CEA6EA5-5D5E-41EA-82A9-69E5E5C89730}" type="pres">
      <dgm:prSet presAssocID="{2CFD376F-E7DB-4D98-8610-FDA57074F3DC}" presName="childShape" presStyleCnt="0"/>
      <dgm:spPr/>
    </dgm:pt>
    <dgm:pt modelId="{075124B1-2FDB-44D8-8B20-B8420B4E66D9}" type="pres">
      <dgm:prSet presAssocID="{CABE3104-DD59-442F-B81A-8BC98B1CFBF6}" presName="Name13" presStyleLbl="parChTrans1D2" presStyleIdx="0" presStyleCnt="3"/>
      <dgm:spPr/>
    </dgm:pt>
    <dgm:pt modelId="{C5154F7E-3AEC-475E-9D6F-C7831A451904}" type="pres">
      <dgm:prSet presAssocID="{5797BCC5-0E5B-4566-97F8-610563266B69}" presName="childText" presStyleLbl="bgAcc1" presStyleIdx="0" presStyleCnt="3" custScaleX="304372" custScaleY="45115" custLinFactNeighborX="818" custLinFactNeighborY="-33498">
        <dgm:presLayoutVars>
          <dgm:bulletEnabled val="1"/>
        </dgm:presLayoutVars>
      </dgm:prSet>
      <dgm:spPr/>
    </dgm:pt>
    <dgm:pt modelId="{6F09AAE9-EB2D-4BF9-AF58-F10E25826E38}" type="pres">
      <dgm:prSet presAssocID="{77AE6244-8E70-4BE3-B838-80B001859BEC}" presName="Name13" presStyleLbl="parChTrans1D2" presStyleIdx="1" presStyleCnt="3"/>
      <dgm:spPr/>
    </dgm:pt>
    <dgm:pt modelId="{3A573BF2-AB6E-4D4B-8827-B8FA1C52C3FA}" type="pres">
      <dgm:prSet presAssocID="{706ADE8D-9934-42EE-AFE6-DC5D0955827F}" presName="childText" presStyleLbl="bgAcc1" presStyleIdx="1" presStyleCnt="3" custScaleX="354852" custScaleY="45115" custLinFactNeighborX="818" custLinFactNeighborY="-33498">
        <dgm:presLayoutVars>
          <dgm:bulletEnabled val="1"/>
        </dgm:presLayoutVars>
      </dgm:prSet>
      <dgm:spPr/>
    </dgm:pt>
    <dgm:pt modelId="{E2A3D87A-9C5B-4E46-9924-38E8CBC2FBA4}" type="pres">
      <dgm:prSet presAssocID="{DA43BAF5-DCCC-45CB-813D-446581EA2D4A}" presName="Name13" presStyleLbl="parChTrans1D2" presStyleIdx="2" presStyleCnt="3"/>
      <dgm:spPr/>
    </dgm:pt>
    <dgm:pt modelId="{935995E8-1CBD-40D2-A010-65128E12BB67}" type="pres">
      <dgm:prSet presAssocID="{CD529ED7-7CF7-4BFF-B14C-DC39011B59DF}" presName="childText" presStyleLbl="bgAcc1" presStyleIdx="2" presStyleCnt="3" custScaleX="287941" custScaleY="45115" custLinFactNeighborX="818" custLinFactNeighborY="-33498">
        <dgm:presLayoutVars>
          <dgm:bulletEnabled val="1"/>
        </dgm:presLayoutVars>
      </dgm:prSet>
      <dgm:spPr/>
    </dgm:pt>
  </dgm:ptLst>
  <dgm:cxnLst>
    <dgm:cxn modelId="{88D18F00-56C0-491A-86EF-8C38D2C916B1}" type="presOf" srcId="{CABE3104-DD59-442F-B81A-8BC98B1CFBF6}" destId="{075124B1-2FDB-44D8-8B20-B8420B4E66D9}" srcOrd="0" destOrd="0" presId="urn:microsoft.com/office/officeart/2005/8/layout/hierarchy3"/>
    <dgm:cxn modelId="{71F7C003-27BF-4A46-B729-80F73133B379}" type="presOf" srcId="{CD529ED7-7CF7-4BFF-B14C-DC39011B59DF}" destId="{935995E8-1CBD-40D2-A010-65128E12BB67}" srcOrd="0" destOrd="0" presId="urn:microsoft.com/office/officeart/2005/8/layout/hierarchy3"/>
    <dgm:cxn modelId="{E4D63715-6765-49BC-A1F4-EA0A2E47673F}" type="presOf" srcId="{77AE6244-8E70-4BE3-B838-80B001859BEC}" destId="{6F09AAE9-EB2D-4BF9-AF58-F10E25826E38}" srcOrd="0" destOrd="0" presId="urn:microsoft.com/office/officeart/2005/8/layout/hierarchy3"/>
    <dgm:cxn modelId="{F9A35720-4130-4184-BBA8-8A8A5287D0F2}" type="presOf" srcId="{706ADE8D-9934-42EE-AFE6-DC5D0955827F}" destId="{3A573BF2-AB6E-4D4B-8827-B8FA1C52C3FA}" srcOrd="0" destOrd="0" presId="urn:microsoft.com/office/officeart/2005/8/layout/hierarchy3"/>
    <dgm:cxn modelId="{E14DAA5B-CE4E-4F79-9573-D880B355A86A}" type="presOf" srcId="{2CFD376F-E7DB-4D98-8610-FDA57074F3DC}" destId="{5E128362-B522-4F29-B863-47D94C2FE9B6}" srcOrd="1" destOrd="0" presId="urn:microsoft.com/office/officeart/2005/8/layout/hierarchy3"/>
    <dgm:cxn modelId="{1294B14B-EE81-405C-8EC7-D65430EEA92B}" type="presOf" srcId="{5797BCC5-0E5B-4566-97F8-610563266B69}" destId="{C5154F7E-3AEC-475E-9D6F-C7831A451904}" srcOrd="0" destOrd="0" presId="urn:microsoft.com/office/officeart/2005/8/layout/hierarchy3"/>
    <dgm:cxn modelId="{52E8E76D-3EFC-404F-AE74-45CE167734FA}" srcId="{2CFD376F-E7DB-4D98-8610-FDA57074F3DC}" destId="{CD529ED7-7CF7-4BFF-B14C-DC39011B59DF}" srcOrd="2" destOrd="0" parTransId="{DA43BAF5-DCCC-45CB-813D-446581EA2D4A}" sibTransId="{EBD64675-DB3C-4A3E-8E5F-E99992D5320B}"/>
    <dgm:cxn modelId="{78661453-CC5A-4122-A94D-CA8506A765AF}" srcId="{2CFD376F-E7DB-4D98-8610-FDA57074F3DC}" destId="{706ADE8D-9934-42EE-AFE6-DC5D0955827F}" srcOrd="1" destOrd="0" parTransId="{77AE6244-8E70-4BE3-B838-80B001859BEC}" sibTransId="{6F2892C8-2B66-4734-B263-AAD903D79316}"/>
    <dgm:cxn modelId="{ED000B56-2E32-411F-81F5-0C23D1BF2B81}" type="presOf" srcId="{F9C9FFDC-8237-4CF7-96CF-C6BF5518FE44}" destId="{B0528F71-ABDD-4791-AC89-BE9CE2974E51}" srcOrd="0" destOrd="0" presId="urn:microsoft.com/office/officeart/2005/8/layout/hierarchy3"/>
    <dgm:cxn modelId="{C41EEB96-7B9E-447F-A6D2-A9E8709F13EB}" type="presOf" srcId="{2CFD376F-E7DB-4D98-8610-FDA57074F3DC}" destId="{A67D1B5A-8C74-4428-BE9F-5140AF431C87}" srcOrd="0" destOrd="0" presId="urn:microsoft.com/office/officeart/2005/8/layout/hierarchy3"/>
    <dgm:cxn modelId="{54D505A6-867D-441A-BAFE-C62C9DDF429C}" type="presOf" srcId="{DA43BAF5-DCCC-45CB-813D-446581EA2D4A}" destId="{E2A3D87A-9C5B-4E46-9924-38E8CBC2FBA4}" srcOrd="0" destOrd="0" presId="urn:microsoft.com/office/officeart/2005/8/layout/hierarchy3"/>
    <dgm:cxn modelId="{1ED8A2E7-1149-4AA7-B32F-F091B1E85B0D}" srcId="{2CFD376F-E7DB-4D98-8610-FDA57074F3DC}" destId="{5797BCC5-0E5B-4566-97F8-610563266B69}" srcOrd="0" destOrd="0" parTransId="{CABE3104-DD59-442F-B81A-8BC98B1CFBF6}" sibTransId="{A9730AD3-585C-4CE3-93E7-6A5E931FF197}"/>
    <dgm:cxn modelId="{9DE144EF-9E4E-4CAD-96BE-A7A01F3F5565}" srcId="{F9C9FFDC-8237-4CF7-96CF-C6BF5518FE44}" destId="{2CFD376F-E7DB-4D98-8610-FDA57074F3DC}" srcOrd="0" destOrd="0" parTransId="{C75091F0-953F-49EA-8E95-B4B2444C2F2F}" sibTransId="{1C86744E-375F-4646-B4FC-DA712BDA6A40}"/>
    <dgm:cxn modelId="{550A026B-458A-4D21-B356-ECF65F5BB7B1}" type="presParOf" srcId="{B0528F71-ABDD-4791-AC89-BE9CE2974E51}" destId="{DE8F0946-C01C-43E3-BE2D-69CD40F26E80}" srcOrd="0" destOrd="0" presId="urn:microsoft.com/office/officeart/2005/8/layout/hierarchy3"/>
    <dgm:cxn modelId="{AB01C9A6-D920-4483-9C08-4CFFD9A93171}" type="presParOf" srcId="{DE8F0946-C01C-43E3-BE2D-69CD40F26E80}" destId="{82B6E71B-EBAF-4C6D-B7BD-E9AA77920D80}" srcOrd="0" destOrd="0" presId="urn:microsoft.com/office/officeart/2005/8/layout/hierarchy3"/>
    <dgm:cxn modelId="{4C14A3ED-E211-44E9-86E1-0C570D7B6E40}" type="presParOf" srcId="{82B6E71B-EBAF-4C6D-B7BD-E9AA77920D80}" destId="{A67D1B5A-8C74-4428-BE9F-5140AF431C87}" srcOrd="0" destOrd="0" presId="urn:microsoft.com/office/officeart/2005/8/layout/hierarchy3"/>
    <dgm:cxn modelId="{8A41F009-CCBC-47C7-B84E-5905610F2B97}" type="presParOf" srcId="{82B6E71B-EBAF-4C6D-B7BD-E9AA77920D80}" destId="{5E128362-B522-4F29-B863-47D94C2FE9B6}" srcOrd="1" destOrd="0" presId="urn:microsoft.com/office/officeart/2005/8/layout/hierarchy3"/>
    <dgm:cxn modelId="{048782F3-771A-479D-B827-C9D027A8452A}" type="presParOf" srcId="{DE8F0946-C01C-43E3-BE2D-69CD40F26E80}" destId="{7CEA6EA5-5D5E-41EA-82A9-69E5E5C89730}" srcOrd="1" destOrd="0" presId="urn:microsoft.com/office/officeart/2005/8/layout/hierarchy3"/>
    <dgm:cxn modelId="{36F9FD0F-C977-4976-BF0C-2A6BFB4F9E13}" type="presParOf" srcId="{7CEA6EA5-5D5E-41EA-82A9-69E5E5C89730}" destId="{075124B1-2FDB-44D8-8B20-B8420B4E66D9}" srcOrd="0" destOrd="0" presId="urn:microsoft.com/office/officeart/2005/8/layout/hierarchy3"/>
    <dgm:cxn modelId="{5AEF5DD1-C080-419E-A4F0-4174977B3989}" type="presParOf" srcId="{7CEA6EA5-5D5E-41EA-82A9-69E5E5C89730}" destId="{C5154F7E-3AEC-475E-9D6F-C7831A451904}" srcOrd="1" destOrd="0" presId="urn:microsoft.com/office/officeart/2005/8/layout/hierarchy3"/>
    <dgm:cxn modelId="{897AA911-C11A-418E-A682-5AF559F2A38C}" type="presParOf" srcId="{7CEA6EA5-5D5E-41EA-82A9-69E5E5C89730}" destId="{6F09AAE9-EB2D-4BF9-AF58-F10E25826E38}" srcOrd="2" destOrd="0" presId="urn:microsoft.com/office/officeart/2005/8/layout/hierarchy3"/>
    <dgm:cxn modelId="{0AA778F2-7A4C-4A25-BA49-CBE60280F725}" type="presParOf" srcId="{7CEA6EA5-5D5E-41EA-82A9-69E5E5C89730}" destId="{3A573BF2-AB6E-4D4B-8827-B8FA1C52C3FA}" srcOrd="3" destOrd="0" presId="urn:microsoft.com/office/officeart/2005/8/layout/hierarchy3"/>
    <dgm:cxn modelId="{3BACCDFA-19A3-4063-9634-EF8FDAB3784E}" type="presParOf" srcId="{7CEA6EA5-5D5E-41EA-82A9-69E5E5C89730}" destId="{E2A3D87A-9C5B-4E46-9924-38E8CBC2FBA4}" srcOrd="4" destOrd="0" presId="urn:microsoft.com/office/officeart/2005/8/layout/hierarchy3"/>
    <dgm:cxn modelId="{BC36BFEA-B9D0-4264-A97C-EBEDF2A98220}" type="presParOf" srcId="{7CEA6EA5-5D5E-41EA-82A9-69E5E5C89730}" destId="{935995E8-1CBD-40D2-A010-65128E12BB67}" srcOrd="5" destOrd="0" presId="urn:microsoft.com/office/officeart/2005/8/layout/hierarchy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9C9FFDC-8237-4CF7-96CF-C6BF5518FE44}"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E010AA40-6B5C-4FCD-B433-3EC3BF820979}">
      <dgm:prSet phldrT="[Text]" custT="1"/>
      <dgm:spPr>
        <a:ln>
          <a:solidFill>
            <a:srgbClr val="046A38"/>
          </a:solidFill>
        </a:ln>
      </dgm:spPr>
      <dgm:t>
        <a:bodyPr/>
        <a:lstStyle/>
        <a:p>
          <a:pPr algn="l"/>
          <a:r>
            <a:rPr lang="es-ES" sz="1200"/>
            <a:t>Planificar y organizar su propio trabajo.</a:t>
          </a:r>
          <a:endParaRPr lang="en-US" sz="1200"/>
        </a:p>
      </dgm:t>
    </dgm:pt>
    <dgm:pt modelId="{30E07C0C-145E-4EEF-BE6B-3804ED2954DF}" type="parTrans" cxnId="{932BD62D-BA72-4D96-9F9D-20D823804487}">
      <dgm:prSet/>
      <dgm:spPr>
        <a:ln>
          <a:solidFill>
            <a:srgbClr val="046A38"/>
          </a:solidFill>
        </a:ln>
      </dgm:spPr>
      <dgm:t>
        <a:bodyPr/>
        <a:lstStyle/>
        <a:p>
          <a:endParaRPr lang="en-US"/>
        </a:p>
      </dgm:t>
    </dgm:pt>
    <dgm:pt modelId="{9493FE69-CADF-4C32-8A35-418AF42EBE8C}" type="sibTrans" cxnId="{932BD62D-BA72-4D96-9F9D-20D823804487}">
      <dgm:prSet/>
      <dgm:spPr/>
      <dgm:t>
        <a:bodyPr/>
        <a:lstStyle/>
        <a:p>
          <a:endParaRPr lang="en-US"/>
        </a:p>
      </dgm:t>
    </dgm:pt>
    <dgm:pt modelId="{2F3CC40D-34CF-49E1-98EB-2CED1F3B342F}">
      <dgm:prSet phldrT="[Text]" custT="1"/>
      <dgm:spPr>
        <a:ln>
          <a:solidFill>
            <a:srgbClr val="046A38"/>
          </a:solidFill>
        </a:ln>
      </dgm:spPr>
      <dgm:t>
        <a:bodyPr/>
        <a:lstStyle/>
        <a:p>
          <a:pPr algn="l"/>
          <a:r>
            <a:rPr lang="es-ES" sz="1200"/>
            <a:t>Responder rápidamente a los cambios, incluyendo la modificación, adición o mejora de los casos de prueba.</a:t>
          </a:r>
          <a:endParaRPr lang="en-US" sz="1200"/>
        </a:p>
      </dgm:t>
    </dgm:pt>
    <dgm:pt modelId="{4BA32E17-5F22-44E2-8560-B00FAEDD82EB}" type="sibTrans" cxnId="{9F29B561-17A3-4752-AF04-971D3CB25A30}">
      <dgm:prSet/>
      <dgm:spPr/>
      <dgm:t>
        <a:bodyPr/>
        <a:lstStyle/>
        <a:p>
          <a:endParaRPr lang="en-US"/>
        </a:p>
      </dgm:t>
    </dgm:pt>
    <dgm:pt modelId="{ACC4EB41-C27A-4FE8-AAD0-DE986DEE6DA5}" type="parTrans" cxnId="{9F29B561-17A3-4752-AF04-971D3CB25A30}">
      <dgm:prSet/>
      <dgm:spPr>
        <a:ln>
          <a:solidFill>
            <a:srgbClr val="046A38"/>
          </a:solidFill>
        </a:ln>
      </dgm:spPr>
      <dgm:t>
        <a:bodyPr/>
        <a:lstStyle/>
        <a:p>
          <a:endParaRPr lang="en-US"/>
        </a:p>
      </dgm:t>
    </dgm:pt>
    <dgm:pt modelId="{77DCADAC-E510-490F-B616-53A9DB1CE953}">
      <dgm:prSet phldrT="[Text]" custT="1"/>
      <dgm:spPr>
        <a:ln>
          <a:solidFill>
            <a:srgbClr val="046A38"/>
          </a:solidFill>
        </a:ln>
      </dgm:spPr>
      <dgm:t>
        <a:bodyPr/>
        <a:lstStyle/>
        <a:p>
          <a:pPr algn="l"/>
          <a:r>
            <a:rPr lang="es-ES" sz="1200"/>
            <a:t>Colaborar dentro del equipo, trabajando en pareja con los programadores y otros miembros del equipo.</a:t>
          </a:r>
          <a:endParaRPr lang="en-US" sz="1200"/>
        </a:p>
      </dgm:t>
    </dgm:pt>
    <dgm:pt modelId="{152AD6B3-EFC6-4461-B510-F4A2D35A6E0C}" type="sibTrans" cxnId="{942527E7-70E9-4799-B5BF-61F08D6EA138}">
      <dgm:prSet/>
      <dgm:spPr/>
      <dgm:t>
        <a:bodyPr/>
        <a:lstStyle/>
        <a:p>
          <a:endParaRPr lang="en-US"/>
        </a:p>
      </dgm:t>
    </dgm:pt>
    <dgm:pt modelId="{3829B5BB-9107-43C0-A72D-950C2D9C88EB}" type="parTrans" cxnId="{942527E7-70E9-4799-B5BF-61F08D6EA138}">
      <dgm:prSet/>
      <dgm:spPr>
        <a:ln>
          <a:solidFill>
            <a:srgbClr val="046A38"/>
          </a:solidFill>
        </a:ln>
      </dgm:spPr>
      <dgm:t>
        <a:bodyPr/>
        <a:lstStyle/>
        <a:p>
          <a:endParaRPr lang="en-US"/>
        </a:p>
      </dgm:t>
    </dgm:pt>
    <dgm:pt modelId="{8F250492-29E7-46F4-AAD1-B9AEF8D9248E}">
      <dgm:prSet phldrT="[Text]" custT="1"/>
      <dgm:spPr>
        <a:ln>
          <a:solidFill>
            <a:srgbClr val="046A38"/>
          </a:solidFill>
        </a:ln>
      </dgm:spPr>
      <dgm:t>
        <a:bodyPr/>
        <a:lstStyle/>
        <a:p>
          <a:pPr algn="l"/>
          <a:r>
            <a:rPr lang="es-ES" sz="1200"/>
            <a:t>Trabajar eficazmente para definir historias de usuario que puedan ser probadas.</a:t>
          </a:r>
          <a:endParaRPr lang="en-US" sz="1200"/>
        </a:p>
      </dgm:t>
    </dgm:pt>
    <dgm:pt modelId="{01209BCF-2162-4E84-BE07-F6378FCFE8E3}" type="sibTrans" cxnId="{43FAEEC8-D482-4A85-ACB6-C5FB8E759B34}">
      <dgm:prSet/>
      <dgm:spPr/>
      <dgm:t>
        <a:bodyPr/>
        <a:lstStyle/>
        <a:p>
          <a:endParaRPr lang="en-US"/>
        </a:p>
      </dgm:t>
    </dgm:pt>
    <dgm:pt modelId="{51777E26-E223-4E77-9B49-DDA7DFF224FF}" type="parTrans" cxnId="{43FAEEC8-D482-4A85-ACB6-C5FB8E759B34}">
      <dgm:prSet/>
      <dgm:spPr>
        <a:ln>
          <a:solidFill>
            <a:srgbClr val="046A38"/>
          </a:solidFill>
        </a:ln>
      </dgm:spPr>
      <dgm:t>
        <a:bodyPr/>
        <a:lstStyle/>
        <a:p>
          <a:endParaRPr lang="en-US"/>
        </a:p>
      </dgm:t>
    </dgm:pt>
    <dgm:pt modelId="{E457D54D-933D-484C-B9BB-ACA38B4BD1B2}">
      <dgm:prSet phldrT="[Text]" custT="1"/>
      <dgm:spPr>
        <a:ln>
          <a:solidFill>
            <a:srgbClr val="046A38"/>
          </a:solidFill>
        </a:ln>
      </dgm:spPr>
      <dgm:t>
        <a:bodyPr/>
        <a:lstStyle/>
        <a:p>
          <a:pPr algn="l"/>
          <a:r>
            <a:rPr lang="es-ES" sz="1200"/>
            <a:t>Evaluar y comunicar con precisión los resultados de las pruebas, el avance de las mismas y la calidad del producto.</a:t>
          </a:r>
          <a:endParaRPr lang="en-US" sz="1200"/>
        </a:p>
      </dgm:t>
    </dgm:pt>
    <dgm:pt modelId="{3628DCE4-16D2-4DF8-AE5D-821237B66DFF}" type="sibTrans" cxnId="{51CB4550-AA45-441A-8DDB-B3E261E7B1DD}">
      <dgm:prSet/>
      <dgm:spPr/>
      <dgm:t>
        <a:bodyPr/>
        <a:lstStyle/>
        <a:p>
          <a:endParaRPr lang="en-US"/>
        </a:p>
      </dgm:t>
    </dgm:pt>
    <dgm:pt modelId="{4730FF64-5C02-4467-B6BB-C3D521B2BAA7}" type="parTrans" cxnId="{51CB4550-AA45-441A-8DDB-B3E261E7B1DD}">
      <dgm:prSet/>
      <dgm:spPr>
        <a:ln>
          <a:solidFill>
            <a:srgbClr val="046A38"/>
          </a:solidFill>
        </a:ln>
      </dgm:spPr>
      <dgm:t>
        <a:bodyPr/>
        <a:lstStyle/>
        <a:p>
          <a:endParaRPr lang="en-US"/>
        </a:p>
      </dgm:t>
    </dgm:pt>
    <dgm:pt modelId="{CD529ED7-7CF7-4BFF-B14C-DC39011B59DF}">
      <dgm:prSet phldrT="[Text]" custT="1"/>
      <dgm:spPr>
        <a:ln>
          <a:solidFill>
            <a:srgbClr val="046A38"/>
          </a:solidFill>
        </a:ln>
      </dgm:spPr>
      <dgm:t>
        <a:bodyPr/>
        <a:lstStyle/>
        <a:p>
          <a:pPr algn="l"/>
          <a:r>
            <a:rPr lang="es-ES" sz="1200"/>
            <a:t>Recabar información de los implicados de forma activa.</a:t>
          </a:r>
          <a:endParaRPr lang="en-US" sz="1200"/>
        </a:p>
      </dgm:t>
    </dgm:pt>
    <dgm:pt modelId="{EBD64675-DB3C-4A3E-8E5F-E99992D5320B}" type="sibTrans" cxnId="{52E8E76D-3EFC-404F-AE74-45CE167734FA}">
      <dgm:prSet/>
      <dgm:spPr/>
      <dgm:t>
        <a:bodyPr/>
        <a:lstStyle/>
        <a:p>
          <a:endParaRPr lang="en-US"/>
        </a:p>
      </dgm:t>
    </dgm:pt>
    <dgm:pt modelId="{DA43BAF5-DCCC-45CB-813D-446581EA2D4A}" type="parTrans" cxnId="{52E8E76D-3EFC-404F-AE74-45CE167734FA}">
      <dgm:prSet/>
      <dgm:spPr>
        <a:ln>
          <a:solidFill>
            <a:srgbClr val="046A38"/>
          </a:solidFill>
        </a:ln>
      </dgm:spPr>
      <dgm:t>
        <a:bodyPr/>
        <a:lstStyle/>
        <a:p>
          <a:endParaRPr lang="en-US"/>
        </a:p>
      </dgm:t>
    </dgm:pt>
    <dgm:pt modelId="{706ADE8D-9934-42EE-AFE6-DC5D0955827F}">
      <dgm:prSet phldrT="[Text]" custT="1"/>
      <dgm:spPr>
        <a:ln>
          <a:solidFill>
            <a:srgbClr val="046A38"/>
          </a:solidFill>
        </a:ln>
      </dgm:spPr>
      <dgm:t>
        <a:bodyPr/>
        <a:lstStyle/>
        <a:p>
          <a:pPr algn="l"/>
          <a:r>
            <a:rPr lang="es-ES" sz="1200"/>
            <a:t>Mostrar un pensamiento crítico, orientado a la calidad y escéptico sobre el producto.</a:t>
          </a:r>
          <a:endParaRPr lang="en-US" sz="1200"/>
        </a:p>
      </dgm:t>
    </dgm:pt>
    <dgm:pt modelId="{6F2892C8-2B66-4734-B263-AAD903D79316}" type="sibTrans" cxnId="{78661453-CC5A-4122-A94D-CA8506A765AF}">
      <dgm:prSet/>
      <dgm:spPr/>
      <dgm:t>
        <a:bodyPr/>
        <a:lstStyle/>
        <a:p>
          <a:endParaRPr lang="en-US"/>
        </a:p>
      </dgm:t>
    </dgm:pt>
    <dgm:pt modelId="{77AE6244-8E70-4BE3-B838-80B001859BEC}" type="parTrans" cxnId="{78661453-CC5A-4122-A94D-CA8506A765AF}">
      <dgm:prSet/>
      <dgm:spPr>
        <a:ln>
          <a:solidFill>
            <a:srgbClr val="046A38"/>
          </a:solidFill>
        </a:ln>
      </dgm:spPr>
      <dgm:t>
        <a:bodyPr/>
        <a:lstStyle/>
        <a:p>
          <a:endParaRPr lang="en-US"/>
        </a:p>
      </dgm:t>
    </dgm:pt>
    <dgm:pt modelId="{5797BCC5-0E5B-4566-97F8-610563266B69}">
      <dgm:prSet phldrT="[Text]" custT="1"/>
      <dgm:spPr>
        <a:ln>
          <a:solidFill>
            <a:srgbClr val="046A38"/>
          </a:solidFill>
        </a:ln>
      </dgm:spPr>
      <dgm:t>
        <a:bodyPr/>
        <a:lstStyle/>
        <a:p>
          <a:pPr algn="l"/>
          <a:r>
            <a:rPr lang="es-ES" sz="1200"/>
            <a:t>Ser positivos y estar orientados a las soluciones con los miembros del equipo y los implicados.</a:t>
          </a:r>
          <a:endParaRPr lang="en-US" sz="1200"/>
        </a:p>
      </dgm:t>
    </dgm:pt>
    <dgm:pt modelId="{A9730AD3-585C-4CE3-93E7-6A5E931FF197}" type="sibTrans" cxnId="{1ED8A2E7-1149-4AA7-B32F-F091B1E85B0D}">
      <dgm:prSet/>
      <dgm:spPr/>
      <dgm:t>
        <a:bodyPr/>
        <a:lstStyle/>
        <a:p>
          <a:endParaRPr lang="en-US"/>
        </a:p>
      </dgm:t>
    </dgm:pt>
    <dgm:pt modelId="{CABE3104-DD59-442F-B81A-8BC98B1CFBF6}" type="parTrans" cxnId="{1ED8A2E7-1149-4AA7-B32F-F091B1E85B0D}">
      <dgm:prSet/>
      <dgm:spPr>
        <a:ln>
          <a:solidFill>
            <a:srgbClr val="046A38"/>
          </a:solidFill>
        </a:ln>
      </dgm:spPr>
      <dgm:t>
        <a:bodyPr/>
        <a:lstStyle/>
        <a:p>
          <a:endParaRPr lang="en-US"/>
        </a:p>
      </dgm:t>
    </dgm:pt>
    <dgm:pt modelId="{2CFD376F-E7DB-4D98-8610-FDA57074F3DC}">
      <dgm:prSet phldrT="[Text]" custT="1"/>
      <dgm:spPr>
        <a:solidFill>
          <a:schemeClr val="accent2"/>
        </a:solidFill>
      </dgm:spPr>
      <dgm:t>
        <a:bodyPr/>
        <a:lstStyle/>
        <a:p>
          <a:r>
            <a:rPr lang="es-ES" sz="1400" b="1"/>
            <a:t>Competencias</a:t>
          </a:r>
          <a:endParaRPr lang="en-US" sz="1400">
            <a:solidFill>
              <a:schemeClr val="bg1"/>
            </a:solidFill>
          </a:endParaRPr>
        </a:p>
      </dgm:t>
    </dgm:pt>
    <dgm:pt modelId="{1C86744E-375F-4646-B4FC-DA712BDA6A40}" type="sibTrans" cxnId="{9DE144EF-9E4E-4CAD-96BE-A7A01F3F5565}">
      <dgm:prSet/>
      <dgm:spPr/>
      <dgm:t>
        <a:bodyPr/>
        <a:lstStyle/>
        <a:p>
          <a:endParaRPr lang="en-US"/>
        </a:p>
      </dgm:t>
    </dgm:pt>
    <dgm:pt modelId="{C75091F0-953F-49EA-8E95-B4B2444C2F2F}" type="parTrans" cxnId="{9DE144EF-9E4E-4CAD-96BE-A7A01F3F5565}">
      <dgm:prSet/>
      <dgm:spPr/>
      <dgm:t>
        <a:bodyPr/>
        <a:lstStyle/>
        <a:p>
          <a:endParaRPr lang="en-US"/>
        </a:p>
      </dgm:t>
    </dgm:pt>
    <dgm:pt modelId="{B0528F71-ABDD-4791-AC89-BE9CE2974E51}" type="pres">
      <dgm:prSet presAssocID="{F9C9FFDC-8237-4CF7-96CF-C6BF5518FE44}" presName="diagram" presStyleCnt="0">
        <dgm:presLayoutVars>
          <dgm:chPref val="1"/>
          <dgm:dir/>
          <dgm:animOne val="branch"/>
          <dgm:animLvl val="lvl"/>
          <dgm:resizeHandles/>
        </dgm:presLayoutVars>
      </dgm:prSet>
      <dgm:spPr/>
    </dgm:pt>
    <dgm:pt modelId="{DE8F0946-C01C-43E3-BE2D-69CD40F26E80}" type="pres">
      <dgm:prSet presAssocID="{2CFD376F-E7DB-4D98-8610-FDA57074F3DC}" presName="root" presStyleCnt="0"/>
      <dgm:spPr/>
    </dgm:pt>
    <dgm:pt modelId="{82B6E71B-EBAF-4C6D-B7BD-E9AA77920D80}" type="pres">
      <dgm:prSet presAssocID="{2CFD376F-E7DB-4D98-8610-FDA57074F3DC}" presName="rootComposite" presStyleCnt="0"/>
      <dgm:spPr/>
    </dgm:pt>
    <dgm:pt modelId="{A67D1B5A-8C74-4428-BE9F-5140AF431C87}" type="pres">
      <dgm:prSet presAssocID="{2CFD376F-E7DB-4D98-8610-FDA57074F3DC}" presName="rootText" presStyleLbl="node1" presStyleIdx="0" presStyleCnt="1" custScaleX="430656" custScaleY="68085" custLinFactNeighborX="34960" custLinFactNeighborY="-91134"/>
      <dgm:spPr/>
    </dgm:pt>
    <dgm:pt modelId="{5E128362-B522-4F29-B863-47D94C2FE9B6}" type="pres">
      <dgm:prSet presAssocID="{2CFD376F-E7DB-4D98-8610-FDA57074F3DC}" presName="rootConnector" presStyleLbl="node1" presStyleIdx="0" presStyleCnt="1"/>
      <dgm:spPr/>
    </dgm:pt>
    <dgm:pt modelId="{7CEA6EA5-5D5E-41EA-82A9-69E5E5C89730}" type="pres">
      <dgm:prSet presAssocID="{2CFD376F-E7DB-4D98-8610-FDA57074F3DC}" presName="childShape" presStyleCnt="0"/>
      <dgm:spPr/>
    </dgm:pt>
    <dgm:pt modelId="{075124B1-2FDB-44D8-8B20-B8420B4E66D9}" type="pres">
      <dgm:prSet presAssocID="{CABE3104-DD59-442F-B81A-8BC98B1CFBF6}" presName="Name13" presStyleLbl="parChTrans1D2" presStyleIdx="0" presStyleCnt="8"/>
      <dgm:spPr/>
    </dgm:pt>
    <dgm:pt modelId="{C5154F7E-3AEC-475E-9D6F-C7831A451904}" type="pres">
      <dgm:prSet presAssocID="{5797BCC5-0E5B-4566-97F8-610563266B69}" presName="childText" presStyleLbl="bgAcc1" presStyleIdx="0" presStyleCnt="8" custScaleX="880089" custScaleY="47884" custLinFactNeighborX="2086" custLinFactNeighborY="-69862">
        <dgm:presLayoutVars>
          <dgm:bulletEnabled val="1"/>
        </dgm:presLayoutVars>
      </dgm:prSet>
      <dgm:spPr/>
    </dgm:pt>
    <dgm:pt modelId="{6F09AAE9-EB2D-4BF9-AF58-F10E25826E38}" type="pres">
      <dgm:prSet presAssocID="{77AE6244-8E70-4BE3-B838-80B001859BEC}" presName="Name13" presStyleLbl="parChTrans1D2" presStyleIdx="1" presStyleCnt="8"/>
      <dgm:spPr/>
    </dgm:pt>
    <dgm:pt modelId="{3A573BF2-AB6E-4D4B-8827-B8FA1C52C3FA}" type="pres">
      <dgm:prSet presAssocID="{706ADE8D-9934-42EE-AFE6-DC5D0955827F}" presName="childText" presStyleLbl="bgAcc1" presStyleIdx="1" presStyleCnt="8" custScaleX="791854" custScaleY="47884" custLinFactNeighborX="2086" custLinFactNeighborY="-69862">
        <dgm:presLayoutVars>
          <dgm:bulletEnabled val="1"/>
        </dgm:presLayoutVars>
      </dgm:prSet>
      <dgm:spPr/>
    </dgm:pt>
    <dgm:pt modelId="{E2A3D87A-9C5B-4E46-9924-38E8CBC2FBA4}" type="pres">
      <dgm:prSet presAssocID="{DA43BAF5-DCCC-45CB-813D-446581EA2D4A}" presName="Name13" presStyleLbl="parChTrans1D2" presStyleIdx="2" presStyleCnt="8"/>
      <dgm:spPr/>
    </dgm:pt>
    <dgm:pt modelId="{935995E8-1CBD-40D2-A010-65128E12BB67}" type="pres">
      <dgm:prSet presAssocID="{CD529ED7-7CF7-4BFF-B14C-DC39011B59DF}" presName="childText" presStyleLbl="bgAcc1" presStyleIdx="2" presStyleCnt="8" custScaleX="528526" custScaleY="47884" custLinFactNeighborX="2086" custLinFactNeighborY="-69862">
        <dgm:presLayoutVars>
          <dgm:bulletEnabled val="1"/>
        </dgm:presLayoutVars>
      </dgm:prSet>
      <dgm:spPr/>
    </dgm:pt>
    <dgm:pt modelId="{EFE3F865-9820-49E9-978D-EB35FE6809F8}" type="pres">
      <dgm:prSet presAssocID="{4730FF64-5C02-4467-B6BB-C3D521B2BAA7}" presName="Name13" presStyleLbl="parChTrans1D2" presStyleIdx="3" presStyleCnt="8"/>
      <dgm:spPr/>
    </dgm:pt>
    <dgm:pt modelId="{DF516282-88F3-4E43-9E00-4F5CDC872AA7}" type="pres">
      <dgm:prSet presAssocID="{E457D54D-933D-484C-B9BB-ACA38B4BD1B2}" presName="childText" presStyleLbl="bgAcc1" presStyleIdx="3" presStyleCnt="8" custScaleX="1080348" custScaleY="47884" custLinFactNeighborX="2086" custLinFactNeighborY="-69862">
        <dgm:presLayoutVars>
          <dgm:bulletEnabled val="1"/>
        </dgm:presLayoutVars>
      </dgm:prSet>
      <dgm:spPr/>
    </dgm:pt>
    <dgm:pt modelId="{20144766-9D3F-4EA7-82B8-8501BB029C90}" type="pres">
      <dgm:prSet presAssocID="{51777E26-E223-4E77-9B49-DDA7DFF224FF}" presName="Name13" presStyleLbl="parChTrans1D2" presStyleIdx="4" presStyleCnt="8"/>
      <dgm:spPr/>
    </dgm:pt>
    <dgm:pt modelId="{1B2199F0-3BB8-4861-A089-B3A18654DFDF}" type="pres">
      <dgm:prSet presAssocID="{8F250492-29E7-46F4-AAD1-B9AEF8D9248E}" presName="childText" presStyleLbl="bgAcc1" presStyleIdx="4" presStyleCnt="8" custScaleX="746516" custScaleY="47884" custLinFactNeighborX="2086" custLinFactNeighborY="-69862">
        <dgm:presLayoutVars>
          <dgm:bulletEnabled val="1"/>
        </dgm:presLayoutVars>
      </dgm:prSet>
      <dgm:spPr/>
    </dgm:pt>
    <dgm:pt modelId="{9FB34EBC-1C73-4DA3-B971-E82A7D9DA01A}" type="pres">
      <dgm:prSet presAssocID="{3829B5BB-9107-43C0-A72D-950C2D9C88EB}" presName="Name13" presStyleLbl="parChTrans1D2" presStyleIdx="5" presStyleCnt="8"/>
      <dgm:spPr/>
    </dgm:pt>
    <dgm:pt modelId="{B4E69D34-EC51-4CEB-8776-BB439E51E45F}" type="pres">
      <dgm:prSet presAssocID="{77DCADAC-E510-490F-B616-53A9DB1CE953}" presName="childText" presStyleLbl="bgAcc1" presStyleIdx="5" presStyleCnt="8" custScaleX="966868" custScaleY="47884" custLinFactNeighborX="2086" custLinFactNeighborY="-69862">
        <dgm:presLayoutVars>
          <dgm:bulletEnabled val="1"/>
        </dgm:presLayoutVars>
      </dgm:prSet>
      <dgm:spPr/>
    </dgm:pt>
    <dgm:pt modelId="{08782D88-052A-4B79-BE5A-D441225B00E8}" type="pres">
      <dgm:prSet presAssocID="{ACC4EB41-C27A-4FE8-AAD0-DE986DEE6DA5}" presName="Name13" presStyleLbl="parChTrans1D2" presStyleIdx="6" presStyleCnt="8"/>
      <dgm:spPr/>
    </dgm:pt>
    <dgm:pt modelId="{2F867CD0-E315-4CD2-9980-ED1E5F349068}" type="pres">
      <dgm:prSet presAssocID="{2F3CC40D-34CF-49E1-98EB-2CED1F3B342F}" presName="childText" presStyleLbl="bgAcc1" presStyleIdx="6" presStyleCnt="8" custScaleX="987608" custScaleY="47884" custLinFactNeighborX="2086" custLinFactNeighborY="-69862">
        <dgm:presLayoutVars>
          <dgm:bulletEnabled val="1"/>
        </dgm:presLayoutVars>
      </dgm:prSet>
      <dgm:spPr/>
    </dgm:pt>
    <dgm:pt modelId="{4905C225-7FB9-4C5E-B148-DE2D2ECAEB36}" type="pres">
      <dgm:prSet presAssocID="{30E07C0C-145E-4EEF-BE6B-3804ED2954DF}" presName="Name13" presStyleLbl="parChTrans1D2" presStyleIdx="7" presStyleCnt="8"/>
      <dgm:spPr/>
    </dgm:pt>
    <dgm:pt modelId="{9786223D-83F2-48C3-B37A-A27C4BB970CF}" type="pres">
      <dgm:prSet presAssocID="{E010AA40-6B5C-4FCD-B433-3EC3BF820979}" presName="childText" presStyleLbl="bgAcc1" presStyleIdx="7" presStyleCnt="8" custScaleX="385313" custScaleY="47884" custLinFactNeighborX="2086" custLinFactNeighborY="-69862">
        <dgm:presLayoutVars>
          <dgm:bulletEnabled val="1"/>
        </dgm:presLayoutVars>
      </dgm:prSet>
      <dgm:spPr/>
    </dgm:pt>
  </dgm:ptLst>
  <dgm:cxnLst>
    <dgm:cxn modelId="{88D18F00-56C0-491A-86EF-8C38D2C916B1}" type="presOf" srcId="{CABE3104-DD59-442F-B81A-8BC98B1CFBF6}" destId="{075124B1-2FDB-44D8-8B20-B8420B4E66D9}" srcOrd="0" destOrd="0" presId="urn:microsoft.com/office/officeart/2005/8/layout/hierarchy3"/>
    <dgm:cxn modelId="{71F7C003-27BF-4A46-B729-80F73133B379}" type="presOf" srcId="{CD529ED7-7CF7-4BFF-B14C-DC39011B59DF}" destId="{935995E8-1CBD-40D2-A010-65128E12BB67}" srcOrd="0" destOrd="0" presId="urn:microsoft.com/office/officeart/2005/8/layout/hierarchy3"/>
    <dgm:cxn modelId="{8624B908-37A4-4262-B43F-B65D3A4B1A91}" type="presOf" srcId="{3829B5BB-9107-43C0-A72D-950C2D9C88EB}" destId="{9FB34EBC-1C73-4DA3-B971-E82A7D9DA01A}" srcOrd="0" destOrd="0" presId="urn:microsoft.com/office/officeart/2005/8/layout/hierarchy3"/>
    <dgm:cxn modelId="{E4D63715-6765-49BC-A1F4-EA0A2E47673F}" type="presOf" srcId="{77AE6244-8E70-4BE3-B838-80B001859BEC}" destId="{6F09AAE9-EB2D-4BF9-AF58-F10E25826E38}" srcOrd="0" destOrd="0" presId="urn:microsoft.com/office/officeart/2005/8/layout/hierarchy3"/>
    <dgm:cxn modelId="{F9A35720-4130-4184-BBA8-8A8A5287D0F2}" type="presOf" srcId="{706ADE8D-9934-42EE-AFE6-DC5D0955827F}" destId="{3A573BF2-AB6E-4D4B-8827-B8FA1C52C3FA}" srcOrd="0" destOrd="0" presId="urn:microsoft.com/office/officeart/2005/8/layout/hierarchy3"/>
    <dgm:cxn modelId="{83445627-861C-4C2B-A9E4-984B2DE49090}" type="presOf" srcId="{E457D54D-933D-484C-B9BB-ACA38B4BD1B2}" destId="{DF516282-88F3-4E43-9E00-4F5CDC872AA7}" srcOrd="0" destOrd="0" presId="urn:microsoft.com/office/officeart/2005/8/layout/hierarchy3"/>
    <dgm:cxn modelId="{932BD62D-BA72-4D96-9F9D-20D823804487}" srcId="{2CFD376F-E7DB-4D98-8610-FDA57074F3DC}" destId="{E010AA40-6B5C-4FCD-B433-3EC3BF820979}" srcOrd="7" destOrd="0" parTransId="{30E07C0C-145E-4EEF-BE6B-3804ED2954DF}" sibTransId="{9493FE69-CADF-4C32-8A35-418AF42EBE8C}"/>
    <dgm:cxn modelId="{E14DAA5B-CE4E-4F79-9573-D880B355A86A}" type="presOf" srcId="{2CFD376F-E7DB-4D98-8610-FDA57074F3DC}" destId="{5E128362-B522-4F29-B863-47D94C2FE9B6}" srcOrd="1" destOrd="0" presId="urn:microsoft.com/office/officeart/2005/8/layout/hierarchy3"/>
    <dgm:cxn modelId="{9F29B561-17A3-4752-AF04-971D3CB25A30}" srcId="{2CFD376F-E7DB-4D98-8610-FDA57074F3DC}" destId="{2F3CC40D-34CF-49E1-98EB-2CED1F3B342F}" srcOrd="6" destOrd="0" parTransId="{ACC4EB41-C27A-4FE8-AAD0-DE986DEE6DA5}" sibTransId="{4BA32E17-5F22-44E2-8560-B00FAEDD82EB}"/>
    <dgm:cxn modelId="{B9C6C045-8934-4775-A13E-C260DBFBD8A5}" type="presOf" srcId="{2F3CC40D-34CF-49E1-98EB-2CED1F3B342F}" destId="{2F867CD0-E315-4CD2-9980-ED1E5F349068}" srcOrd="0" destOrd="0" presId="urn:microsoft.com/office/officeart/2005/8/layout/hierarchy3"/>
    <dgm:cxn modelId="{F32AA549-B8DC-400D-8950-1D583FF8906B}" type="presOf" srcId="{ACC4EB41-C27A-4FE8-AAD0-DE986DEE6DA5}" destId="{08782D88-052A-4B79-BE5A-D441225B00E8}" srcOrd="0" destOrd="0" presId="urn:microsoft.com/office/officeart/2005/8/layout/hierarchy3"/>
    <dgm:cxn modelId="{1294B14B-EE81-405C-8EC7-D65430EEA92B}" type="presOf" srcId="{5797BCC5-0E5B-4566-97F8-610563266B69}" destId="{C5154F7E-3AEC-475E-9D6F-C7831A451904}" srcOrd="0" destOrd="0" presId="urn:microsoft.com/office/officeart/2005/8/layout/hierarchy3"/>
    <dgm:cxn modelId="{52E8E76D-3EFC-404F-AE74-45CE167734FA}" srcId="{2CFD376F-E7DB-4D98-8610-FDA57074F3DC}" destId="{CD529ED7-7CF7-4BFF-B14C-DC39011B59DF}" srcOrd="2" destOrd="0" parTransId="{DA43BAF5-DCCC-45CB-813D-446581EA2D4A}" sibTransId="{EBD64675-DB3C-4A3E-8E5F-E99992D5320B}"/>
    <dgm:cxn modelId="{51CB4550-AA45-441A-8DDB-B3E261E7B1DD}" srcId="{2CFD376F-E7DB-4D98-8610-FDA57074F3DC}" destId="{E457D54D-933D-484C-B9BB-ACA38B4BD1B2}" srcOrd="3" destOrd="0" parTransId="{4730FF64-5C02-4467-B6BB-C3D521B2BAA7}" sibTransId="{3628DCE4-16D2-4DF8-AE5D-821237B66DFF}"/>
    <dgm:cxn modelId="{78661453-CC5A-4122-A94D-CA8506A765AF}" srcId="{2CFD376F-E7DB-4D98-8610-FDA57074F3DC}" destId="{706ADE8D-9934-42EE-AFE6-DC5D0955827F}" srcOrd="1" destOrd="0" parTransId="{77AE6244-8E70-4BE3-B838-80B001859BEC}" sibTransId="{6F2892C8-2B66-4734-B263-AAD903D79316}"/>
    <dgm:cxn modelId="{ED000B56-2E32-411F-81F5-0C23D1BF2B81}" type="presOf" srcId="{F9C9FFDC-8237-4CF7-96CF-C6BF5518FE44}" destId="{B0528F71-ABDD-4791-AC89-BE9CE2974E51}" srcOrd="0" destOrd="0" presId="urn:microsoft.com/office/officeart/2005/8/layout/hierarchy3"/>
    <dgm:cxn modelId="{5AEC7C85-31EA-4907-B36C-CF4E4FD7193D}" type="presOf" srcId="{8F250492-29E7-46F4-AAD1-B9AEF8D9248E}" destId="{1B2199F0-3BB8-4861-A089-B3A18654DFDF}" srcOrd="0" destOrd="0" presId="urn:microsoft.com/office/officeart/2005/8/layout/hierarchy3"/>
    <dgm:cxn modelId="{C41EEB96-7B9E-447F-A6D2-A9E8709F13EB}" type="presOf" srcId="{2CFD376F-E7DB-4D98-8610-FDA57074F3DC}" destId="{A67D1B5A-8C74-4428-BE9F-5140AF431C87}" srcOrd="0" destOrd="0" presId="urn:microsoft.com/office/officeart/2005/8/layout/hierarchy3"/>
    <dgm:cxn modelId="{54D505A6-867D-441A-BAFE-C62C9DDF429C}" type="presOf" srcId="{DA43BAF5-DCCC-45CB-813D-446581EA2D4A}" destId="{E2A3D87A-9C5B-4E46-9924-38E8CBC2FBA4}" srcOrd="0" destOrd="0" presId="urn:microsoft.com/office/officeart/2005/8/layout/hierarchy3"/>
    <dgm:cxn modelId="{A527A1AB-0135-4889-A749-D8D329B86978}" type="presOf" srcId="{E010AA40-6B5C-4FCD-B433-3EC3BF820979}" destId="{9786223D-83F2-48C3-B37A-A27C4BB970CF}" srcOrd="0" destOrd="0" presId="urn:microsoft.com/office/officeart/2005/8/layout/hierarchy3"/>
    <dgm:cxn modelId="{44C868B2-8791-45D0-AFAC-7C77EB6E9ADF}" type="presOf" srcId="{51777E26-E223-4E77-9B49-DDA7DFF224FF}" destId="{20144766-9D3F-4EA7-82B8-8501BB029C90}" srcOrd="0" destOrd="0" presId="urn:microsoft.com/office/officeart/2005/8/layout/hierarchy3"/>
    <dgm:cxn modelId="{F7A0A4B4-596E-4DB4-B3AD-5179D0703F03}" type="presOf" srcId="{4730FF64-5C02-4467-B6BB-C3D521B2BAA7}" destId="{EFE3F865-9820-49E9-978D-EB35FE6809F8}" srcOrd="0" destOrd="0" presId="urn:microsoft.com/office/officeart/2005/8/layout/hierarchy3"/>
    <dgm:cxn modelId="{C37E0CBC-578B-4F23-8D8D-8C56C5017B47}" type="presOf" srcId="{77DCADAC-E510-490F-B616-53A9DB1CE953}" destId="{B4E69D34-EC51-4CEB-8776-BB439E51E45F}" srcOrd="0" destOrd="0" presId="urn:microsoft.com/office/officeart/2005/8/layout/hierarchy3"/>
    <dgm:cxn modelId="{FBA3A4C2-9C72-49B0-8EAC-353A174EFE93}" type="presOf" srcId="{30E07C0C-145E-4EEF-BE6B-3804ED2954DF}" destId="{4905C225-7FB9-4C5E-B148-DE2D2ECAEB36}" srcOrd="0" destOrd="0" presId="urn:microsoft.com/office/officeart/2005/8/layout/hierarchy3"/>
    <dgm:cxn modelId="{43FAEEC8-D482-4A85-ACB6-C5FB8E759B34}" srcId="{2CFD376F-E7DB-4D98-8610-FDA57074F3DC}" destId="{8F250492-29E7-46F4-AAD1-B9AEF8D9248E}" srcOrd="4" destOrd="0" parTransId="{51777E26-E223-4E77-9B49-DDA7DFF224FF}" sibTransId="{01209BCF-2162-4E84-BE07-F6378FCFE8E3}"/>
    <dgm:cxn modelId="{942527E7-70E9-4799-B5BF-61F08D6EA138}" srcId="{2CFD376F-E7DB-4D98-8610-FDA57074F3DC}" destId="{77DCADAC-E510-490F-B616-53A9DB1CE953}" srcOrd="5" destOrd="0" parTransId="{3829B5BB-9107-43C0-A72D-950C2D9C88EB}" sibTransId="{152AD6B3-EFC6-4461-B510-F4A2D35A6E0C}"/>
    <dgm:cxn modelId="{1ED8A2E7-1149-4AA7-B32F-F091B1E85B0D}" srcId="{2CFD376F-E7DB-4D98-8610-FDA57074F3DC}" destId="{5797BCC5-0E5B-4566-97F8-610563266B69}" srcOrd="0" destOrd="0" parTransId="{CABE3104-DD59-442F-B81A-8BC98B1CFBF6}" sibTransId="{A9730AD3-585C-4CE3-93E7-6A5E931FF197}"/>
    <dgm:cxn modelId="{9DE144EF-9E4E-4CAD-96BE-A7A01F3F5565}" srcId="{F9C9FFDC-8237-4CF7-96CF-C6BF5518FE44}" destId="{2CFD376F-E7DB-4D98-8610-FDA57074F3DC}" srcOrd="0" destOrd="0" parTransId="{C75091F0-953F-49EA-8E95-B4B2444C2F2F}" sibTransId="{1C86744E-375F-4646-B4FC-DA712BDA6A40}"/>
    <dgm:cxn modelId="{550A026B-458A-4D21-B356-ECF65F5BB7B1}" type="presParOf" srcId="{B0528F71-ABDD-4791-AC89-BE9CE2974E51}" destId="{DE8F0946-C01C-43E3-BE2D-69CD40F26E80}" srcOrd="0" destOrd="0" presId="urn:microsoft.com/office/officeart/2005/8/layout/hierarchy3"/>
    <dgm:cxn modelId="{AB01C9A6-D920-4483-9C08-4CFFD9A93171}" type="presParOf" srcId="{DE8F0946-C01C-43E3-BE2D-69CD40F26E80}" destId="{82B6E71B-EBAF-4C6D-B7BD-E9AA77920D80}" srcOrd="0" destOrd="0" presId="urn:microsoft.com/office/officeart/2005/8/layout/hierarchy3"/>
    <dgm:cxn modelId="{4C14A3ED-E211-44E9-86E1-0C570D7B6E40}" type="presParOf" srcId="{82B6E71B-EBAF-4C6D-B7BD-E9AA77920D80}" destId="{A67D1B5A-8C74-4428-BE9F-5140AF431C87}" srcOrd="0" destOrd="0" presId="urn:microsoft.com/office/officeart/2005/8/layout/hierarchy3"/>
    <dgm:cxn modelId="{8A41F009-CCBC-47C7-B84E-5905610F2B97}" type="presParOf" srcId="{82B6E71B-EBAF-4C6D-B7BD-E9AA77920D80}" destId="{5E128362-B522-4F29-B863-47D94C2FE9B6}" srcOrd="1" destOrd="0" presId="urn:microsoft.com/office/officeart/2005/8/layout/hierarchy3"/>
    <dgm:cxn modelId="{048782F3-771A-479D-B827-C9D027A8452A}" type="presParOf" srcId="{DE8F0946-C01C-43E3-BE2D-69CD40F26E80}" destId="{7CEA6EA5-5D5E-41EA-82A9-69E5E5C89730}" srcOrd="1" destOrd="0" presId="urn:microsoft.com/office/officeart/2005/8/layout/hierarchy3"/>
    <dgm:cxn modelId="{36F9FD0F-C977-4976-BF0C-2A6BFB4F9E13}" type="presParOf" srcId="{7CEA6EA5-5D5E-41EA-82A9-69E5E5C89730}" destId="{075124B1-2FDB-44D8-8B20-B8420B4E66D9}" srcOrd="0" destOrd="0" presId="urn:microsoft.com/office/officeart/2005/8/layout/hierarchy3"/>
    <dgm:cxn modelId="{5AEF5DD1-C080-419E-A4F0-4174977B3989}" type="presParOf" srcId="{7CEA6EA5-5D5E-41EA-82A9-69E5E5C89730}" destId="{C5154F7E-3AEC-475E-9D6F-C7831A451904}" srcOrd="1" destOrd="0" presId="urn:microsoft.com/office/officeart/2005/8/layout/hierarchy3"/>
    <dgm:cxn modelId="{897AA911-C11A-418E-A682-5AF559F2A38C}" type="presParOf" srcId="{7CEA6EA5-5D5E-41EA-82A9-69E5E5C89730}" destId="{6F09AAE9-EB2D-4BF9-AF58-F10E25826E38}" srcOrd="2" destOrd="0" presId="urn:microsoft.com/office/officeart/2005/8/layout/hierarchy3"/>
    <dgm:cxn modelId="{0AA778F2-7A4C-4A25-BA49-CBE60280F725}" type="presParOf" srcId="{7CEA6EA5-5D5E-41EA-82A9-69E5E5C89730}" destId="{3A573BF2-AB6E-4D4B-8827-B8FA1C52C3FA}" srcOrd="3" destOrd="0" presId="urn:microsoft.com/office/officeart/2005/8/layout/hierarchy3"/>
    <dgm:cxn modelId="{3BACCDFA-19A3-4063-9634-EF8FDAB3784E}" type="presParOf" srcId="{7CEA6EA5-5D5E-41EA-82A9-69E5E5C89730}" destId="{E2A3D87A-9C5B-4E46-9924-38E8CBC2FBA4}" srcOrd="4" destOrd="0" presId="urn:microsoft.com/office/officeart/2005/8/layout/hierarchy3"/>
    <dgm:cxn modelId="{BC36BFEA-B9D0-4264-A97C-EBEDF2A98220}" type="presParOf" srcId="{7CEA6EA5-5D5E-41EA-82A9-69E5E5C89730}" destId="{935995E8-1CBD-40D2-A010-65128E12BB67}" srcOrd="5" destOrd="0" presId="urn:microsoft.com/office/officeart/2005/8/layout/hierarchy3"/>
    <dgm:cxn modelId="{317AFB8D-D501-4B0B-8350-0CB58326A43C}" type="presParOf" srcId="{7CEA6EA5-5D5E-41EA-82A9-69E5E5C89730}" destId="{EFE3F865-9820-49E9-978D-EB35FE6809F8}" srcOrd="6" destOrd="0" presId="urn:microsoft.com/office/officeart/2005/8/layout/hierarchy3"/>
    <dgm:cxn modelId="{0D39AAF8-533A-45F0-9F7C-02DAB92A60A2}" type="presParOf" srcId="{7CEA6EA5-5D5E-41EA-82A9-69E5E5C89730}" destId="{DF516282-88F3-4E43-9E00-4F5CDC872AA7}" srcOrd="7" destOrd="0" presId="urn:microsoft.com/office/officeart/2005/8/layout/hierarchy3"/>
    <dgm:cxn modelId="{A1210EBD-48AA-47A6-8249-F8F0048F9586}" type="presParOf" srcId="{7CEA6EA5-5D5E-41EA-82A9-69E5E5C89730}" destId="{20144766-9D3F-4EA7-82B8-8501BB029C90}" srcOrd="8" destOrd="0" presId="urn:microsoft.com/office/officeart/2005/8/layout/hierarchy3"/>
    <dgm:cxn modelId="{DDFAA98F-3603-4197-926E-FBC417592EA4}" type="presParOf" srcId="{7CEA6EA5-5D5E-41EA-82A9-69E5E5C89730}" destId="{1B2199F0-3BB8-4861-A089-B3A18654DFDF}" srcOrd="9" destOrd="0" presId="urn:microsoft.com/office/officeart/2005/8/layout/hierarchy3"/>
    <dgm:cxn modelId="{1EED5D3B-1BCF-4EB2-B7B4-B92DC9C8B9F0}" type="presParOf" srcId="{7CEA6EA5-5D5E-41EA-82A9-69E5E5C89730}" destId="{9FB34EBC-1C73-4DA3-B971-E82A7D9DA01A}" srcOrd="10" destOrd="0" presId="urn:microsoft.com/office/officeart/2005/8/layout/hierarchy3"/>
    <dgm:cxn modelId="{7BA8D1EB-4C15-4FF5-A7A1-3A4D6495D79F}" type="presParOf" srcId="{7CEA6EA5-5D5E-41EA-82A9-69E5E5C89730}" destId="{B4E69D34-EC51-4CEB-8776-BB439E51E45F}" srcOrd="11" destOrd="0" presId="urn:microsoft.com/office/officeart/2005/8/layout/hierarchy3"/>
    <dgm:cxn modelId="{A8077410-BF28-492E-8C5A-405D26D824E3}" type="presParOf" srcId="{7CEA6EA5-5D5E-41EA-82A9-69E5E5C89730}" destId="{08782D88-052A-4B79-BE5A-D441225B00E8}" srcOrd="12" destOrd="0" presId="urn:microsoft.com/office/officeart/2005/8/layout/hierarchy3"/>
    <dgm:cxn modelId="{C510A240-D9F5-49A8-93E0-328426ED119B}" type="presParOf" srcId="{7CEA6EA5-5D5E-41EA-82A9-69E5E5C89730}" destId="{2F867CD0-E315-4CD2-9980-ED1E5F349068}" srcOrd="13" destOrd="0" presId="urn:microsoft.com/office/officeart/2005/8/layout/hierarchy3"/>
    <dgm:cxn modelId="{9F830297-6901-47D4-B628-4748ED634EF1}" type="presParOf" srcId="{7CEA6EA5-5D5E-41EA-82A9-69E5E5C89730}" destId="{4905C225-7FB9-4C5E-B148-DE2D2ECAEB36}" srcOrd="14" destOrd="0" presId="urn:microsoft.com/office/officeart/2005/8/layout/hierarchy3"/>
    <dgm:cxn modelId="{092041B3-87A3-423D-9FD9-29DE5D7E6B6E}" type="presParOf" srcId="{7CEA6EA5-5D5E-41EA-82A9-69E5E5C89730}" destId="{9786223D-83F2-48C3-B37A-A27C4BB970CF}" srcOrd="15" destOrd="0" presId="urn:microsoft.com/office/officeart/2005/8/layout/hierarchy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6E5C2B5-79A6-497D-BFD6-436013DC21FA}" type="doc">
      <dgm:prSet loTypeId="urn:microsoft.com/office/officeart/2005/8/layout/orgChart1" loCatId="hierarchy" qsTypeId="urn:microsoft.com/office/officeart/2005/8/quickstyle/simple1" qsCatId="simple" csTypeId="urn:microsoft.com/office/officeart/2005/8/colors/accent1_1" csCatId="accent1" phldr="1"/>
      <dgm:spPr/>
      <dgm:t>
        <a:bodyPr/>
        <a:lstStyle/>
        <a:p>
          <a:endParaRPr lang="es-ES"/>
        </a:p>
      </dgm:t>
    </dgm:pt>
    <dgm:pt modelId="{C16E677A-6C4A-4069-95F5-52312D54BDED}">
      <dgm:prSet phldrT="[Text]"/>
      <dgm:spPr/>
      <dgm:t>
        <a:bodyPr/>
        <a:lstStyle/>
        <a:p>
          <a:r>
            <a:rPr lang="es-ES_tradnl" b="0"/>
            <a:t>Tipos</a:t>
          </a:r>
          <a:endParaRPr lang="es-ES" b="0"/>
        </a:p>
      </dgm:t>
    </dgm:pt>
    <dgm:pt modelId="{554F8024-0240-48B5-B0AD-560EAAF891A5}" type="parTrans" cxnId="{49F851AC-53DB-4B2E-8267-8BF3DA3C47DB}">
      <dgm:prSet/>
      <dgm:spPr/>
      <dgm:t>
        <a:bodyPr/>
        <a:lstStyle/>
        <a:p>
          <a:endParaRPr lang="es-ES" b="0"/>
        </a:p>
      </dgm:t>
    </dgm:pt>
    <dgm:pt modelId="{B6642C99-4564-4E53-B589-8BEC31A48B0C}" type="sibTrans" cxnId="{49F851AC-53DB-4B2E-8267-8BF3DA3C47DB}">
      <dgm:prSet/>
      <dgm:spPr/>
      <dgm:t>
        <a:bodyPr/>
        <a:lstStyle/>
        <a:p>
          <a:endParaRPr lang="es-ES" b="0"/>
        </a:p>
      </dgm:t>
    </dgm:pt>
    <dgm:pt modelId="{145100A6-3604-4AFD-96BD-63CEEEB3B8F8}">
      <dgm:prSet phldrT="[Text]"/>
      <dgm:spPr/>
      <dgm:t>
        <a:bodyPr/>
        <a:lstStyle/>
        <a:p>
          <a:r>
            <a:rPr lang="es-ES_tradnl" b="0"/>
            <a:t>Desarrollo guiado por pruebas</a:t>
          </a:r>
        </a:p>
        <a:p>
          <a:r>
            <a:rPr lang="es-ES_tradnl" b="0"/>
            <a:t>TDD</a:t>
          </a:r>
          <a:endParaRPr lang="es-ES" b="0"/>
        </a:p>
      </dgm:t>
    </dgm:pt>
    <dgm:pt modelId="{5422490F-836D-40A1-BA91-A3FC8AF261C6}" type="parTrans" cxnId="{C66BA1FE-5C1A-4B01-9029-1DEE6FDCE562}">
      <dgm:prSet/>
      <dgm:spPr/>
      <dgm:t>
        <a:bodyPr/>
        <a:lstStyle/>
        <a:p>
          <a:endParaRPr lang="es-ES" b="0"/>
        </a:p>
      </dgm:t>
    </dgm:pt>
    <dgm:pt modelId="{6DF7B200-4979-46BA-8FB2-D214267B1B2D}" type="sibTrans" cxnId="{C66BA1FE-5C1A-4B01-9029-1DEE6FDCE562}">
      <dgm:prSet/>
      <dgm:spPr/>
      <dgm:t>
        <a:bodyPr/>
        <a:lstStyle/>
        <a:p>
          <a:endParaRPr lang="es-ES" b="0"/>
        </a:p>
      </dgm:t>
    </dgm:pt>
    <dgm:pt modelId="{F960D0BE-1E59-46FA-B410-4CDEB7769E3D}">
      <dgm:prSet phldrT="[Text]"/>
      <dgm:spPr/>
      <dgm:t>
        <a:bodyPr/>
        <a:lstStyle/>
        <a:p>
          <a:r>
            <a:rPr lang="en-GB" altLang="en-US" b="0">
              <a:latin typeface="Verdana" pitchFamily="34" charset="0"/>
              <a:ea typeface="Arial" pitchFamily="34" charset="0"/>
              <a:cs typeface="Verdana" pitchFamily="34" charset="0"/>
            </a:rPr>
            <a:t>Desarrollo </a:t>
          </a:r>
          <a:r>
            <a:rPr lang="en-GB" altLang="en-US" b="0" err="1">
              <a:latin typeface="Verdana" pitchFamily="34" charset="0"/>
              <a:ea typeface="Arial" pitchFamily="34" charset="0"/>
              <a:cs typeface="Verdana" pitchFamily="34" charset="0"/>
            </a:rPr>
            <a:t>Guiado</a:t>
          </a:r>
          <a:r>
            <a:rPr lang="en-GB" altLang="en-US" b="0">
              <a:latin typeface="Verdana" pitchFamily="34" charset="0"/>
              <a:ea typeface="Arial" pitchFamily="34" charset="0"/>
              <a:cs typeface="Verdana" pitchFamily="34" charset="0"/>
            </a:rPr>
            <a:t> </a:t>
          </a:r>
          <a:r>
            <a:rPr lang="en-GB" altLang="en-US" b="0" err="1">
              <a:latin typeface="Verdana" pitchFamily="34" charset="0"/>
              <a:ea typeface="Arial" pitchFamily="34" charset="0"/>
              <a:cs typeface="Verdana" pitchFamily="34" charset="0"/>
            </a:rPr>
            <a:t>por</a:t>
          </a:r>
          <a:r>
            <a:rPr lang="en-GB" altLang="en-US" b="0">
              <a:latin typeface="Verdana" pitchFamily="34" charset="0"/>
              <a:ea typeface="Arial" pitchFamily="34" charset="0"/>
              <a:cs typeface="Verdana" pitchFamily="34" charset="0"/>
            </a:rPr>
            <a:t> </a:t>
          </a:r>
          <a:r>
            <a:rPr lang="en-GB" altLang="en-US" b="0" err="1">
              <a:latin typeface="Verdana" pitchFamily="34" charset="0"/>
              <a:ea typeface="Arial" pitchFamily="34" charset="0"/>
              <a:cs typeface="Verdana" pitchFamily="34" charset="0"/>
            </a:rPr>
            <a:t>Pruebas</a:t>
          </a:r>
          <a:r>
            <a:rPr lang="en-GB" altLang="en-US" b="0">
              <a:latin typeface="Verdana" pitchFamily="34" charset="0"/>
              <a:ea typeface="Arial" pitchFamily="34" charset="0"/>
              <a:cs typeface="Verdana" pitchFamily="34" charset="0"/>
            </a:rPr>
            <a:t> de </a:t>
          </a:r>
          <a:r>
            <a:rPr lang="en-GB" altLang="en-US" b="0" err="1">
              <a:latin typeface="Verdana" pitchFamily="34" charset="0"/>
              <a:ea typeface="Arial" pitchFamily="34" charset="0"/>
              <a:cs typeface="Verdana" pitchFamily="34" charset="0"/>
            </a:rPr>
            <a:t>Aceptación</a:t>
          </a:r>
          <a:r>
            <a:rPr lang="en-GB" altLang="en-US" b="0">
              <a:latin typeface="Verdana" pitchFamily="34" charset="0"/>
              <a:ea typeface="Arial" pitchFamily="34" charset="0"/>
              <a:cs typeface="Verdana" pitchFamily="34" charset="0"/>
            </a:rPr>
            <a:t> </a:t>
          </a:r>
        </a:p>
        <a:p>
          <a:r>
            <a:rPr lang="en-GB" b="0">
              <a:latin typeface="Verdana" pitchFamily="34" charset="0"/>
            </a:rPr>
            <a:t>ATDD</a:t>
          </a:r>
          <a:endParaRPr lang="es-ES" b="0"/>
        </a:p>
      </dgm:t>
    </dgm:pt>
    <dgm:pt modelId="{E79648CF-7FE9-4076-9DB0-48BD2ED92357}" type="parTrans" cxnId="{67D93651-CB37-4C20-BDAE-433AF6556731}">
      <dgm:prSet/>
      <dgm:spPr/>
      <dgm:t>
        <a:bodyPr/>
        <a:lstStyle/>
        <a:p>
          <a:endParaRPr lang="es-ES" b="0"/>
        </a:p>
      </dgm:t>
    </dgm:pt>
    <dgm:pt modelId="{510FAF50-A277-45D0-B705-EC599F6A203E}" type="sibTrans" cxnId="{67D93651-CB37-4C20-BDAE-433AF6556731}">
      <dgm:prSet/>
      <dgm:spPr/>
      <dgm:t>
        <a:bodyPr/>
        <a:lstStyle/>
        <a:p>
          <a:endParaRPr lang="es-ES" b="0"/>
        </a:p>
      </dgm:t>
    </dgm:pt>
    <dgm:pt modelId="{3B852B2C-9A8B-411A-9F54-9152160801D9}">
      <dgm:prSet phldrT="[Text]"/>
      <dgm:spPr/>
      <dgm:t>
        <a:bodyPr/>
        <a:lstStyle/>
        <a:p>
          <a:r>
            <a:rPr lang="en-GB" altLang="en-US" b="0">
              <a:latin typeface="Verdana" pitchFamily="34" charset="0"/>
              <a:ea typeface="Arial" pitchFamily="34" charset="0"/>
              <a:cs typeface="Verdana" pitchFamily="34" charset="0"/>
            </a:rPr>
            <a:t>Desarrollo </a:t>
          </a:r>
          <a:r>
            <a:rPr lang="en-GB" altLang="en-US" b="0" err="1">
              <a:latin typeface="Verdana" pitchFamily="34" charset="0"/>
              <a:ea typeface="Arial" pitchFamily="34" charset="0"/>
              <a:cs typeface="Verdana" pitchFamily="34" charset="0"/>
            </a:rPr>
            <a:t>Guiado</a:t>
          </a:r>
          <a:r>
            <a:rPr lang="en-GB" altLang="en-US" b="0">
              <a:latin typeface="Verdana" pitchFamily="34" charset="0"/>
              <a:ea typeface="Arial" pitchFamily="34" charset="0"/>
              <a:cs typeface="Verdana" pitchFamily="34" charset="0"/>
            </a:rPr>
            <a:t> </a:t>
          </a:r>
          <a:r>
            <a:rPr lang="en-GB" altLang="en-US" b="0" err="1">
              <a:latin typeface="Verdana" pitchFamily="34" charset="0"/>
              <a:ea typeface="Arial" pitchFamily="34" charset="0"/>
              <a:cs typeface="Verdana" pitchFamily="34" charset="0"/>
            </a:rPr>
            <a:t>por</a:t>
          </a:r>
          <a:r>
            <a:rPr lang="en-GB" altLang="en-US" b="0">
              <a:latin typeface="Verdana" pitchFamily="34" charset="0"/>
              <a:ea typeface="Arial" pitchFamily="34" charset="0"/>
              <a:cs typeface="Verdana" pitchFamily="34" charset="0"/>
            </a:rPr>
            <a:t> </a:t>
          </a:r>
          <a:r>
            <a:rPr lang="en-GB" altLang="en-US" b="0" err="1">
              <a:latin typeface="Verdana" pitchFamily="34" charset="0"/>
              <a:ea typeface="Arial" pitchFamily="34" charset="0"/>
              <a:cs typeface="Verdana" pitchFamily="34" charset="0"/>
            </a:rPr>
            <a:t>el</a:t>
          </a:r>
          <a:r>
            <a:rPr lang="en-GB" altLang="en-US" b="0">
              <a:latin typeface="Verdana" pitchFamily="34" charset="0"/>
              <a:ea typeface="Arial" pitchFamily="34" charset="0"/>
              <a:cs typeface="Verdana" pitchFamily="34" charset="0"/>
            </a:rPr>
            <a:t> </a:t>
          </a:r>
          <a:r>
            <a:rPr lang="en-GB" altLang="en-US" b="0" err="1">
              <a:latin typeface="Verdana" pitchFamily="34" charset="0"/>
              <a:ea typeface="Arial" pitchFamily="34" charset="0"/>
              <a:cs typeface="Verdana" pitchFamily="34" charset="0"/>
            </a:rPr>
            <a:t>Comportamiento</a:t>
          </a:r>
          <a:endParaRPr lang="en-GB" altLang="en-US" b="0">
            <a:latin typeface="Verdana" pitchFamily="34" charset="0"/>
            <a:ea typeface="Arial" pitchFamily="34" charset="0"/>
            <a:cs typeface="Verdana" pitchFamily="34" charset="0"/>
          </a:endParaRPr>
        </a:p>
        <a:p>
          <a:r>
            <a:rPr lang="en-GB" b="0">
              <a:latin typeface="Verdana" pitchFamily="34" charset="0"/>
            </a:rPr>
            <a:t>BDD</a:t>
          </a:r>
          <a:endParaRPr lang="es-ES" b="0"/>
        </a:p>
      </dgm:t>
    </dgm:pt>
    <dgm:pt modelId="{8D023680-3982-4A72-BD62-92E1C25886BC}" type="parTrans" cxnId="{2498ED89-62A0-4B5B-920B-1526778097A5}">
      <dgm:prSet/>
      <dgm:spPr/>
      <dgm:t>
        <a:bodyPr/>
        <a:lstStyle/>
        <a:p>
          <a:endParaRPr lang="es-ES" b="0"/>
        </a:p>
      </dgm:t>
    </dgm:pt>
    <dgm:pt modelId="{983B09AD-2BC9-4D6E-AA9F-6BB777EAD540}" type="sibTrans" cxnId="{2498ED89-62A0-4B5B-920B-1526778097A5}">
      <dgm:prSet/>
      <dgm:spPr/>
      <dgm:t>
        <a:bodyPr/>
        <a:lstStyle/>
        <a:p>
          <a:endParaRPr lang="es-ES" b="0"/>
        </a:p>
      </dgm:t>
    </dgm:pt>
    <dgm:pt modelId="{E4FE83DA-E221-43C2-BB14-F4CEADD60F83}" type="pres">
      <dgm:prSet presAssocID="{A6E5C2B5-79A6-497D-BFD6-436013DC21FA}" presName="hierChild1" presStyleCnt="0">
        <dgm:presLayoutVars>
          <dgm:orgChart val="1"/>
          <dgm:chPref val="1"/>
          <dgm:dir/>
          <dgm:animOne val="branch"/>
          <dgm:animLvl val="lvl"/>
          <dgm:resizeHandles/>
        </dgm:presLayoutVars>
      </dgm:prSet>
      <dgm:spPr/>
    </dgm:pt>
    <dgm:pt modelId="{03043A97-911D-45BA-8EB1-EE89757DE3BE}" type="pres">
      <dgm:prSet presAssocID="{C16E677A-6C4A-4069-95F5-52312D54BDED}" presName="hierRoot1" presStyleCnt="0">
        <dgm:presLayoutVars>
          <dgm:hierBranch val="init"/>
        </dgm:presLayoutVars>
      </dgm:prSet>
      <dgm:spPr/>
    </dgm:pt>
    <dgm:pt modelId="{90D42307-F984-4FDF-947F-2255C47E2F6A}" type="pres">
      <dgm:prSet presAssocID="{C16E677A-6C4A-4069-95F5-52312D54BDED}" presName="rootComposite1" presStyleCnt="0"/>
      <dgm:spPr/>
    </dgm:pt>
    <dgm:pt modelId="{600A10E2-5BA8-49B2-9D60-4D4EF31FB265}" type="pres">
      <dgm:prSet presAssocID="{C16E677A-6C4A-4069-95F5-52312D54BDED}" presName="rootText1" presStyleLbl="node0" presStyleIdx="0" presStyleCnt="1">
        <dgm:presLayoutVars>
          <dgm:chPref val="3"/>
        </dgm:presLayoutVars>
      </dgm:prSet>
      <dgm:spPr/>
    </dgm:pt>
    <dgm:pt modelId="{0028CE99-38C8-4B75-884E-360CB5A6FCA1}" type="pres">
      <dgm:prSet presAssocID="{C16E677A-6C4A-4069-95F5-52312D54BDED}" presName="rootConnector1" presStyleLbl="node1" presStyleIdx="0" presStyleCnt="0"/>
      <dgm:spPr/>
    </dgm:pt>
    <dgm:pt modelId="{81BDF859-3AD5-480B-BAF3-91FE2EEB902D}" type="pres">
      <dgm:prSet presAssocID="{C16E677A-6C4A-4069-95F5-52312D54BDED}" presName="hierChild2" presStyleCnt="0"/>
      <dgm:spPr/>
    </dgm:pt>
    <dgm:pt modelId="{D66D1DB8-549A-42F3-9602-D34E22E05BFB}" type="pres">
      <dgm:prSet presAssocID="{5422490F-836D-40A1-BA91-A3FC8AF261C6}" presName="Name37" presStyleLbl="parChTrans1D2" presStyleIdx="0" presStyleCnt="3"/>
      <dgm:spPr/>
    </dgm:pt>
    <dgm:pt modelId="{481AEDB4-4872-44C8-9A57-1130B17C53A1}" type="pres">
      <dgm:prSet presAssocID="{145100A6-3604-4AFD-96BD-63CEEEB3B8F8}" presName="hierRoot2" presStyleCnt="0">
        <dgm:presLayoutVars>
          <dgm:hierBranch val="init"/>
        </dgm:presLayoutVars>
      </dgm:prSet>
      <dgm:spPr/>
    </dgm:pt>
    <dgm:pt modelId="{F6D71077-B265-4C1A-8018-4CF9BCC91DAA}" type="pres">
      <dgm:prSet presAssocID="{145100A6-3604-4AFD-96BD-63CEEEB3B8F8}" presName="rootComposite" presStyleCnt="0"/>
      <dgm:spPr/>
    </dgm:pt>
    <dgm:pt modelId="{53A52E42-18C2-46DC-B96F-914785FA2FA3}" type="pres">
      <dgm:prSet presAssocID="{145100A6-3604-4AFD-96BD-63CEEEB3B8F8}" presName="rootText" presStyleLbl="node2" presStyleIdx="0" presStyleCnt="3">
        <dgm:presLayoutVars>
          <dgm:chPref val="3"/>
        </dgm:presLayoutVars>
      </dgm:prSet>
      <dgm:spPr/>
    </dgm:pt>
    <dgm:pt modelId="{5AFA84BA-D22E-4604-8122-07A6F012CEB3}" type="pres">
      <dgm:prSet presAssocID="{145100A6-3604-4AFD-96BD-63CEEEB3B8F8}" presName="rootConnector" presStyleLbl="node2" presStyleIdx="0" presStyleCnt="3"/>
      <dgm:spPr/>
    </dgm:pt>
    <dgm:pt modelId="{693885C2-9DF7-4A11-9D66-E9B194AC61BD}" type="pres">
      <dgm:prSet presAssocID="{145100A6-3604-4AFD-96BD-63CEEEB3B8F8}" presName="hierChild4" presStyleCnt="0"/>
      <dgm:spPr/>
    </dgm:pt>
    <dgm:pt modelId="{14157C48-D837-4872-B195-4A96E31736A4}" type="pres">
      <dgm:prSet presAssocID="{145100A6-3604-4AFD-96BD-63CEEEB3B8F8}" presName="hierChild5" presStyleCnt="0"/>
      <dgm:spPr/>
    </dgm:pt>
    <dgm:pt modelId="{6F62093B-0B05-4C80-B945-FACFBCE2A91B}" type="pres">
      <dgm:prSet presAssocID="{E79648CF-7FE9-4076-9DB0-48BD2ED92357}" presName="Name37" presStyleLbl="parChTrans1D2" presStyleIdx="1" presStyleCnt="3"/>
      <dgm:spPr/>
    </dgm:pt>
    <dgm:pt modelId="{0CF788C9-00B7-43F2-AE0F-D72996525630}" type="pres">
      <dgm:prSet presAssocID="{F960D0BE-1E59-46FA-B410-4CDEB7769E3D}" presName="hierRoot2" presStyleCnt="0">
        <dgm:presLayoutVars>
          <dgm:hierBranch val="init"/>
        </dgm:presLayoutVars>
      </dgm:prSet>
      <dgm:spPr/>
    </dgm:pt>
    <dgm:pt modelId="{357F1804-31DE-414B-98EF-F86BA6F9133F}" type="pres">
      <dgm:prSet presAssocID="{F960D0BE-1E59-46FA-B410-4CDEB7769E3D}" presName="rootComposite" presStyleCnt="0"/>
      <dgm:spPr/>
    </dgm:pt>
    <dgm:pt modelId="{2A363701-3D12-421F-9E25-A3BFC5B0B5E3}" type="pres">
      <dgm:prSet presAssocID="{F960D0BE-1E59-46FA-B410-4CDEB7769E3D}" presName="rootText" presStyleLbl="node2" presStyleIdx="1" presStyleCnt="3">
        <dgm:presLayoutVars>
          <dgm:chPref val="3"/>
        </dgm:presLayoutVars>
      </dgm:prSet>
      <dgm:spPr/>
    </dgm:pt>
    <dgm:pt modelId="{4DF70259-495A-4489-95CC-9117BCC935E4}" type="pres">
      <dgm:prSet presAssocID="{F960D0BE-1E59-46FA-B410-4CDEB7769E3D}" presName="rootConnector" presStyleLbl="node2" presStyleIdx="1" presStyleCnt="3"/>
      <dgm:spPr/>
    </dgm:pt>
    <dgm:pt modelId="{BC7BBC8A-AFBA-4838-8A22-FF4D1FEB0177}" type="pres">
      <dgm:prSet presAssocID="{F960D0BE-1E59-46FA-B410-4CDEB7769E3D}" presName="hierChild4" presStyleCnt="0"/>
      <dgm:spPr/>
    </dgm:pt>
    <dgm:pt modelId="{BCF8A5FC-6AD6-4A5D-89A3-4CF7E699B885}" type="pres">
      <dgm:prSet presAssocID="{F960D0BE-1E59-46FA-B410-4CDEB7769E3D}" presName="hierChild5" presStyleCnt="0"/>
      <dgm:spPr/>
    </dgm:pt>
    <dgm:pt modelId="{50573D57-4D6C-402E-BFC2-0B82F1674D56}" type="pres">
      <dgm:prSet presAssocID="{8D023680-3982-4A72-BD62-92E1C25886BC}" presName="Name37" presStyleLbl="parChTrans1D2" presStyleIdx="2" presStyleCnt="3"/>
      <dgm:spPr/>
    </dgm:pt>
    <dgm:pt modelId="{5CA3BAED-320D-4401-8B30-B8B9F7D1A804}" type="pres">
      <dgm:prSet presAssocID="{3B852B2C-9A8B-411A-9F54-9152160801D9}" presName="hierRoot2" presStyleCnt="0">
        <dgm:presLayoutVars>
          <dgm:hierBranch val="init"/>
        </dgm:presLayoutVars>
      </dgm:prSet>
      <dgm:spPr/>
    </dgm:pt>
    <dgm:pt modelId="{0EF533CF-A9AF-4FB6-8049-54478019E098}" type="pres">
      <dgm:prSet presAssocID="{3B852B2C-9A8B-411A-9F54-9152160801D9}" presName="rootComposite" presStyleCnt="0"/>
      <dgm:spPr/>
    </dgm:pt>
    <dgm:pt modelId="{A8F93672-741E-4635-9C4B-3868A5594EDF}" type="pres">
      <dgm:prSet presAssocID="{3B852B2C-9A8B-411A-9F54-9152160801D9}" presName="rootText" presStyleLbl="node2" presStyleIdx="2" presStyleCnt="3">
        <dgm:presLayoutVars>
          <dgm:chPref val="3"/>
        </dgm:presLayoutVars>
      </dgm:prSet>
      <dgm:spPr/>
    </dgm:pt>
    <dgm:pt modelId="{1A3D4767-A530-46AC-A355-33053563F224}" type="pres">
      <dgm:prSet presAssocID="{3B852B2C-9A8B-411A-9F54-9152160801D9}" presName="rootConnector" presStyleLbl="node2" presStyleIdx="2" presStyleCnt="3"/>
      <dgm:spPr/>
    </dgm:pt>
    <dgm:pt modelId="{7425C5CE-7EE2-4F90-8A2E-140BE7FB7BF2}" type="pres">
      <dgm:prSet presAssocID="{3B852B2C-9A8B-411A-9F54-9152160801D9}" presName="hierChild4" presStyleCnt="0"/>
      <dgm:spPr/>
    </dgm:pt>
    <dgm:pt modelId="{984E55F5-29CA-49AB-ABF5-2D5B65848C34}" type="pres">
      <dgm:prSet presAssocID="{3B852B2C-9A8B-411A-9F54-9152160801D9}" presName="hierChild5" presStyleCnt="0"/>
      <dgm:spPr/>
    </dgm:pt>
    <dgm:pt modelId="{28C34215-D5B2-4396-8F96-3D8D1F90E701}" type="pres">
      <dgm:prSet presAssocID="{C16E677A-6C4A-4069-95F5-52312D54BDED}" presName="hierChild3" presStyleCnt="0"/>
      <dgm:spPr/>
    </dgm:pt>
  </dgm:ptLst>
  <dgm:cxnLst>
    <dgm:cxn modelId="{BAD05614-3CFD-4A5C-85F2-2C840664CEC5}" type="presOf" srcId="{145100A6-3604-4AFD-96BD-63CEEEB3B8F8}" destId="{5AFA84BA-D22E-4604-8122-07A6F012CEB3}" srcOrd="1" destOrd="0" presId="urn:microsoft.com/office/officeart/2005/8/layout/orgChart1"/>
    <dgm:cxn modelId="{A18D1948-836C-4CD9-822C-5195BB7EF5B0}" type="presOf" srcId="{145100A6-3604-4AFD-96BD-63CEEEB3B8F8}" destId="{53A52E42-18C2-46DC-B96F-914785FA2FA3}" srcOrd="0" destOrd="0" presId="urn:microsoft.com/office/officeart/2005/8/layout/orgChart1"/>
    <dgm:cxn modelId="{302C486A-9B05-42B6-A544-7286F4B46668}" type="presOf" srcId="{8D023680-3982-4A72-BD62-92E1C25886BC}" destId="{50573D57-4D6C-402E-BFC2-0B82F1674D56}" srcOrd="0" destOrd="0" presId="urn:microsoft.com/office/officeart/2005/8/layout/orgChart1"/>
    <dgm:cxn modelId="{67D93651-CB37-4C20-BDAE-433AF6556731}" srcId="{C16E677A-6C4A-4069-95F5-52312D54BDED}" destId="{F960D0BE-1E59-46FA-B410-4CDEB7769E3D}" srcOrd="1" destOrd="0" parTransId="{E79648CF-7FE9-4076-9DB0-48BD2ED92357}" sibTransId="{510FAF50-A277-45D0-B705-EC599F6A203E}"/>
    <dgm:cxn modelId="{35CFBF54-5846-4648-83AC-226FBA5C562A}" type="presOf" srcId="{E79648CF-7FE9-4076-9DB0-48BD2ED92357}" destId="{6F62093B-0B05-4C80-B945-FACFBCE2A91B}" srcOrd="0" destOrd="0" presId="urn:microsoft.com/office/officeart/2005/8/layout/orgChart1"/>
    <dgm:cxn modelId="{E2E13275-320D-4ACD-B9C4-C7C27E5520C9}" type="presOf" srcId="{F960D0BE-1E59-46FA-B410-4CDEB7769E3D}" destId="{2A363701-3D12-421F-9E25-A3BFC5B0B5E3}" srcOrd="0" destOrd="0" presId="urn:microsoft.com/office/officeart/2005/8/layout/orgChart1"/>
    <dgm:cxn modelId="{2498ED89-62A0-4B5B-920B-1526778097A5}" srcId="{C16E677A-6C4A-4069-95F5-52312D54BDED}" destId="{3B852B2C-9A8B-411A-9F54-9152160801D9}" srcOrd="2" destOrd="0" parTransId="{8D023680-3982-4A72-BD62-92E1C25886BC}" sibTransId="{983B09AD-2BC9-4D6E-AA9F-6BB777EAD540}"/>
    <dgm:cxn modelId="{49F851AC-53DB-4B2E-8267-8BF3DA3C47DB}" srcId="{A6E5C2B5-79A6-497D-BFD6-436013DC21FA}" destId="{C16E677A-6C4A-4069-95F5-52312D54BDED}" srcOrd="0" destOrd="0" parTransId="{554F8024-0240-48B5-B0AD-560EAAF891A5}" sibTransId="{B6642C99-4564-4E53-B589-8BEC31A48B0C}"/>
    <dgm:cxn modelId="{878343B6-DB44-438D-9A9D-EC8E8DA0E78A}" type="presOf" srcId="{3B852B2C-9A8B-411A-9F54-9152160801D9}" destId="{1A3D4767-A530-46AC-A355-33053563F224}" srcOrd="1" destOrd="0" presId="urn:microsoft.com/office/officeart/2005/8/layout/orgChart1"/>
    <dgm:cxn modelId="{A002D9B9-1605-4BB7-9511-3D693F9E110C}" type="presOf" srcId="{5422490F-836D-40A1-BA91-A3FC8AF261C6}" destId="{D66D1DB8-549A-42F3-9602-D34E22E05BFB}" srcOrd="0" destOrd="0" presId="urn:microsoft.com/office/officeart/2005/8/layout/orgChart1"/>
    <dgm:cxn modelId="{A448D1BA-911C-4581-882F-C45C2BA20D3F}" type="presOf" srcId="{C16E677A-6C4A-4069-95F5-52312D54BDED}" destId="{600A10E2-5BA8-49B2-9D60-4D4EF31FB265}" srcOrd="0" destOrd="0" presId="urn:microsoft.com/office/officeart/2005/8/layout/orgChart1"/>
    <dgm:cxn modelId="{086736BE-3DBB-4413-B195-2159BC462EB3}" type="presOf" srcId="{3B852B2C-9A8B-411A-9F54-9152160801D9}" destId="{A8F93672-741E-4635-9C4B-3868A5594EDF}" srcOrd="0" destOrd="0" presId="urn:microsoft.com/office/officeart/2005/8/layout/orgChart1"/>
    <dgm:cxn modelId="{0FCD4BF1-AB29-4F01-9076-4BC70B5C9B99}" type="presOf" srcId="{A6E5C2B5-79A6-497D-BFD6-436013DC21FA}" destId="{E4FE83DA-E221-43C2-BB14-F4CEADD60F83}" srcOrd="0" destOrd="0" presId="urn:microsoft.com/office/officeart/2005/8/layout/orgChart1"/>
    <dgm:cxn modelId="{A32622F6-69DF-4189-B1D9-713A87092A0B}" type="presOf" srcId="{C16E677A-6C4A-4069-95F5-52312D54BDED}" destId="{0028CE99-38C8-4B75-884E-360CB5A6FCA1}" srcOrd="1" destOrd="0" presId="urn:microsoft.com/office/officeart/2005/8/layout/orgChart1"/>
    <dgm:cxn modelId="{91F5EDF9-05D1-4857-8CC7-58039A580C1D}" type="presOf" srcId="{F960D0BE-1E59-46FA-B410-4CDEB7769E3D}" destId="{4DF70259-495A-4489-95CC-9117BCC935E4}" srcOrd="1" destOrd="0" presId="urn:microsoft.com/office/officeart/2005/8/layout/orgChart1"/>
    <dgm:cxn modelId="{C66BA1FE-5C1A-4B01-9029-1DEE6FDCE562}" srcId="{C16E677A-6C4A-4069-95F5-52312D54BDED}" destId="{145100A6-3604-4AFD-96BD-63CEEEB3B8F8}" srcOrd="0" destOrd="0" parTransId="{5422490F-836D-40A1-BA91-A3FC8AF261C6}" sibTransId="{6DF7B200-4979-46BA-8FB2-D214267B1B2D}"/>
    <dgm:cxn modelId="{C1F9D2FC-38E7-4E0A-821F-EFC7BF923121}" type="presParOf" srcId="{E4FE83DA-E221-43C2-BB14-F4CEADD60F83}" destId="{03043A97-911D-45BA-8EB1-EE89757DE3BE}" srcOrd="0" destOrd="0" presId="urn:microsoft.com/office/officeart/2005/8/layout/orgChart1"/>
    <dgm:cxn modelId="{F67B25C1-C3C0-40BC-B755-DF13456ED0A4}" type="presParOf" srcId="{03043A97-911D-45BA-8EB1-EE89757DE3BE}" destId="{90D42307-F984-4FDF-947F-2255C47E2F6A}" srcOrd="0" destOrd="0" presId="urn:microsoft.com/office/officeart/2005/8/layout/orgChart1"/>
    <dgm:cxn modelId="{58F6EC92-4B0B-4BEC-97F5-428908AD693F}" type="presParOf" srcId="{90D42307-F984-4FDF-947F-2255C47E2F6A}" destId="{600A10E2-5BA8-49B2-9D60-4D4EF31FB265}" srcOrd="0" destOrd="0" presId="urn:microsoft.com/office/officeart/2005/8/layout/orgChart1"/>
    <dgm:cxn modelId="{0DF03413-4E6C-4E77-8152-C902D4C22765}" type="presParOf" srcId="{90D42307-F984-4FDF-947F-2255C47E2F6A}" destId="{0028CE99-38C8-4B75-884E-360CB5A6FCA1}" srcOrd="1" destOrd="0" presId="urn:microsoft.com/office/officeart/2005/8/layout/orgChart1"/>
    <dgm:cxn modelId="{EE938D79-BFC4-40C6-9558-3FEE5800DECF}" type="presParOf" srcId="{03043A97-911D-45BA-8EB1-EE89757DE3BE}" destId="{81BDF859-3AD5-480B-BAF3-91FE2EEB902D}" srcOrd="1" destOrd="0" presId="urn:microsoft.com/office/officeart/2005/8/layout/orgChart1"/>
    <dgm:cxn modelId="{1222848F-109F-4290-A210-6E6E79DE43DB}" type="presParOf" srcId="{81BDF859-3AD5-480B-BAF3-91FE2EEB902D}" destId="{D66D1DB8-549A-42F3-9602-D34E22E05BFB}" srcOrd="0" destOrd="0" presId="urn:microsoft.com/office/officeart/2005/8/layout/orgChart1"/>
    <dgm:cxn modelId="{4D478853-EBE1-4B3F-9BD5-7CE4D058DC33}" type="presParOf" srcId="{81BDF859-3AD5-480B-BAF3-91FE2EEB902D}" destId="{481AEDB4-4872-44C8-9A57-1130B17C53A1}" srcOrd="1" destOrd="0" presId="urn:microsoft.com/office/officeart/2005/8/layout/orgChart1"/>
    <dgm:cxn modelId="{96BDDE6D-AC11-445E-B7DA-6BD55B824C6E}" type="presParOf" srcId="{481AEDB4-4872-44C8-9A57-1130B17C53A1}" destId="{F6D71077-B265-4C1A-8018-4CF9BCC91DAA}" srcOrd="0" destOrd="0" presId="urn:microsoft.com/office/officeart/2005/8/layout/orgChart1"/>
    <dgm:cxn modelId="{F1BCE888-1227-492A-818F-0A4ACACAC430}" type="presParOf" srcId="{F6D71077-B265-4C1A-8018-4CF9BCC91DAA}" destId="{53A52E42-18C2-46DC-B96F-914785FA2FA3}" srcOrd="0" destOrd="0" presId="urn:microsoft.com/office/officeart/2005/8/layout/orgChart1"/>
    <dgm:cxn modelId="{326D9BC0-ADEF-46D9-ADA8-0DD9B781F5A6}" type="presParOf" srcId="{F6D71077-B265-4C1A-8018-4CF9BCC91DAA}" destId="{5AFA84BA-D22E-4604-8122-07A6F012CEB3}" srcOrd="1" destOrd="0" presId="urn:microsoft.com/office/officeart/2005/8/layout/orgChart1"/>
    <dgm:cxn modelId="{42EA6358-8244-48D1-898F-1F4D00454A0E}" type="presParOf" srcId="{481AEDB4-4872-44C8-9A57-1130B17C53A1}" destId="{693885C2-9DF7-4A11-9D66-E9B194AC61BD}" srcOrd="1" destOrd="0" presId="urn:microsoft.com/office/officeart/2005/8/layout/orgChart1"/>
    <dgm:cxn modelId="{7504FA97-4532-4DCE-94EB-3D8674E201E0}" type="presParOf" srcId="{481AEDB4-4872-44C8-9A57-1130B17C53A1}" destId="{14157C48-D837-4872-B195-4A96E31736A4}" srcOrd="2" destOrd="0" presId="urn:microsoft.com/office/officeart/2005/8/layout/orgChart1"/>
    <dgm:cxn modelId="{3E797201-EDE5-4F62-A06D-30BEA4243905}" type="presParOf" srcId="{81BDF859-3AD5-480B-BAF3-91FE2EEB902D}" destId="{6F62093B-0B05-4C80-B945-FACFBCE2A91B}" srcOrd="2" destOrd="0" presId="urn:microsoft.com/office/officeart/2005/8/layout/orgChart1"/>
    <dgm:cxn modelId="{ACA67DDA-C8DA-4CC9-8276-9995F897F4CE}" type="presParOf" srcId="{81BDF859-3AD5-480B-BAF3-91FE2EEB902D}" destId="{0CF788C9-00B7-43F2-AE0F-D72996525630}" srcOrd="3" destOrd="0" presId="urn:microsoft.com/office/officeart/2005/8/layout/orgChart1"/>
    <dgm:cxn modelId="{D73702BB-EB13-41D7-9345-3E7D971D4B7F}" type="presParOf" srcId="{0CF788C9-00B7-43F2-AE0F-D72996525630}" destId="{357F1804-31DE-414B-98EF-F86BA6F9133F}" srcOrd="0" destOrd="0" presId="urn:microsoft.com/office/officeart/2005/8/layout/orgChart1"/>
    <dgm:cxn modelId="{6D83A4F6-DE64-4E83-A2EB-30A389D9D185}" type="presParOf" srcId="{357F1804-31DE-414B-98EF-F86BA6F9133F}" destId="{2A363701-3D12-421F-9E25-A3BFC5B0B5E3}" srcOrd="0" destOrd="0" presId="urn:microsoft.com/office/officeart/2005/8/layout/orgChart1"/>
    <dgm:cxn modelId="{82676C7C-34A9-4659-A3A2-022B15CB11A0}" type="presParOf" srcId="{357F1804-31DE-414B-98EF-F86BA6F9133F}" destId="{4DF70259-495A-4489-95CC-9117BCC935E4}" srcOrd="1" destOrd="0" presId="urn:microsoft.com/office/officeart/2005/8/layout/orgChart1"/>
    <dgm:cxn modelId="{2B3A0DA4-F859-43E5-8BF5-0B1651122D34}" type="presParOf" srcId="{0CF788C9-00B7-43F2-AE0F-D72996525630}" destId="{BC7BBC8A-AFBA-4838-8A22-FF4D1FEB0177}" srcOrd="1" destOrd="0" presId="urn:microsoft.com/office/officeart/2005/8/layout/orgChart1"/>
    <dgm:cxn modelId="{76806FFC-0DC9-45FE-A9B3-A28ECC56D308}" type="presParOf" srcId="{0CF788C9-00B7-43F2-AE0F-D72996525630}" destId="{BCF8A5FC-6AD6-4A5D-89A3-4CF7E699B885}" srcOrd="2" destOrd="0" presId="urn:microsoft.com/office/officeart/2005/8/layout/orgChart1"/>
    <dgm:cxn modelId="{3038BADB-6236-4795-A857-BFB1C9810ABD}" type="presParOf" srcId="{81BDF859-3AD5-480B-BAF3-91FE2EEB902D}" destId="{50573D57-4D6C-402E-BFC2-0B82F1674D56}" srcOrd="4" destOrd="0" presId="urn:microsoft.com/office/officeart/2005/8/layout/orgChart1"/>
    <dgm:cxn modelId="{0350FAF8-99CD-4AE8-B29A-6DC5A4CB58D3}" type="presParOf" srcId="{81BDF859-3AD5-480B-BAF3-91FE2EEB902D}" destId="{5CA3BAED-320D-4401-8B30-B8B9F7D1A804}" srcOrd="5" destOrd="0" presId="urn:microsoft.com/office/officeart/2005/8/layout/orgChart1"/>
    <dgm:cxn modelId="{37F22D65-4A24-434B-A391-908A85DD00DA}" type="presParOf" srcId="{5CA3BAED-320D-4401-8B30-B8B9F7D1A804}" destId="{0EF533CF-A9AF-4FB6-8049-54478019E098}" srcOrd="0" destOrd="0" presId="urn:microsoft.com/office/officeart/2005/8/layout/orgChart1"/>
    <dgm:cxn modelId="{887DCAE6-F14C-4865-9951-DA97B6CE5D22}" type="presParOf" srcId="{0EF533CF-A9AF-4FB6-8049-54478019E098}" destId="{A8F93672-741E-4635-9C4B-3868A5594EDF}" srcOrd="0" destOrd="0" presId="urn:microsoft.com/office/officeart/2005/8/layout/orgChart1"/>
    <dgm:cxn modelId="{9D325C5E-4578-4EC5-BBD0-7B7292142C8F}" type="presParOf" srcId="{0EF533CF-A9AF-4FB6-8049-54478019E098}" destId="{1A3D4767-A530-46AC-A355-33053563F224}" srcOrd="1" destOrd="0" presId="urn:microsoft.com/office/officeart/2005/8/layout/orgChart1"/>
    <dgm:cxn modelId="{BCF97A3F-5F2A-458E-81BC-C3C807CAB8DC}" type="presParOf" srcId="{5CA3BAED-320D-4401-8B30-B8B9F7D1A804}" destId="{7425C5CE-7EE2-4F90-8A2E-140BE7FB7BF2}" srcOrd="1" destOrd="0" presId="urn:microsoft.com/office/officeart/2005/8/layout/orgChart1"/>
    <dgm:cxn modelId="{076B175A-368C-4D7E-9F97-4E735E3DAFF8}" type="presParOf" srcId="{5CA3BAED-320D-4401-8B30-B8B9F7D1A804}" destId="{984E55F5-29CA-49AB-ABF5-2D5B65848C34}" srcOrd="2" destOrd="0" presId="urn:microsoft.com/office/officeart/2005/8/layout/orgChart1"/>
    <dgm:cxn modelId="{F10F9F52-0B97-44B0-BE2F-00A33152F2D2}" type="presParOf" srcId="{03043A97-911D-45BA-8EB1-EE89757DE3BE}" destId="{28C34215-D5B2-4396-8F96-3D8D1F90E701}" srcOrd="2" destOrd="0" presId="urn:microsoft.com/office/officeart/2005/8/layout/orgChar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B02A594-AF69-46BF-B4FE-EC1E4B8805E3}"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s-ES"/>
        </a:p>
      </dgm:t>
    </dgm:pt>
    <dgm:pt modelId="{FABFF9CE-59C6-45D1-9636-BE9722158170}">
      <dgm:prSet/>
      <dgm:spPr/>
      <dgm:t>
        <a:bodyPr/>
        <a:lstStyle/>
        <a:p>
          <a:r>
            <a:rPr lang="es-ES"/>
            <a:t>Se añade una prueba que capture el concepto del programador sobre el funcionamiento deseado de un pequeño fragmento de código.</a:t>
          </a:r>
        </a:p>
      </dgm:t>
    </dgm:pt>
    <dgm:pt modelId="{ED3A6F12-F134-41CD-99DC-3526C726439D}" type="parTrans" cxnId="{B54BC2B3-EE83-43B3-AE41-FE5DA42AE541}">
      <dgm:prSet/>
      <dgm:spPr/>
      <dgm:t>
        <a:bodyPr/>
        <a:lstStyle/>
        <a:p>
          <a:endParaRPr lang="es-ES"/>
        </a:p>
      </dgm:t>
    </dgm:pt>
    <dgm:pt modelId="{72588CF3-8999-4A3E-AA96-9D8E94BDDCDD}" type="sibTrans" cxnId="{B54BC2B3-EE83-43B3-AE41-FE5DA42AE541}">
      <dgm:prSet/>
      <dgm:spPr/>
      <dgm:t>
        <a:bodyPr/>
        <a:lstStyle/>
        <a:p>
          <a:endParaRPr lang="es-ES"/>
        </a:p>
      </dgm:t>
    </dgm:pt>
    <dgm:pt modelId="{5B340A02-D6E8-4B86-8612-543EDD701BA8}">
      <dgm:prSet/>
      <dgm:spPr/>
      <dgm:t>
        <a:bodyPr/>
        <a:lstStyle/>
        <a:p>
          <a:r>
            <a:rPr lang="es-ES"/>
            <a:t>Se ejecuta la prueba, que debería fallar ya que el código no existe.</a:t>
          </a:r>
        </a:p>
      </dgm:t>
    </dgm:pt>
    <dgm:pt modelId="{BC67B0B3-2787-4324-95ED-0AECBA6460DD}" type="parTrans" cxnId="{B0D9CCAB-4424-4AC7-A2DF-07DE774E8930}">
      <dgm:prSet/>
      <dgm:spPr/>
      <dgm:t>
        <a:bodyPr/>
        <a:lstStyle/>
        <a:p>
          <a:endParaRPr lang="es-ES"/>
        </a:p>
      </dgm:t>
    </dgm:pt>
    <dgm:pt modelId="{15A7CFDC-9499-4C30-B0E9-0A64F0A482F7}" type="sibTrans" cxnId="{B0D9CCAB-4424-4AC7-A2DF-07DE774E8930}">
      <dgm:prSet/>
      <dgm:spPr/>
      <dgm:t>
        <a:bodyPr/>
        <a:lstStyle/>
        <a:p>
          <a:endParaRPr lang="es-ES"/>
        </a:p>
      </dgm:t>
    </dgm:pt>
    <dgm:pt modelId="{89EC8E1E-B09F-4AAC-8A01-E299D77D361E}">
      <dgm:prSet/>
      <dgm:spPr/>
      <dgm:t>
        <a:bodyPr/>
        <a:lstStyle/>
        <a:p>
          <a:r>
            <a:rPr lang="es-ES"/>
            <a:t>Se escribe el código y se ejecuta la prueba en un bucle cerrado hasta que la prueba pase.</a:t>
          </a:r>
        </a:p>
      </dgm:t>
    </dgm:pt>
    <dgm:pt modelId="{709617EC-52F6-440E-BE72-04F0B9872722}" type="parTrans" cxnId="{8AC5E179-6A95-4171-B153-4B84A963F014}">
      <dgm:prSet/>
      <dgm:spPr/>
      <dgm:t>
        <a:bodyPr/>
        <a:lstStyle/>
        <a:p>
          <a:endParaRPr lang="es-ES"/>
        </a:p>
      </dgm:t>
    </dgm:pt>
    <dgm:pt modelId="{4B45E795-0E3D-493A-9700-6AC2558B0D44}" type="sibTrans" cxnId="{8AC5E179-6A95-4171-B153-4B84A963F014}">
      <dgm:prSet/>
      <dgm:spPr/>
      <dgm:t>
        <a:bodyPr/>
        <a:lstStyle/>
        <a:p>
          <a:endParaRPr lang="es-ES"/>
        </a:p>
      </dgm:t>
    </dgm:pt>
    <dgm:pt modelId="{35B8F110-AECB-48F8-A6C7-F38713DD6FCE}">
      <dgm:prSet/>
      <dgm:spPr/>
      <dgm:t>
        <a:bodyPr/>
        <a:lstStyle/>
        <a:p>
          <a:r>
            <a:rPr lang="es-ES"/>
            <a:t>Se refactoriza el código después de que la prueba haya sido superada, y vuelva a ejecutar la prueba para asegurarse de que sigue pasando contra el código refactorizado.</a:t>
          </a:r>
        </a:p>
      </dgm:t>
    </dgm:pt>
    <dgm:pt modelId="{E6E2C6C2-DDA8-47E9-9AED-DD5DD0ADB43E}" type="parTrans" cxnId="{04723512-2E09-4907-994C-DBAC3C3FFD28}">
      <dgm:prSet/>
      <dgm:spPr/>
      <dgm:t>
        <a:bodyPr/>
        <a:lstStyle/>
        <a:p>
          <a:endParaRPr lang="es-ES"/>
        </a:p>
      </dgm:t>
    </dgm:pt>
    <dgm:pt modelId="{302797A6-1AE2-4867-93AC-A8721A315193}" type="sibTrans" cxnId="{04723512-2E09-4907-994C-DBAC3C3FFD28}">
      <dgm:prSet/>
      <dgm:spPr/>
      <dgm:t>
        <a:bodyPr/>
        <a:lstStyle/>
        <a:p>
          <a:endParaRPr lang="es-ES"/>
        </a:p>
      </dgm:t>
    </dgm:pt>
    <dgm:pt modelId="{54C147DA-179F-41B6-89CE-152A8A92C0E7}">
      <dgm:prSet/>
      <dgm:spPr/>
      <dgm:t>
        <a:bodyPr/>
        <a:lstStyle/>
        <a:p>
          <a:r>
            <a:rPr lang="es-ES"/>
            <a:t>Se repite este proceso para el siguiente pequeño fragmento de código, ejecutando las pruebas anteriores, así como las pruebas añadidas</a:t>
          </a:r>
        </a:p>
      </dgm:t>
    </dgm:pt>
    <dgm:pt modelId="{E6A584E7-BAA6-4D3D-9103-6E39101A3672}" type="parTrans" cxnId="{5D4C894A-2270-4B10-A918-27D6D03D5114}">
      <dgm:prSet/>
      <dgm:spPr/>
      <dgm:t>
        <a:bodyPr/>
        <a:lstStyle/>
        <a:p>
          <a:endParaRPr lang="es-ES"/>
        </a:p>
      </dgm:t>
    </dgm:pt>
    <dgm:pt modelId="{ADFFE08E-D203-438B-8BDC-72702AEDEC1E}" type="sibTrans" cxnId="{5D4C894A-2270-4B10-A918-27D6D03D5114}">
      <dgm:prSet/>
      <dgm:spPr/>
      <dgm:t>
        <a:bodyPr/>
        <a:lstStyle/>
        <a:p>
          <a:endParaRPr lang="es-ES"/>
        </a:p>
      </dgm:t>
    </dgm:pt>
    <dgm:pt modelId="{AC32A691-6DD7-4C6B-9934-F79997D47DCF}" type="pres">
      <dgm:prSet presAssocID="{3B02A594-AF69-46BF-B4FE-EC1E4B8805E3}" presName="cycle" presStyleCnt="0">
        <dgm:presLayoutVars>
          <dgm:dir/>
          <dgm:resizeHandles val="exact"/>
        </dgm:presLayoutVars>
      </dgm:prSet>
      <dgm:spPr/>
    </dgm:pt>
    <dgm:pt modelId="{5CF9D202-52AE-40F2-AD46-1DD6B3A37BD0}" type="pres">
      <dgm:prSet presAssocID="{FABFF9CE-59C6-45D1-9636-BE9722158170}" presName="node" presStyleLbl="node1" presStyleIdx="0" presStyleCnt="5">
        <dgm:presLayoutVars>
          <dgm:bulletEnabled val="1"/>
        </dgm:presLayoutVars>
      </dgm:prSet>
      <dgm:spPr/>
    </dgm:pt>
    <dgm:pt modelId="{92B03F9F-8BCC-4665-9C0B-490733CAB72E}" type="pres">
      <dgm:prSet presAssocID="{72588CF3-8999-4A3E-AA96-9D8E94BDDCDD}" presName="sibTrans" presStyleLbl="sibTrans2D1" presStyleIdx="0" presStyleCnt="5"/>
      <dgm:spPr/>
    </dgm:pt>
    <dgm:pt modelId="{322B0946-27C7-4CFA-9E99-334ECC2AF662}" type="pres">
      <dgm:prSet presAssocID="{72588CF3-8999-4A3E-AA96-9D8E94BDDCDD}" presName="connectorText" presStyleLbl="sibTrans2D1" presStyleIdx="0" presStyleCnt="5"/>
      <dgm:spPr/>
    </dgm:pt>
    <dgm:pt modelId="{D0FF37E1-8C8C-4AB2-A638-4729F5A4FAD0}" type="pres">
      <dgm:prSet presAssocID="{5B340A02-D6E8-4B86-8612-543EDD701BA8}" presName="node" presStyleLbl="node1" presStyleIdx="1" presStyleCnt="5">
        <dgm:presLayoutVars>
          <dgm:bulletEnabled val="1"/>
        </dgm:presLayoutVars>
      </dgm:prSet>
      <dgm:spPr/>
    </dgm:pt>
    <dgm:pt modelId="{860DC675-F779-46DB-AD1C-71380FE17956}" type="pres">
      <dgm:prSet presAssocID="{15A7CFDC-9499-4C30-B0E9-0A64F0A482F7}" presName="sibTrans" presStyleLbl="sibTrans2D1" presStyleIdx="1" presStyleCnt="5"/>
      <dgm:spPr/>
    </dgm:pt>
    <dgm:pt modelId="{C77D8230-EAA6-4B07-96E4-D412D03D3B09}" type="pres">
      <dgm:prSet presAssocID="{15A7CFDC-9499-4C30-B0E9-0A64F0A482F7}" presName="connectorText" presStyleLbl="sibTrans2D1" presStyleIdx="1" presStyleCnt="5"/>
      <dgm:spPr/>
    </dgm:pt>
    <dgm:pt modelId="{E5A1DA7C-F301-4A8E-859D-51F03F60079C}" type="pres">
      <dgm:prSet presAssocID="{89EC8E1E-B09F-4AAC-8A01-E299D77D361E}" presName="node" presStyleLbl="node1" presStyleIdx="2" presStyleCnt="5">
        <dgm:presLayoutVars>
          <dgm:bulletEnabled val="1"/>
        </dgm:presLayoutVars>
      </dgm:prSet>
      <dgm:spPr/>
    </dgm:pt>
    <dgm:pt modelId="{D1EF34C4-9294-4FE6-A93A-E3D354262CAE}" type="pres">
      <dgm:prSet presAssocID="{4B45E795-0E3D-493A-9700-6AC2558B0D44}" presName="sibTrans" presStyleLbl="sibTrans2D1" presStyleIdx="2" presStyleCnt="5"/>
      <dgm:spPr/>
    </dgm:pt>
    <dgm:pt modelId="{D3B95DB5-9D2E-4756-BA0C-A2561E9BC101}" type="pres">
      <dgm:prSet presAssocID="{4B45E795-0E3D-493A-9700-6AC2558B0D44}" presName="connectorText" presStyleLbl="sibTrans2D1" presStyleIdx="2" presStyleCnt="5"/>
      <dgm:spPr/>
    </dgm:pt>
    <dgm:pt modelId="{D5DDFE53-2861-4CE0-AC08-E12E450329C1}" type="pres">
      <dgm:prSet presAssocID="{35B8F110-AECB-48F8-A6C7-F38713DD6FCE}" presName="node" presStyleLbl="node1" presStyleIdx="3" presStyleCnt="5">
        <dgm:presLayoutVars>
          <dgm:bulletEnabled val="1"/>
        </dgm:presLayoutVars>
      </dgm:prSet>
      <dgm:spPr/>
    </dgm:pt>
    <dgm:pt modelId="{7047910E-DEB7-4909-B4CB-0DB52A2D0A81}" type="pres">
      <dgm:prSet presAssocID="{302797A6-1AE2-4867-93AC-A8721A315193}" presName="sibTrans" presStyleLbl="sibTrans2D1" presStyleIdx="3" presStyleCnt="5"/>
      <dgm:spPr/>
    </dgm:pt>
    <dgm:pt modelId="{0756CB75-305A-44E8-A256-4C114DF9612E}" type="pres">
      <dgm:prSet presAssocID="{302797A6-1AE2-4867-93AC-A8721A315193}" presName="connectorText" presStyleLbl="sibTrans2D1" presStyleIdx="3" presStyleCnt="5"/>
      <dgm:spPr/>
    </dgm:pt>
    <dgm:pt modelId="{79C178D8-8A70-4183-BB91-F4006FF12CFE}" type="pres">
      <dgm:prSet presAssocID="{54C147DA-179F-41B6-89CE-152A8A92C0E7}" presName="node" presStyleLbl="node1" presStyleIdx="4" presStyleCnt="5">
        <dgm:presLayoutVars>
          <dgm:bulletEnabled val="1"/>
        </dgm:presLayoutVars>
      </dgm:prSet>
      <dgm:spPr/>
    </dgm:pt>
    <dgm:pt modelId="{D610DBCE-4E93-494D-85C9-A5F529E77D5E}" type="pres">
      <dgm:prSet presAssocID="{ADFFE08E-D203-438B-8BDC-72702AEDEC1E}" presName="sibTrans" presStyleLbl="sibTrans2D1" presStyleIdx="4" presStyleCnt="5"/>
      <dgm:spPr/>
    </dgm:pt>
    <dgm:pt modelId="{1D4A64C4-A066-4C2E-AEC3-96D7A6D936AA}" type="pres">
      <dgm:prSet presAssocID="{ADFFE08E-D203-438B-8BDC-72702AEDEC1E}" presName="connectorText" presStyleLbl="sibTrans2D1" presStyleIdx="4" presStyleCnt="5"/>
      <dgm:spPr/>
    </dgm:pt>
  </dgm:ptLst>
  <dgm:cxnLst>
    <dgm:cxn modelId="{7369A40B-59BE-4E34-8454-2B4603360A52}" type="presOf" srcId="{15A7CFDC-9499-4C30-B0E9-0A64F0A482F7}" destId="{860DC675-F779-46DB-AD1C-71380FE17956}" srcOrd="0" destOrd="0" presId="urn:microsoft.com/office/officeart/2005/8/layout/cycle2"/>
    <dgm:cxn modelId="{7B8D740E-AD76-4009-A745-9EA9F80C4436}" type="presOf" srcId="{72588CF3-8999-4A3E-AA96-9D8E94BDDCDD}" destId="{92B03F9F-8BCC-4665-9C0B-490733CAB72E}" srcOrd="0" destOrd="0" presId="urn:microsoft.com/office/officeart/2005/8/layout/cycle2"/>
    <dgm:cxn modelId="{04723512-2E09-4907-994C-DBAC3C3FFD28}" srcId="{3B02A594-AF69-46BF-B4FE-EC1E4B8805E3}" destId="{35B8F110-AECB-48F8-A6C7-F38713DD6FCE}" srcOrd="3" destOrd="0" parTransId="{E6E2C6C2-DDA8-47E9-9AED-DD5DD0ADB43E}" sibTransId="{302797A6-1AE2-4867-93AC-A8721A315193}"/>
    <dgm:cxn modelId="{A2CADF1B-A038-49BD-AD74-E2ED9A567931}" type="presOf" srcId="{3B02A594-AF69-46BF-B4FE-EC1E4B8805E3}" destId="{AC32A691-6DD7-4C6B-9934-F79997D47DCF}" srcOrd="0" destOrd="0" presId="urn:microsoft.com/office/officeart/2005/8/layout/cycle2"/>
    <dgm:cxn modelId="{6166651C-E3E6-455A-B983-05E6D6DD31A8}" type="presOf" srcId="{302797A6-1AE2-4867-93AC-A8721A315193}" destId="{0756CB75-305A-44E8-A256-4C114DF9612E}" srcOrd="1" destOrd="0" presId="urn:microsoft.com/office/officeart/2005/8/layout/cycle2"/>
    <dgm:cxn modelId="{1449AE64-C74C-4855-9987-DB2A331DF395}" type="presOf" srcId="{89EC8E1E-B09F-4AAC-8A01-E299D77D361E}" destId="{E5A1DA7C-F301-4A8E-859D-51F03F60079C}" srcOrd="0" destOrd="0" presId="urn:microsoft.com/office/officeart/2005/8/layout/cycle2"/>
    <dgm:cxn modelId="{5D4C894A-2270-4B10-A918-27D6D03D5114}" srcId="{3B02A594-AF69-46BF-B4FE-EC1E4B8805E3}" destId="{54C147DA-179F-41B6-89CE-152A8A92C0E7}" srcOrd="4" destOrd="0" parTransId="{E6A584E7-BAA6-4D3D-9103-6E39101A3672}" sibTransId="{ADFFE08E-D203-438B-8BDC-72702AEDEC1E}"/>
    <dgm:cxn modelId="{3E61C64B-256C-4858-BC09-309883D3B2D4}" type="presOf" srcId="{4B45E795-0E3D-493A-9700-6AC2558B0D44}" destId="{D1EF34C4-9294-4FE6-A93A-E3D354262CAE}" srcOrd="0" destOrd="0" presId="urn:microsoft.com/office/officeart/2005/8/layout/cycle2"/>
    <dgm:cxn modelId="{780D5C4E-69C2-431B-8724-7C64CD0D3CB6}" type="presOf" srcId="{5B340A02-D6E8-4B86-8612-543EDD701BA8}" destId="{D0FF37E1-8C8C-4AB2-A638-4729F5A4FAD0}" srcOrd="0" destOrd="0" presId="urn:microsoft.com/office/officeart/2005/8/layout/cycle2"/>
    <dgm:cxn modelId="{D69E9273-5D38-4304-B7F1-0F24477BAEE1}" type="presOf" srcId="{ADFFE08E-D203-438B-8BDC-72702AEDEC1E}" destId="{1D4A64C4-A066-4C2E-AEC3-96D7A6D936AA}" srcOrd="1" destOrd="0" presId="urn:microsoft.com/office/officeart/2005/8/layout/cycle2"/>
    <dgm:cxn modelId="{8A8D0977-F8A2-42C6-8071-E433E5D69A8D}" type="presOf" srcId="{4B45E795-0E3D-493A-9700-6AC2558B0D44}" destId="{D3B95DB5-9D2E-4756-BA0C-A2561E9BC101}" srcOrd="1" destOrd="0" presId="urn:microsoft.com/office/officeart/2005/8/layout/cycle2"/>
    <dgm:cxn modelId="{8AC5E179-6A95-4171-B153-4B84A963F014}" srcId="{3B02A594-AF69-46BF-B4FE-EC1E4B8805E3}" destId="{89EC8E1E-B09F-4AAC-8A01-E299D77D361E}" srcOrd="2" destOrd="0" parTransId="{709617EC-52F6-440E-BE72-04F0B9872722}" sibTransId="{4B45E795-0E3D-493A-9700-6AC2558B0D44}"/>
    <dgm:cxn modelId="{B47D288B-3A81-470D-B547-340B1409B098}" type="presOf" srcId="{302797A6-1AE2-4867-93AC-A8721A315193}" destId="{7047910E-DEB7-4909-B4CB-0DB52A2D0A81}" srcOrd="0" destOrd="0" presId="urn:microsoft.com/office/officeart/2005/8/layout/cycle2"/>
    <dgm:cxn modelId="{BA1BBC8B-9ECB-467A-8CBF-141C5A97E161}" type="presOf" srcId="{35B8F110-AECB-48F8-A6C7-F38713DD6FCE}" destId="{D5DDFE53-2861-4CE0-AC08-E12E450329C1}" srcOrd="0" destOrd="0" presId="urn:microsoft.com/office/officeart/2005/8/layout/cycle2"/>
    <dgm:cxn modelId="{BDA2C799-6302-4A48-AC2A-034AB6BE2926}" type="presOf" srcId="{15A7CFDC-9499-4C30-B0E9-0A64F0A482F7}" destId="{C77D8230-EAA6-4B07-96E4-D412D03D3B09}" srcOrd="1" destOrd="0" presId="urn:microsoft.com/office/officeart/2005/8/layout/cycle2"/>
    <dgm:cxn modelId="{B0D9CCAB-4424-4AC7-A2DF-07DE774E8930}" srcId="{3B02A594-AF69-46BF-B4FE-EC1E4B8805E3}" destId="{5B340A02-D6E8-4B86-8612-543EDD701BA8}" srcOrd="1" destOrd="0" parTransId="{BC67B0B3-2787-4324-95ED-0AECBA6460DD}" sibTransId="{15A7CFDC-9499-4C30-B0E9-0A64F0A482F7}"/>
    <dgm:cxn modelId="{24A944B0-FA43-4BF8-8E83-782EC997DCDF}" type="presOf" srcId="{54C147DA-179F-41B6-89CE-152A8A92C0E7}" destId="{79C178D8-8A70-4183-BB91-F4006FF12CFE}" srcOrd="0" destOrd="0" presId="urn:microsoft.com/office/officeart/2005/8/layout/cycle2"/>
    <dgm:cxn modelId="{B54BC2B3-EE83-43B3-AE41-FE5DA42AE541}" srcId="{3B02A594-AF69-46BF-B4FE-EC1E4B8805E3}" destId="{FABFF9CE-59C6-45D1-9636-BE9722158170}" srcOrd="0" destOrd="0" parTransId="{ED3A6F12-F134-41CD-99DC-3526C726439D}" sibTransId="{72588CF3-8999-4A3E-AA96-9D8E94BDDCDD}"/>
    <dgm:cxn modelId="{FF2616E9-06F7-45F3-8615-F88FF4162A80}" type="presOf" srcId="{72588CF3-8999-4A3E-AA96-9D8E94BDDCDD}" destId="{322B0946-27C7-4CFA-9E99-334ECC2AF662}" srcOrd="1" destOrd="0" presId="urn:microsoft.com/office/officeart/2005/8/layout/cycle2"/>
    <dgm:cxn modelId="{7E0A0AEC-3182-4FE1-9D1E-F52E06ABC5D3}" type="presOf" srcId="{FABFF9CE-59C6-45D1-9636-BE9722158170}" destId="{5CF9D202-52AE-40F2-AD46-1DD6B3A37BD0}" srcOrd="0" destOrd="0" presId="urn:microsoft.com/office/officeart/2005/8/layout/cycle2"/>
    <dgm:cxn modelId="{CF7A10F2-E258-498F-BA0C-32B642A21E7E}" type="presOf" srcId="{ADFFE08E-D203-438B-8BDC-72702AEDEC1E}" destId="{D610DBCE-4E93-494D-85C9-A5F529E77D5E}" srcOrd="0" destOrd="0" presId="urn:microsoft.com/office/officeart/2005/8/layout/cycle2"/>
    <dgm:cxn modelId="{04473C8B-6A6A-4ABA-A8C6-392A65F42D5C}" type="presParOf" srcId="{AC32A691-6DD7-4C6B-9934-F79997D47DCF}" destId="{5CF9D202-52AE-40F2-AD46-1DD6B3A37BD0}" srcOrd="0" destOrd="0" presId="urn:microsoft.com/office/officeart/2005/8/layout/cycle2"/>
    <dgm:cxn modelId="{60B5B132-4468-4838-AF4B-A30D007DD789}" type="presParOf" srcId="{AC32A691-6DD7-4C6B-9934-F79997D47DCF}" destId="{92B03F9F-8BCC-4665-9C0B-490733CAB72E}" srcOrd="1" destOrd="0" presId="urn:microsoft.com/office/officeart/2005/8/layout/cycle2"/>
    <dgm:cxn modelId="{B376B45A-5EF2-42D4-B070-3ADF4C1B6EA7}" type="presParOf" srcId="{92B03F9F-8BCC-4665-9C0B-490733CAB72E}" destId="{322B0946-27C7-4CFA-9E99-334ECC2AF662}" srcOrd="0" destOrd="0" presId="urn:microsoft.com/office/officeart/2005/8/layout/cycle2"/>
    <dgm:cxn modelId="{F5EA6D0B-B982-423F-92AD-597D0640B5FB}" type="presParOf" srcId="{AC32A691-6DD7-4C6B-9934-F79997D47DCF}" destId="{D0FF37E1-8C8C-4AB2-A638-4729F5A4FAD0}" srcOrd="2" destOrd="0" presId="urn:microsoft.com/office/officeart/2005/8/layout/cycle2"/>
    <dgm:cxn modelId="{BC927047-D95B-4C9F-AECF-732D143D675A}" type="presParOf" srcId="{AC32A691-6DD7-4C6B-9934-F79997D47DCF}" destId="{860DC675-F779-46DB-AD1C-71380FE17956}" srcOrd="3" destOrd="0" presId="urn:microsoft.com/office/officeart/2005/8/layout/cycle2"/>
    <dgm:cxn modelId="{483EC394-4C96-4085-8D72-0DB97D1A390F}" type="presParOf" srcId="{860DC675-F779-46DB-AD1C-71380FE17956}" destId="{C77D8230-EAA6-4B07-96E4-D412D03D3B09}" srcOrd="0" destOrd="0" presId="urn:microsoft.com/office/officeart/2005/8/layout/cycle2"/>
    <dgm:cxn modelId="{F97D2075-BFFB-426E-BF40-8B324FDA1967}" type="presParOf" srcId="{AC32A691-6DD7-4C6B-9934-F79997D47DCF}" destId="{E5A1DA7C-F301-4A8E-859D-51F03F60079C}" srcOrd="4" destOrd="0" presId="urn:microsoft.com/office/officeart/2005/8/layout/cycle2"/>
    <dgm:cxn modelId="{17AC9860-18F3-4885-AD04-6B7538C4D697}" type="presParOf" srcId="{AC32A691-6DD7-4C6B-9934-F79997D47DCF}" destId="{D1EF34C4-9294-4FE6-A93A-E3D354262CAE}" srcOrd="5" destOrd="0" presId="urn:microsoft.com/office/officeart/2005/8/layout/cycle2"/>
    <dgm:cxn modelId="{F4A15576-850E-4057-84E7-8855405B433D}" type="presParOf" srcId="{D1EF34C4-9294-4FE6-A93A-E3D354262CAE}" destId="{D3B95DB5-9D2E-4756-BA0C-A2561E9BC101}" srcOrd="0" destOrd="0" presId="urn:microsoft.com/office/officeart/2005/8/layout/cycle2"/>
    <dgm:cxn modelId="{6F0CE94B-BB0D-4260-A934-0B3D0CDB4336}" type="presParOf" srcId="{AC32A691-6DD7-4C6B-9934-F79997D47DCF}" destId="{D5DDFE53-2861-4CE0-AC08-E12E450329C1}" srcOrd="6" destOrd="0" presId="urn:microsoft.com/office/officeart/2005/8/layout/cycle2"/>
    <dgm:cxn modelId="{961D45AF-657B-492B-94B2-7BEA96449F38}" type="presParOf" srcId="{AC32A691-6DD7-4C6B-9934-F79997D47DCF}" destId="{7047910E-DEB7-4909-B4CB-0DB52A2D0A81}" srcOrd="7" destOrd="0" presId="urn:microsoft.com/office/officeart/2005/8/layout/cycle2"/>
    <dgm:cxn modelId="{8F800522-505C-454B-A19B-CF27B4C624A4}" type="presParOf" srcId="{7047910E-DEB7-4909-B4CB-0DB52A2D0A81}" destId="{0756CB75-305A-44E8-A256-4C114DF9612E}" srcOrd="0" destOrd="0" presId="urn:microsoft.com/office/officeart/2005/8/layout/cycle2"/>
    <dgm:cxn modelId="{974719CD-8392-4320-9875-3B53C4D3C54B}" type="presParOf" srcId="{AC32A691-6DD7-4C6B-9934-F79997D47DCF}" destId="{79C178D8-8A70-4183-BB91-F4006FF12CFE}" srcOrd="8" destOrd="0" presId="urn:microsoft.com/office/officeart/2005/8/layout/cycle2"/>
    <dgm:cxn modelId="{004F5735-2445-431C-AD50-7F700B40BCAC}" type="presParOf" srcId="{AC32A691-6DD7-4C6B-9934-F79997D47DCF}" destId="{D610DBCE-4E93-494D-85C9-A5F529E77D5E}" srcOrd="9" destOrd="0" presId="urn:microsoft.com/office/officeart/2005/8/layout/cycle2"/>
    <dgm:cxn modelId="{A7C8E39F-771F-4F8E-8A72-D95A3B630B4B}" type="presParOf" srcId="{D610DBCE-4E93-494D-85C9-A5F529E77D5E}" destId="{1D4A64C4-A066-4C2E-AEC3-96D7A6D936AA}" srcOrd="0" destOrd="0" presId="urn:microsoft.com/office/officeart/2005/8/layout/cycle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2A6BF11-BBEE-4F10-8290-C0CF968B6F0C}" type="doc">
      <dgm:prSet loTypeId="urn:microsoft.com/office/officeart/2005/8/layout/pyramid1" loCatId="pyramid" qsTypeId="urn:microsoft.com/office/officeart/2005/8/quickstyle/simple1" qsCatId="simple" csTypeId="urn:microsoft.com/office/officeart/2005/8/colors/accent1_3" csCatId="accent1" phldr="1"/>
      <dgm:spPr/>
    </dgm:pt>
    <dgm:pt modelId="{A8E266DA-99C3-481D-BBDD-41B535659F59}">
      <dgm:prSet phldrT="[Text]"/>
      <dgm:spPr/>
      <dgm:t>
        <a:bodyPr/>
        <a:lstStyle/>
        <a:p>
          <a:r>
            <a:rPr lang="es-ES_tradnl"/>
            <a:t>Sistema</a:t>
          </a:r>
          <a:endParaRPr lang="es-ES"/>
        </a:p>
      </dgm:t>
    </dgm:pt>
    <dgm:pt modelId="{40E8B032-F44D-4FED-A936-A18B60DD3DED}" type="parTrans" cxnId="{385EA996-E2B1-4DBB-814D-BBF322BAE03B}">
      <dgm:prSet/>
      <dgm:spPr/>
      <dgm:t>
        <a:bodyPr/>
        <a:lstStyle/>
        <a:p>
          <a:endParaRPr lang="es-ES"/>
        </a:p>
      </dgm:t>
    </dgm:pt>
    <dgm:pt modelId="{F429389D-C343-4601-8021-A9ECCDD4CF4D}" type="sibTrans" cxnId="{385EA996-E2B1-4DBB-814D-BBF322BAE03B}">
      <dgm:prSet/>
      <dgm:spPr/>
      <dgm:t>
        <a:bodyPr/>
        <a:lstStyle/>
        <a:p>
          <a:endParaRPr lang="es-ES"/>
        </a:p>
      </dgm:t>
    </dgm:pt>
    <dgm:pt modelId="{C9D1944E-5560-42F8-A0BB-429E6C477878}">
      <dgm:prSet phldrT="[Text]"/>
      <dgm:spPr/>
      <dgm:t>
        <a:bodyPr/>
        <a:lstStyle/>
        <a:p>
          <a:r>
            <a:rPr lang="es-ES_tradnl"/>
            <a:t>Integración</a:t>
          </a:r>
          <a:endParaRPr lang="es-ES"/>
        </a:p>
      </dgm:t>
    </dgm:pt>
    <dgm:pt modelId="{12A1F299-78C8-4B6C-B188-5521F60B0F29}" type="parTrans" cxnId="{681063B0-E72C-4912-B540-1DEE504B7E53}">
      <dgm:prSet/>
      <dgm:spPr/>
      <dgm:t>
        <a:bodyPr/>
        <a:lstStyle/>
        <a:p>
          <a:endParaRPr lang="es-ES"/>
        </a:p>
      </dgm:t>
    </dgm:pt>
    <dgm:pt modelId="{70ADF089-FDAA-4DF3-AC7B-DD38581F03E4}" type="sibTrans" cxnId="{681063B0-E72C-4912-B540-1DEE504B7E53}">
      <dgm:prSet/>
      <dgm:spPr/>
      <dgm:t>
        <a:bodyPr/>
        <a:lstStyle/>
        <a:p>
          <a:endParaRPr lang="es-ES"/>
        </a:p>
      </dgm:t>
    </dgm:pt>
    <dgm:pt modelId="{19863D5D-FE00-4430-B7C4-46CB9310A6B7}">
      <dgm:prSet phldrT="[Text]"/>
      <dgm:spPr/>
      <dgm:t>
        <a:bodyPr/>
        <a:lstStyle/>
        <a:p>
          <a:r>
            <a:rPr lang="es-ES_tradnl"/>
            <a:t>Unidad</a:t>
          </a:r>
          <a:endParaRPr lang="es-ES"/>
        </a:p>
      </dgm:t>
    </dgm:pt>
    <dgm:pt modelId="{A2769CD0-FFF2-4CB7-8490-6198982F5A24}" type="parTrans" cxnId="{6AF70530-B0E5-48AE-A5B6-CA280A96B527}">
      <dgm:prSet/>
      <dgm:spPr/>
      <dgm:t>
        <a:bodyPr/>
        <a:lstStyle/>
        <a:p>
          <a:endParaRPr lang="es-ES"/>
        </a:p>
      </dgm:t>
    </dgm:pt>
    <dgm:pt modelId="{BDAFD920-EDFF-49EA-8AE6-A2CB4BF0AEB0}" type="sibTrans" cxnId="{6AF70530-B0E5-48AE-A5B6-CA280A96B527}">
      <dgm:prSet/>
      <dgm:spPr/>
      <dgm:t>
        <a:bodyPr/>
        <a:lstStyle/>
        <a:p>
          <a:endParaRPr lang="es-ES"/>
        </a:p>
      </dgm:t>
    </dgm:pt>
    <dgm:pt modelId="{95BCE845-38B6-479C-9C9A-18EC383E577F}">
      <dgm:prSet phldrT="[Text]"/>
      <dgm:spPr/>
      <dgm:t>
        <a:bodyPr/>
        <a:lstStyle/>
        <a:p>
          <a:r>
            <a:rPr lang="es-ES_tradnl"/>
            <a:t>Aceptación</a:t>
          </a:r>
          <a:endParaRPr lang="es-ES"/>
        </a:p>
      </dgm:t>
    </dgm:pt>
    <dgm:pt modelId="{408BC501-DE58-471B-A11E-DC0EF21451B1}" type="parTrans" cxnId="{6D847ACB-D689-443D-A215-2C9632FC14DA}">
      <dgm:prSet/>
      <dgm:spPr/>
      <dgm:t>
        <a:bodyPr/>
        <a:lstStyle/>
        <a:p>
          <a:endParaRPr lang="es-ES"/>
        </a:p>
      </dgm:t>
    </dgm:pt>
    <dgm:pt modelId="{8C231D07-560C-461B-899C-723FEE1B352C}" type="sibTrans" cxnId="{6D847ACB-D689-443D-A215-2C9632FC14DA}">
      <dgm:prSet/>
      <dgm:spPr/>
      <dgm:t>
        <a:bodyPr/>
        <a:lstStyle/>
        <a:p>
          <a:endParaRPr lang="es-ES"/>
        </a:p>
      </dgm:t>
    </dgm:pt>
    <dgm:pt modelId="{30215DD6-2BC4-49FC-A01C-03CC137C8023}" type="pres">
      <dgm:prSet presAssocID="{62A6BF11-BBEE-4F10-8290-C0CF968B6F0C}" presName="Name0" presStyleCnt="0">
        <dgm:presLayoutVars>
          <dgm:dir/>
          <dgm:animLvl val="lvl"/>
          <dgm:resizeHandles val="exact"/>
        </dgm:presLayoutVars>
      </dgm:prSet>
      <dgm:spPr/>
    </dgm:pt>
    <dgm:pt modelId="{638E9451-2381-4FAE-B3E8-8B20B993335E}" type="pres">
      <dgm:prSet presAssocID="{95BCE845-38B6-479C-9C9A-18EC383E577F}" presName="Name8" presStyleCnt="0"/>
      <dgm:spPr/>
    </dgm:pt>
    <dgm:pt modelId="{C3979239-50E9-4E95-8427-690FD6B8C77B}" type="pres">
      <dgm:prSet presAssocID="{95BCE845-38B6-479C-9C9A-18EC383E577F}" presName="level" presStyleLbl="node1" presStyleIdx="0" presStyleCnt="4">
        <dgm:presLayoutVars>
          <dgm:chMax val="1"/>
          <dgm:bulletEnabled val="1"/>
        </dgm:presLayoutVars>
      </dgm:prSet>
      <dgm:spPr/>
    </dgm:pt>
    <dgm:pt modelId="{13C1496B-BE6E-4E11-BB62-153991370AE6}" type="pres">
      <dgm:prSet presAssocID="{95BCE845-38B6-479C-9C9A-18EC383E577F}" presName="levelTx" presStyleLbl="revTx" presStyleIdx="0" presStyleCnt="0">
        <dgm:presLayoutVars>
          <dgm:chMax val="1"/>
          <dgm:bulletEnabled val="1"/>
        </dgm:presLayoutVars>
      </dgm:prSet>
      <dgm:spPr/>
    </dgm:pt>
    <dgm:pt modelId="{BF390B10-6F07-4561-9985-CE4F44CC4B72}" type="pres">
      <dgm:prSet presAssocID="{A8E266DA-99C3-481D-BBDD-41B535659F59}" presName="Name8" presStyleCnt="0"/>
      <dgm:spPr/>
    </dgm:pt>
    <dgm:pt modelId="{93C65C30-E538-4DD0-B749-184308B1081C}" type="pres">
      <dgm:prSet presAssocID="{A8E266DA-99C3-481D-BBDD-41B535659F59}" presName="level" presStyleLbl="node1" presStyleIdx="1" presStyleCnt="4">
        <dgm:presLayoutVars>
          <dgm:chMax val="1"/>
          <dgm:bulletEnabled val="1"/>
        </dgm:presLayoutVars>
      </dgm:prSet>
      <dgm:spPr/>
    </dgm:pt>
    <dgm:pt modelId="{B8ED2F53-BD42-4414-9A89-0BC864B72BA6}" type="pres">
      <dgm:prSet presAssocID="{A8E266DA-99C3-481D-BBDD-41B535659F59}" presName="levelTx" presStyleLbl="revTx" presStyleIdx="0" presStyleCnt="0">
        <dgm:presLayoutVars>
          <dgm:chMax val="1"/>
          <dgm:bulletEnabled val="1"/>
        </dgm:presLayoutVars>
      </dgm:prSet>
      <dgm:spPr/>
    </dgm:pt>
    <dgm:pt modelId="{6ACA88D6-2E18-4C46-A341-EAC887062A66}" type="pres">
      <dgm:prSet presAssocID="{C9D1944E-5560-42F8-A0BB-429E6C477878}" presName="Name8" presStyleCnt="0"/>
      <dgm:spPr/>
    </dgm:pt>
    <dgm:pt modelId="{139FDFED-4BA7-480B-8DDB-BCCD89C61433}" type="pres">
      <dgm:prSet presAssocID="{C9D1944E-5560-42F8-A0BB-429E6C477878}" presName="level" presStyleLbl="node1" presStyleIdx="2" presStyleCnt="4">
        <dgm:presLayoutVars>
          <dgm:chMax val="1"/>
          <dgm:bulletEnabled val="1"/>
        </dgm:presLayoutVars>
      </dgm:prSet>
      <dgm:spPr/>
    </dgm:pt>
    <dgm:pt modelId="{24719B4D-C711-4147-B56C-028C28CE8C8D}" type="pres">
      <dgm:prSet presAssocID="{C9D1944E-5560-42F8-A0BB-429E6C477878}" presName="levelTx" presStyleLbl="revTx" presStyleIdx="0" presStyleCnt="0">
        <dgm:presLayoutVars>
          <dgm:chMax val="1"/>
          <dgm:bulletEnabled val="1"/>
        </dgm:presLayoutVars>
      </dgm:prSet>
      <dgm:spPr/>
    </dgm:pt>
    <dgm:pt modelId="{88D8254F-587D-493C-892B-83BF8D9F0200}" type="pres">
      <dgm:prSet presAssocID="{19863D5D-FE00-4430-B7C4-46CB9310A6B7}" presName="Name8" presStyleCnt="0"/>
      <dgm:spPr/>
    </dgm:pt>
    <dgm:pt modelId="{955A72A2-6991-4DD6-9704-23E9C4861001}" type="pres">
      <dgm:prSet presAssocID="{19863D5D-FE00-4430-B7C4-46CB9310A6B7}" presName="level" presStyleLbl="node1" presStyleIdx="3" presStyleCnt="4">
        <dgm:presLayoutVars>
          <dgm:chMax val="1"/>
          <dgm:bulletEnabled val="1"/>
        </dgm:presLayoutVars>
      </dgm:prSet>
      <dgm:spPr/>
    </dgm:pt>
    <dgm:pt modelId="{4035606E-EC83-4709-A6EF-AD015C71101E}" type="pres">
      <dgm:prSet presAssocID="{19863D5D-FE00-4430-B7C4-46CB9310A6B7}" presName="levelTx" presStyleLbl="revTx" presStyleIdx="0" presStyleCnt="0">
        <dgm:presLayoutVars>
          <dgm:chMax val="1"/>
          <dgm:bulletEnabled val="1"/>
        </dgm:presLayoutVars>
      </dgm:prSet>
      <dgm:spPr/>
    </dgm:pt>
  </dgm:ptLst>
  <dgm:cxnLst>
    <dgm:cxn modelId="{FF908811-3539-40EB-987F-10561D4083E5}" type="presOf" srcId="{A8E266DA-99C3-481D-BBDD-41B535659F59}" destId="{93C65C30-E538-4DD0-B749-184308B1081C}" srcOrd="0" destOrd="0" presId="urn:microsoft.com/office/officeart/2005/8/layout/pyramid1"/>
    <dgm:cxn modelId="{88746D23-9211-4FE4-BB80-3E25D37A66F6}" type="presOf" srcId="{95BCE845-38B6-479C-9C9A-18EC383E577F}" destId="{C3979239-50E9-4E95-8427-690FD6B8C77B}" srcOrd="0" destOrd="0" presId="urn:microsoft.com/office/officeart/2005/8/layout/pyramid1"/>
    <dgm:cxn modelId="{6AF70530-B0E5-48AE-A5B6-CA280A96B527}" srcId="{62A6BF11-BBEE-4F10-8290-C0CF968B6F0C}" destId="{19863D5D-FE00-4430-B7C4-46CB9310A6B7}" srcOrd="3" destOrd="0" parTransId="{A2769CD0-FFF2-4CB7-8490-6198982F5A24}" sibTransId="{BDAFD920-EDFF-49EA-8AE6-A2CB4BF0AEB0}"/>
    <dgm:cxn modelId="{009B9660-D547-4803-B80D-3E56301E3A5C}" type="presOf" srcId="{19863D5D-FE00-4430-B7C4-46CB9310A6B7}" destId="{955A72A2-6991-4DD6-9704-23E9C4861001}" srcOrd="0" destOrd="0" presId="urn:microsoft.com/office/officeart/2005/8/layout/pyramid1"/>
    <dgm:cxn modelId="{4B9D054B-F811-4903-A1A2-15E75AC7EFCB}" type="presOf" srcId="{C9D1944E-5560-42F8-A0BB-429E6C477878}" destId="{24719B4D-C711-4147-B56C-028C28CE8C8D}" srcOrd="1" destOrd="0" presId="urn:microsoft.com/office/officeart/2005/8/layout/pyramid1"/>
    <dgm:cxn modelId="{0C3D927B-C2C3-4B70-AADD-C84006F3BE71}" type="presOf" srcId="{A8E266DA-99C3-481D-BBDD-41B535659F59}" destId="{B8ED2F53-BD42-4414-9A89-0BC864B72BA6}" srcOrd="1" destOrd="0" presId="urn:microsoft.com/office/officeart/2005/8/layout/pyramid1"/>
    <dgm:cxn modelId="{385EA996-E2B1-4DBB-814D-BBF322BAE03B}" srcId="{62A6BF11-BBEE-4F10-8290-C0CF968B6F0C}" destId="{A8E266DA-99C3-481D-BBDD-41B535659F59}" srcOrd="1" destOrd="0" parTransId="{40E8B032-F44D-4FED-A936-A18B60DD3DED}" sibTransId="{F429389D-C343-4601-8021-A9ECCDD4CF4D}"/>
    <dgm:cxn modelId="{D956F6A3-A71B-437C-A33A-17D266BE74C8}" type="presOf" srcId="{C9D1944E-5560-42F8-A0BB-429E6C477878}" destId="{139FDFED-4BA7-480B-8DDB-BCCD89C61433}" srcOrd="0" destOrd="0" presId="urn:microsoft.com/office/officeart/2005/8/layout/pyramid1"/>
    <dgm:cxn modelId="{8B3C7EAB-284F-4F56-BA21-0789522F958C}" type="presOf" srcId="{19863D5D-FE00-4430-B7C4-46CB9310A6B7}" destId="{4035606E-EC83-4709-A6EF-AD015C71101E}" srcOrd="1" destOrd="0" presId="urn:microsoft.com/office/officeart/2005/8/layout/pyramid1"/>
    <dgm:cxn modelId="{681063B0-E72C-4912-B540-1DEE504B7E53}" srcId="{62A6BF11-BBEE-4F10-8290-C0CF968B6F0C}" destId="{C9D1944E-5560-42F8-A0BB-429E6C477878}" srcOrd="2" destOrd="0" parTransId="{12A1F299-78C8-4B6C-B188-5521F60B0F29}" sibTransId="{70ADF089-FDAA-4DF3-AC7B-DD38581F03E4}"/>
    <dgm:cxn modelId="{6D847ACB-D689-443D-A215-2C9632FC14DA}" srcId="{62A6BF11-BBEE-4F10-8290-C0CF968B6F0C}" destId="{95BCE845-38B6-479C-9C9A-18EC383E577F}" srcOrd="0" destOrd="0" parTransId="{408BC501-DE58-471B-A11E-DC0EF21451B1}" sibTransId="{8C231D07-560C-461B-899C-723FEE1B352C}"/>
    <dgm:cxn modelId="{1F47ABD4-16F6-4B2A-9C61-EC9FAAA1FD6F}" type="presOf" srcId="{95BCE845-38B6-479C-9C9A-18EC383E577F}" destId="{13C1496B-BE6E-4E11-BB62-153991370AE6}" srcOrd="1" destOrd="0" presId="urn:microsoft.com/office/officeart/2005/8/layout/pyramid1"/>
    <dgm:cxn modelId="{E9A97FEF-1775-4F67-8494-AF3DF2496F59}" type="presOf" srcId="{62A6BF11-BBEE-4F10-8290-C0CF968B6F0C}" destId="{30215DD6-2BC4-49FC-A01C-03CC137C8023}" srcOrd="0" destOrd="0" presId="urn:microsoft.com/office/officeart/2005/8/layout/pyramid1"/>
    <dgm:cxn modelId="{28BBFB72-200C-4968-9FBE-AC9DF4BC04C7}" type="presParOf" srcId="{30215DD6-2BC4-49FC-A01C-03CC137C8023}" destId="{638E9451-2381-4FAE-B3E8-8B20B993335E}" srcOrd="0" destOrd="0" presId="urn:microsoft.com/office/officeart/2005/8/layout/pyramid1"/>
    <dgm:cxn modelId="{8DD81BFA-2C29-49E1-8DE4-67D04C800C8C}" type="presParOf" srcId="{638E9451-2381-4FAE-B3E8-8B20B993335E}" destId="{C3979239-50E9-4E95-8427-690FD6B8C77B}" srcOrd="0" destOrd="0" presId="urn:microsoft.com/office/officeart/2005/8/layout/pyramid1"/>
    <dgm:cxn modelId="{7F6731F1-C504-4003-8798-D23170868C93}" type="presParOf" srcId="{638E9451-2381-4FAE-B3E8-8B20B993335E}" destId="{13C1496B-BE6E-4E11-BB62-153991370AE6}" srcOrd="1" destOrd="0" presId="urn:microsoft.com/office/officeart/2005/8/layout/pyramid1"/>
    <dgm:cxn modelId="{F15A4681-77E9-4F37-A455-5B41175A8291}" type="presParOf" srcId="{30215DD6-2BC4-49FC-A01C-03CC137C8023}" destId="{BF390B10-6F07-4561-9985-CE4F44CC4B72}" srcOrd="1" destOrd="0" presId="urn:microsoft.com/office/officeart/2005/8/layout/pyramid1"/>
    <dgm:cxn modelId="{6869FCFB-7E24-47D8-AB22-BF9DB48A1EFB}" type="presParOf" srcId="{BF390B10-6F07-4561-9985-CE4F44CC4B72}" destId="{93C65C30-E538-4DD0-B749-184308B1081C}" srcOrd="0" destOrd="0" presId="urn:microsoft.com/office/officeart/2005/8/layout/pyramid1"/>
    <dgm:cxn modelId="{7E76B9EF-0F92-4780-B659-C82C1D2031C6}" type="presParOf" srcId="{BF390B10-6F07-4561-9985-CE4F44CC4B72}" destId="{B8ED2F53-BD42-4414-9A89-0BC864B72BA6}" srcOrd="1" destOrd="0" presId="urn:microsoft.com/office/officeart/2005/8/layout/pyramid1"/>
    <dgm:cxn modelId="{F794944F-983E-44CF-A9B3-87766452C48F}" type="presParOf" srcId="{30215DD6-2BC4-49FC-A01C-03CC137C8023}" destId="{6ACA88D6-2E18-4C46-A341-EAC887062A66}" srcOrd="2" destOrd="0" presId="urn:microsoft.com/office/officeart/2005/8/layout/pyramid1"/>
    <dgm:cxn modelId="{34DFB100-BF0B-4A81-9AF0-A2552E57F634}" type="presParOf" srcId="{6ACA88D6-2E18-4C46-A341-EAC887062A66}" destId="{139FDFED-4BA7-480B-8DDB-BCCD89C61433}" srcOrd="0" destOrd="0" presId="urn:microsoft.com/office/officeart/2005/8/layout/pyramid1"/>
    <dgm:cxn modelId="{4A681956-CA3D-47A0-A07F-7B0C5DF457D2}" type="presParOf" srcId="{6ACA88D6-2E18-4C46-A341-EAC887062A66}" destId="{24719B4D-C711-4147-B56C-028C28CE8C8D}" srcOrd="1" destOrd="0" presId="urn:microsoft.com/office/officeart/2005/8/layout/pyramid1"/>
    <dgm:cxn modelId="{21104016-1129-4FDA-B90C-2058631F4051}" type="presParOf" srcId="{30215DD6-2BC4-49FC-A01C-03CC137C8023}" destId="{88D8254F-587D-493C-892B-83BF8D9F0200}" srcOrd="3" destOrd="0" presId="urn:microsoft.com/office/officeart/2005/8/layout/pyramid1"/>
    <dgm:cxn modelId="{AA991564-3808-4D65-910D-0EA387B4DBA2}" type="presParOf" srcId="{88D8254F-587D-493C-892B-83BF8D9F0200}" destId="{955A72A2-6991-4DD6-9704-23E9C4861001}" srcOrd="0" destOrd="0" presId="urn:microsoft.com/office/officeart/2005/8/layout/pyramid1"/>
    <dgm:cxn modelId="{841D59D0-4A21-4E81-8AFE-EFEB2741E130}" type="presParOf" srcId="{88D8254F-587D-493C-892B-83BF8D9F0200}" destId="{4035606E-EC83-4709-A6EF-AD015C71101E}" srcOrd="1" destOrd="0" presId="urn:microsoft.com/office/officeart/2005/8/layout/pyramid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A636694-0591-4A48-9118-2D21EED86798}"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s-ES"/>
        </a:p>
      </dgm:t>
    </dgm:pt>
    <dgm:pt modelId="{A2FE60FD-54D1-465E-9F5E-9648EE01CC95}">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Interdisciplinario</a:t>
          </a:r>
          <a:endParaRPr lang="es-ES"/>
        </a:p>
      </dgm:t>
    </dgm:pt>
    <dgm:pt modelId="{0BBE57B6-674D-466C-B1FE-FB1923DD056A}" type="parTrans" cxnId="{816994EC-8DAC-4F44-BF5D-CD444FB49D1F}">
      <dgm:prSet/>
      <dgm:spPr/>
      <dgm:t>
        <a:bodyPr/>
        <a:lstStyle/>
        <a:p>
          <a:endParaRPr lang="es-ES"/>
        </a:p>
      </dgm:t>
    </dgm:pt>
    <dgm:pt modelId="{65B71B4F-5671-4815-B820-0548F3741E86}" type="sibTrans" cxnId="{816994EC-8DAC-4F44-BF5D-CD444FB49D1F}">
      <dgm:prSet/>
      <dgm:spPr/>
      <dgm:t>
        <a:bodyPr/>
        <a:lstStyle/>
        <a:p>
          <a:endParaRPr lang="es-ES"/>
        </a:p>
      </dgm:t>
    </dgm:pt>
    <dgm:pt modelId="{B33B7E99-1C35-43AE-850F-BD73D8E7ED0F}">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Autoorganizado</a:t>
          </a:r>
          <a:endParaRPr lang="es-ES"/>
        </a:p>
      </dgm:t>
    </dgm:pt>
    <dgm:pt modelId="{54B877F2-148A-47D0-AA7B-F13A6B07C5F3}" type="parTrans" cxnId="{744CA346-5162-496C-8789-E7B061502FF4}">
      <dgm:prSet/>
      <dgm:spPr/>
      <dgm:t>
        <a:bodyPr/>
        <a:lstStyle/>
        <a:p>
          <a:endParaRPr lang="es-ES"/>
        </a:p>
      </dgm:t>
    </dgm:pt>
    <dgm:pt modelId="{3DA92747-385E-4B1D-9C9D-F6D5CF8B5503}" type="sibTrans" cxnId="{744CA346-5162-496C-8789-E7B061502FF4}">
      <dgm:prSet/>
      <dgm:spPr/>
      <dgm:t>
        <a:bodyPr/>
        <a:lstStyle/>
        <a:p>
          <a:endParaRPr lang="es-ES"/>
        </a:p>
      </dgm:t>
    </dgm:pt>
    <dgm:pt modelId="{0A6500ED-F17D-4AEF-A39F-2C2C4FF5CA34}">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Ubicación común</a:t>
          </a:r>
          <a:endParaRPr lang="es-ES"/>
        </a:p>
      </dgm:t>
    </dgm:pt>
    <dgm:pt modelId="{E0495957-A22A-4CD6-9563-369F3AEA7607}" type="parTrans" cxnId="{2371DBE1-B406-4EFC-B320-0604D12E1E44}">
      <dgm:prSet/>
      <dgm:spPr/>
      <dgm:t>
        <a:bodyPr/>
        <a:lstStyle/>
        <a:p>
          <a:endParaRPr lang="es-ES"/>
        </a:p>
      </dgm:t>
    </dgm:pt>
    <dgm:pt modelId="{C0E12C7C-6469-40AD-896B-1EB90E0569E7}" type="sibTrans" cxnId="{2371DBE1-B406-4EFC-B320-0604D12E1E44}">
      <dgm:prSet/>
      <dgm:spPr/>
      <dgm:t>
        <a:bodyPr/>
        <a:lstStyle/>
        <a:p>
          <a:endParaRPr lang="es-ES"/>
        </a:p>
      </dgm:t>
    </dgm:pt>
    <dgm:pt modelId="{8A8FA4AD-FEE5-4E9C-BC19-1DFF88FA6EDE}">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Colaborativo</a:t>
          </a:r>
          <a:endParaRPr lang="es-ES"/>
        </a:p>
      </dgm:t>
    </dgm:pt>
    <dgm:pt modelId="{DC038F78-9525-4A2D-B4E1-6275C54E7108}" type="parTrans" cxnId="{7D7E69E4-A353-4715-AC9F-000FE75A0738}">
      <dgm:prSet/>
      <dgm:spPr/>
      <dgm:t>
        <a:bodyPr/>
        <a:lstStyle/>
        <a:p>
          <a:endParaRPr lang="es-ES"/>
        </a:p>
      </dgm:t>
    </dgm:pt>
    <dgm:pt modelId="{F60CFF9B-267B-4374-812D-6E9A222E1A5A}" type="sibTrans" cxnId="{7D7E69E4-A353-4715-AC9F-000FE75A0738}">
      <dgm:prSet/>
      <dgm:spPr/>
      <dgm:t>
        <a:bodyPr/>
        <a:lstStyle/>
        <a:p>
          <a:endParaRPr lang="es-ES"/>
        </a:p>
      </dgm:t>
    </dgm:pt>
    <dgm:pt modelId="{A812C226-1079-426E-A2DE-572BBCD6BDE7}">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Empoderado</a:t>
          </a:r>
          <a:endParaRPr lang="es-ES"/>
        </a:p>
      </dgm:t>
    </dgm:pt>
    <dgm:pt modelId="{5F3EB151-E13B-48AD-8CBC-B63A74E935DB}" type="parTrans" cxnId="{18804FF4-D12F-4550-9DDA-4E3FAE08D22C}">
      <dgm:prSet/>
      <dgm:spPr/>
      <dgm:t>
        <a:bodyPr/>
        <a:lstStyle/>
        <a:p>
          <a:endParaRPr lang="es-ES"/>
        </a:p>
      </dgm:t>
    </dgm:pt>
    <dgm:pt modelId="{7FBA2328-835C-40BD-9C82-5951CE39D85A}" type="sibTrans" cxnId="{18804FF4-D12F-4550-9DDA-4E3FAE08D22C}">
      <dgm:prSet/>
      <dgm:spPr/>
      <dgm:t>
        <a:bodyPr/>
        <a:lstStyle/>
        <a:p>
          <a:endParaRPr lang="es-ES"/>
        </a:p>
      </dgm:t>
    </dgm:pt>
    <dgm:pt modelId="{51C81EC4-1725-40EF-8B04-BEA9A292E7F5}">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Comprometido</a:t>
          </a:r>
          <a:endParaRPr lang="es-ES"/>
        </a:p>
      </dgm:t>
    </dgm:pt>
    <dgm:pt modelId="{723F3867-ABA9-446E-850E-A4FB5498794E}" type="parTrans" cxnId="{F171C806-496D-4441-9078-80CCE14028FE}">
      <dgm:prSet/>
      <dgm:spPr/>
      <dgm:t>
        <a:bodyPr/>
        <a:lstStyle/>
        <a:p>
          <a:endParaRPr lang="es-ES"/>
        </a:p>
      </dgm:t>
    </dgm:pt>
    <dgm:pt modelId="{E0988CDD-A978-4A7F-9A0D-262AF6BC9990}" type="sibTrans" cxnId="{F171C806-496D-4441-9078-80CCE14028FE}">
      <dgm:prSet/>
      <dgm:spPr/>
      <dgm:t>
        <a:bodyPr/>
        <a:lstStyle/>
        <a:p>
          <a:endParaRPr lang="es-ES"/>
        </a:p>
      </dgm:t>
    </dgm:pt>
    <dgm:pt modelId="{D76850D2-B65B-42CC-B016-B872B3062C52}">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Transparente</a:t>
          </a:r>
          <a:endParaRPr lang="es-ES"/>
        </a:p>
      </dgm:t>
    </dgm:pt>
    <dgm:pt modelId="{EAF0E57B-F102-4D63-B698-A6F662027A9C}" type="parTrans" cxnId="{0E8B0E56-F8F6-48FE-8CA8-A8134AACF39A}">
      <dgm:prSet/>
      <dgm:spPr/>
      <dgm:t>
        <a:bodyPr/>
        <a:lstStyle/>
        <a:p>
          <a:endParaRPr lang="es-ES"/>
        </a:p>
      </dgm:t>
    </dgm:pt>
    <dgm:pt modelId="{9D335E29-FBC1-4CD9-84BB-F4B1E821CCF1}" type="sibTrans" cxnId="{0E8B0E56-F8F6-48FE-8CA8-A8134AACF39A}">
      <dgm:prSet/>
      <dgm:spPr/>
      <dgm:t>
        <a:bodyPr/>
        <a:lstStyle/>
        <a:p>
          <a:endParaRPr lang="es-ES"/>
        </a:p>
      </dgm:t>
    </dgm:pt>
    <dgm:pt modelId="{CDFECBE8-2C09-4AEE-91D8-B0BBF89F2DE8}">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Creíble</a:t>
          </a:r>
          <a:endParaRPr lang="es-ES"/>
        </a:p>
      </dgm:t>
    </dgm:pt>
    <dgm:pt modelId="{BC353DBF-1C22-4EA2-88B8-AE483CCC2B75}" type="parTrans" cxnId="{A25A0D9A-9B3C-4E53-92A0-C942C73C4951}">
      <dgm:prSet/>
      <dgm:spPr/>
      <dgm:t>
        <a:bodyPr/>
        <a:lstStyle/>
        <a:p>
          <a:endParaRPr lang="es-ES"/>
        </a:p>
      </dgm:t>
    </dgm:pt>
    <dgm:pt modelId="{62BBF1F2-2E4C-4CEC-AACC-420DA435AC1B}" type="sibTrans" cxnId="{A25A0D9A-9B3C-4E53-92A0-C942C73C4951}">
      <dgm:prSet/>
      <dgm:spPr/>
      <dgm:t>
        <a:bodyPr/>
        <a:lstStyle/>
        <a:p>
          <a:endParaRPr lang="es-ES"/>
        </a:p>
      </dgm:t>
    </dgm:pt>
    <dgm:pt modelId="{38D44370-6894-464B-A928-FA78ACDE2B62}">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Abierto a la retroalimentación</a:t>
          </a:r>
          <a:endParaRPr lang="es-ES"/>
        </a:p>
      </dgm:t>
    </dgm:pt>
    <dgm:pt modelId="{01E6AB6E-7592-45D1-B6C4-0989635CBB1A}" type="parTrans" cxnId="{7C679C7A-9B19-4EBF-A483-1CB9E8175185}">
      <dgm:prSet/>
      <dgm:spPr/>
      <dgm:t>
        <a:bodyPr/>
        <a:lstStyle/>
        <a:p>
          <a:endParaRPr lang="es-ES"/>
        </a:p>
      </dgm:t>
    </dgm:pt>
    <dgm:pt modelId="{4FFE9BE6-2D9D-478A-A1EC-43A72085A7A0}" type="sibTrans" cxnId="{7C679C7A-9B19-4EBF-A483-1CB9E8175185}">
      <dgm:prSet/>
      <dgm:spPr/>
      <dgm:t>
        <a:bodyPr/>
        <a:lstStyle/>
        <a:p>
          <a:endParaRPr lang="es-ES"/>
        </a:p>
      </dgm:t>
    </dgm:pt>
    <dgm:pt modelId="{86F141E4-2477-4874-9AE8-4BB4D0D33507}">
      <dgm:prSet phldrT="[Text]"/>
      <dgm:spPr/>
      <dgm:t>
        <a:bodyPr/>
        <a:lstStyle/>
        <a:p>
          <a:pPr>
            <a:buFont typeface="Wingdings" panose="05000000000000000000" pitchFamily="2" charset="2"/>
            <a:buChar char="§"/>
          </a:pPr>
          <a:r>
            <a:rPr lang="es-ES" b="1">
              <a:effectLst/>
              <a:latin typeface="Calibri" panose="020F0502020204030204" pitchFamily="34" charset="0"/>
              <a:ea typeface="Calibri" panose="020F0502020204030204" pitchFamily="34" charset="0"/>
              <a:cs typeface="Times New Roman" panose="02020603050405020304" pitchFamily="18" charset="0"/>
            </a:rPr>
            <a:t>Resiliente</a:t>
          </a:r>
          <a:endParaRPr lang="es-ES"/>
        </a:p>
      </dgm:t>
    </dgm:pt>
    <dgm:pt modelId="{5FFEF4AA-5E06-4083-A4F7-79039CE728B6}" type="parTrans" cxnId="{B5BE905A-92F7-4099-BC19-F8DAE605BFDB}">
      <dgm:prSet/>
      <dgm:spPr/>
      <dgm:t>
        <a:bodyPr/>
        <a:lstStyle/>
        <a:p>
          <a:endParaRPr lang="es-ES"/>
        </a:p>
      </dgm:t>
    </dgm:pt>
    <dgm:pt modelId="{AAFCA868-8260-4A12-B1B9-A0536A8DA219}" type="sibTrans" cxnId="{B5BE905A-92F7-4099-BC19-F8DAE605BFDB}">
      <dgm:prSet/>
      <dgm:spPr/>
      <dgm:t>
        <a:bodyPr/>
        <a:lstStyle/>
        <a:p>
          <a:endParaRPr lang="es-ES"/>
        </a:p>
      </dgm:t>
    </dgm:pt>
    <dgm:pt modelId="{2325FDEC-FA80-4E56-BB51-6BF8425012F0}" type="pres">
      <dgm:prSet presAssocID="{DA636694-0591-4A48-9118-2D21EED86798}" presName="diagram" presStyleCnt="0">
        <dgm:presLayoutVars>
          <dgm:dir/>
          <dgm:resizeHandles val="exact"/>
        </dgm:presLayoutVars>
      </dgm:prSet>
      <dgm:spPr/>
    </dgm:pt>
    <dgm:pt modelId="{837F619C-A162-4A08-87A9-5A771585E855}" type="pres">
      <dgm:prSet presAssocID="{A2FE60FD-54D1-465E-9F5E-9648EE01CC95}" presName="node" presStyleLbl="node1" presStyleIdx="0" presStyleCnt="10">
        <dgm:presLayoutVars>
          <dgm:bulletEnabled val="1"/>
        </dgm:presLayoutVars>
      </dgm:prSet>
      <dgm:spPr/>
    </dgm:pt>
    <dgm:pt modelId="{71FCBD3C-B246-4A9D-B09A-97859271C884}" type="pres">
      <dgm:prSet presAssocID="{65B71B4F-5671-4815-B820-0548F3741E86}" presName="sibTrans" presStyleCnt="0"/>
      <dgm:spPr/>
    </dgm:pt>
    <dgm:pt modelId="{D65CD26A-1C93-4CFD-A6AB-AB7D622BF1C7}" type="pres">
      <dgm:prSet presAssocID="{B33B7E99-1C35-43AE-850F-BD73D8E7ED0F}" presName="node" presStyleLbl="node1" presStyleIdx="1" presStyleCnt="10">
        <dgm:presLayoutVars>
          <dgm:bulletEnabled val="1"/>
        </dgm:presLayoutVars>
      </dgm:prSet>
      <dgm:spPr/>
    </dgm:pt>
    <dgm:pt modelId="{50E3C515-6D91-4611-A996-AD7DE0062260}" type="pres">
      <dgm:prSet presAssocID="{3DA92747-385E-4B1D-9C9D-F6D5CF8B5503}" presName="sibTrans" presStyleCnt="0"/>
      <dgm:spPr/>
    </dgm:pt>
    <dgm:pt modelId="{5C7ACBDA-20E4-4F1B-B1CD-AD5CE65BBBC3}" type="pres">
      <dgm:prSet presAssocID="{0A6500ED-F17D-4AEF-A39F-2C2C4FF5CA34}" presName="node" presStyleLbl="node1" presStyleIdx="2" presStyleCnt="10">
        <dgm:presLayoutVars>
          <dgm:bulletEnabled val="1"/>
        </dgm:presLayoutVars>
      </dgm:prSet>
      <dgm:spPr/>
    </dgm:pt>
    <dgm:pt modelId="{FD88F918-D315-4A96-84F3-F0305C1B6D4F}" type="pres">
      <dgm:prSet presAssocID="{C0E12C7C-6469-40AD-896B-1EB90E0569E7}" presName="sibTrans" presStyleCnt="0"/>
      <dgm:spPr/>
    </dgm:pt>
    <dgm:pt modelId="{78ECA4DC-2886-441C-B1FD-3989BA486D8F}" type="pres">
      <dgm:prSet presAssocID="{8A8FA4AD-FEE5-4E9C-BC19-1DFF88FA6EDE}" presName="node" presStyleLbl="node1" presStyleIdx="3" presStyleCnt="10">
        <dgm:presLayoutVars>
          <dgm:bulletEnabled val="1"/>
        </dgm:presLayoutVars>
      </dgm:prSet>
      <dgm:spPr/>
    </dgm:pt>
    <dgm:pt modelId="{2AC371D2-5426-408F-8DA6-853941B2F1C5}" type="pres">
      <dgm:prSet presAssocID="{F60CFF9B-267B-4374-812D-6E9A222E1A5A}" presName="sibTrans" presStyleCnt="0"/>
      <dgm:spPr/>
    </dgm:pt>
    <dgm:pt modelId="{40EC81BD-623D-4F5B-AE49-A9E4D7630C4A}" type="pres">
      <dgm:prSet presAssocID="{A812C226-1079-426E-A2DE-572BBCD6BDE7}" presName="node" presStyleLbl="node1" presStyleIdx="4" presStyleCnt="10">
        <dgm:presLayoutVars>
          <dgm:bulletEnabled val="1"/>
        </dgm:presLayoutVars>
      </dgm:prSet>
      <dgm:spPr/>
    </dgm:pt>
    <dgm:pt modelId="{9712A9F3-A2AB-4216-B410-A0F7F5F232BE}" type="pres">
      <dgm:prSet presAssocID="{7FBA2328-835C-40BD-9C82-5951CE39D85A}" presName="sibTrans" presStyleCnt="0"/>
      <dgm:spPr/>
    </dgm:pt>
    <dgm:pt modelId="{D625CBB5-01EC-4F16-BCEC-0D262AF513D7}" type="pres">
      <dgm:prSet presAssocID="{51C81EC4-1725-40EF-8B04-BEA9A292E7F5}" presName="node" presStyleLbl="node1" presStyleIdx="5" presStyleCnt="10">
        <dgm:presLayoutVars>
          <dgm:bulletEnabled val="1"/>
        </dgm:presLayoutVars>
      </dgm:prSet>
      <dgm:spPr/>
    </dgm:pt>
    <dgm:pt modelId="{493AA3A2-04D8-4495-8D6F-AE1DC47905AF}" type="pres">
      <dgm:prSet presAssocID="{E0988CDD-A978-4A7F-9A0D-262AF6BC9990}" presName="sibTrans" presStyleCnt="0"/>
      <dgm:spPr/>
    </dgm:pt>
    <dgm:pt modelId="{4CF918B7-87EE-42A8-94EF-7CA39FFED30E}" type="pres">
      <dgm:prSet presAssocID="{D76850D2-B65B-42CC-B016-B872B3062C52}" presName="node" presStyleLbl="node1" presStyleIdx="6" presStyleCnt="10">
        <dgm:presLayoutVars>
          <dgm:bulletEnabled val="1"/>
        </dgm:presLayoutVars>
      </dgm:prSet>
      <dgm:spPr/>
    </dgm:pt>
    <dgm:pt modelId="{B1C9456D-9797-4F45-A107-2BC8F65FDF65}" type="pres">
      <dgm:prSet presAssocID="{9D335E29-FBC1-4CD9-84BB-F4B1E821CCF1}" presName="sibTrans" presStyleCnt="0"/>
      <dgm:spPr/>
    </dgm:pt>
    <dgm:pt modelId="{E616B686-BE8F-4C4D-B02F-D55A5BDE9D40}" type="pres">
      <dgm:prSet presAssocID="{CDFECBE8-2C09-4AEE-91D8-B0BBF89F2DE8}" presName="node" presStyleLbl="node1" presStyleIdx="7" presStyleCnt="10">
        <dgm:presLayoutVars>
          <dgm:bulletEnabled val="1"/>
        </dgm:presLayoutVars>
      </dgm:prSet>
      <dgm:spPr/>
    </dgm:pt>
    <dgm:pt modelId="{38397268-9812-4F32-9D1C-DBDE14F220CC}" type="pres">
      <dgm:prSet presAssocID="{62BBF1F2-2E4C-4CEC-AACC-420DA435AC1B}" presName="sibTrans" presStyleCnt="0"/>
      <dgm:spPr/>
    </dgm:pt>
    <dgm:pt modelId="{1A152FE6-6C35-4142-92BF-08AC98E6EE8E}" type="pres">
      <dgm:prSet presAssocID="{38D44370-6894-464B-A928-FA78ACDE2B62}" presName="node" presStyleLbl="node1" presStyleIdx="8" presStyleCnt="10">
        <dgm:presLayoutVars>
          <dgm:bulletEnabled val="1"/>
        </dgm:presLayoutVars>
      </dgm:prSet>
      <dgm:spPr/>
    </dgm:pt>
    <dgm:pt modelId="{AE0D133D-D1EC-4024-9159-158A0D78C966}" type="pres">
      <dgm:prSet presAssocID="{4FFE9BE6-2D9D-478A-A1EC-43A72085A7A0}" presName="sibTrans" presStyleCnt="0"/>
      <dgm:spPr/>
    </dgm:pt>
    <dgm:pt modelId="{EC25121E-92BC-41B3-8760-95E448E12B23}" type="pres">
      <dgm:prSet presAssocID="{86F141E4-2477-4874-9AE8-4BB4D0D33507}" presName="node" presStyleLbl="node1" presStyleIdx="9" presStyleCnt="10">
        <dgm:presLayoutVars>
          <dgm:bulletEnabled val="1"/>
        </dgm:presLayoutVars>
      </dgm:prSet>
      <dgm:spPr/>
    </dgm:pt>
  </dgm:ptLst>
  <dgm:cxnLst>
    <dgm:cxn modelId="{86077006-324B-4248-96DB-A8176E8FDFAC}" type="presOf" srcId="{DA636694-0591-4A48-9118-2D21EED86798}" destId="{2325FDEC-FA80-4E56-BB51-6BF8425012F0}" srcOrd="0" destOrd="0" presId="urn:microsoft.com/office/officeart/2005/8/layout/default"/>
    <dgm:cxn modelId="{F171C806-496D-4441-9078-80CCE14028FE}" srcId="{DA636694-0591-4A48-9118-2D21EED86798}" destId="{51C81EC4-1725-40EF-8B04-BEA9A292E7F5}" srcOrd="5" destOrd="0" parTransId="{723F3867-ABA9-446E-850E-A4FB5498794E}" sibTransId="{E0988CDD-A978-4A7F-9A0D-262AF6BC9990}"/>
    <dgm:cxn modelId="{D3420C11-80DB-4DC8-9399-93CFF40AAB5B}" type="presOf" srcId="{0A6500ED-F17D-4AEF-A39F-2C2C4FF5CA34}" destId="{5C7ACBDA-20E4-4F1B-B1CD-AD5CE65BBBC3}" srcOrd="0" destOrd="0" presId="urn:microsoft.com/office/officeart/2005/8/layout/default"/>
    <dgm:cxn modelId="{216D2614-B0F2-4206-8994-9C4235BC67B5}" type="presOf" srcId="{38D44370-6894-464B-A928-FA78ACDE2B62}" destId="{1A152FE6-6C35-4142-92BF-08AC98E6EE8E}" srcOrd="0" destOrd="0" presId="urn:microsoft.com/office/officeart/2005/8/layout/default"/>
    <dgm:cxn modelId="{9A3BB81F-39A7-4F8E-BFEE-111C8BF9B2C5}" type="presOf" srcId="{51C81EC4-1725-40EF-8B04-BEA9A292E7F5}" destId="{D625CBB5-01EC-4F16-BCEC-0D262AF513D7}" srcOrd="0" destOrd="0" presId="urn:microsoft.com/office/officeart/2005/8/layout/default"/>
    <dgm:cxn modelId="{75284A33-D657-440E-A138-A60BF8DCA37C}" type="presOf" srcId="{B33B7E99-1C35-43AE-850F-BD73D8E7ED0F}" destId="{D65CD26A-1C93-4CFD-A6AB-AB7D622BF1C7}" srcOrd="0" destOrd="0" presId="urn:microsoft.com/office/officeart/2005/8/layout/default"/>
    <dgm:cxn modelId="{19BC2761-4B72-437D-B8EB-16DC604C93BF}" type="presOf" srcId="{D76850D2-B65B-42CC-B016-B872B3062C52}" destId="{4CF918B7-87EE-42A8-94EF-7CA39FFED30E}" srcOrd="0" destOrd="0" presId="urn:microsoft.com/office/officeart/2005/8/layout/default"/>
    <dgm:cxn modelId="{C6802F65-5584-40AE-95C8-F14945D96D61}" type="presOf" srcId="{A2FE60FD-54D1-465E-9F5E-9648EE01CC95}" destId="{837F619C-A162-4A08-87A9-5A771585E855}" srcOrd="0" destOrd="0" presId="urn:microsoft.com/office/officeart/2005/8/layout/default"/>
    <dgm:cxn modelId="{744CA346-5162-496C-8789-E7B061502FF4}" srcId="{DA636694-0591-4A48-9118-2D21EED86798}" destId="{B33B7E99-1C35-43AE-850F-BD73D8E7ED0F}" srcOrd="1" destOrd="0" parTransId="{54B877F2-148A-47D0-AA7B-F13A6B07C5F3}" sibTransId="{3DA92747-385E-4B1D-9C9D-F6D5CF8B5503}"/>
    <dgm:cxn modelId="{0E8B0E56-F8F6-48FE-8CA8-A8134AACF39A}" srcId="{DA636694-0591-4A48-9118-2D21EED86798}" destId="{D76850D2-B65B-42CC-B016-B872B3062C52}" srcOrd="6" destOrd="0" parTransId="{EAF0E57B-F102-4D63-B698-A6F662027A9C}" sibTransId="{9D335E29-FBC1-4CD9-84BB-F4B1E821CCF1}"/>
    <dgm:cxn modelId="{B5BE905A-92F7-4099-BC19-F8DAE605BFDB}" srcId="{DA636694-0591-4A48-9118-2D21EED86798}" destId="{86F141E4-2477-4874-9AE8-4BB4D0D33507}" srcOrd="9" destOrd="0" parTransId="{5FFEF4AA-5E06-4083-A4F7-79039CE728B6}" sibTransId="{AAFCA868-8260-4A12-B1B9-A0536A8DA219}"/>
    <dgm:cxn modelId="{7C679C7A-9B19-4EBF-A483-1CB9E8175185}" srcId="{DA636694-0591-4A48-9118-2D21EED86798}" destId="{38D44370-6894-464B-A928-FA78ACDE2B62}" srcOrd="8" destOrd="0" parTransId="{01E6AB6E-7592-45D1-B6C4-0989635CBB1A}" sibTransId="{4FFE9BE6-2D9D-478A-A1EC-43A72085A7A0}"/>
    <dgm:cxn modelId="{DA185895-1E4A-478D-A89D-50B7BF253D43}" type="presOf" srcId="{CDFECBE8-2C09-4AEE-91D8-B0BBF89F2DE8}" destId="{E616B686-BE8F-4C4D-B02F-D55A5BDE9D40}" srcOrd="0" destOrd="0" presId="urn:microsoft.com/office/officeart/2005/8/layout/default"/>
    <dgm:cxn modelId="{A25A0D9A-9B3C-4E53-92A0-C942C73C4951}" srcId="{DA636694-0591-4A48-9118-2D21EED86798}" destId="{CDFECBE8-2C09-4AEE-91D8-B0BBF89F2DE8}" srcOrd="7" destOrd="0" parTransId="{BC353DBF-1C22-4EA2-88B8-AE483CCC2B75}" sibTransId="{62BBF1F2-2E4C-4CEC-AACC-420DA435AC1B}"/>
    <dgm:cxn modelId="{417F71B2-0591-4164-88C1-BA76D672B3A7}" type="presOf" srcId="{86F141E4-2477-4874-9AE8-4BB4D0D33507}" destId="{EC25121E-92BC-41B3-8760-95E448E12B23}" srcOrd="0" destOrd="0" presId="urn:microsoft.com/office/officeart/2005/8/layout/default"/>
    <dgm:cxn modelId="{29AFB9B5-5EA3-4DD7-BAF4-BF9067638441}" type="presOf" srcId="{A812C226-1079-426E-A2DE-572BBCD6BDE7}" destId="{40EC81BD-623D-4F5B-AE49-A9E4D7630C4A}" srcOrd="0" destOrd="0" presId="urn:microsoft.com/office/officeart/2005/8/layout/default"/>
    <dgm:cxn modelId="{0897F2C2-2B43-49F0-878D-F7D03821551A}" type="presOf" srcId="{8A8FA4AD-FEE5-4E9C-BC19-1DFF88FA6EDE}" destId="{78ECA4DC-2886-441C-B1FD-3989BA486D8F}" srcOrd="0" destOrd="0" presId="urn:microsoft.com/office/officeart/2005/8/layout/default"/>
    <dgm:cxn modelId="{2371DBE1-B406-4EFC-B320-0604D12E1E44}" srcId="{DA636694-0591-4A48-9118-2D21EED86798}" destId="{0A6500ED-F17D-4AEF-A39F-2C2C4FF5CA34}" srcOrd="2" destOrd="0" parTransId="{E0495957-A22A-4CD6-9563-369F3AEA7607}" sibTransId="{C0E12C7C-6469-40AD-896B-1EB90E0569E7}"/>
    <dgm:cxn modelId="{7D7E69E4-A353-4715-AC9F-000FE75A0738}" srcId="{DA636694-0591-4A48-9118-2D21EED86798}" destId="{8A8FA4AD-FEE5-4E9C-BC19-1DFF88FA6EDE}" srcOrd="3" destOrd="0" parTransId="{DC038F78-9525-4A2D-B4E1-6275C54E7108}" sibTransId="{F60CFF9B-267B-4374-812D-6E9A222E1A5A}"/>
    <dgm:cxn modelId="{816994EC-8DAC-4F44-BF5D-CD444FB49D1F}" srcId="{DA636694-0591-4A48-9118-2D21EED86798}" destId="{A2FE60FD-54D1-465E-9F5E-9648EE01CC95}" srcOrd="0" destOrd="0" parTransId="{0BBE57B6-674D-466C-B1FE-FB1923DD056A}" sibTransId="{65B71B4F-5671-4815-B820-0548F3741E86}"/>
    <dgm:cxn modelId="{18804FF4-D12F-4550-9DDA-4E3FAE08D22C}" srcId="{DA636694-0591-4A48-9118-2D21EED86798}" destId="{A812C226-1079-426E-A2DE-572BBCD6BDE7}" srcOrd="4" destOrd="0" parTransId="{5F3EB151-E13B-48AD-8CBC-B63A74E935DB}" sibTransId="{7FBA2328-835C-40BD-9C82-5951CE39D85A}"/>
    <dgm:cxn modelId="{7BCE1F77-60A6-4597-9B07-4087112C2B40}" type="presParOf" srcId="{2325FDEC-FA80-4E56-BB51-6BF8425012F0}" destId="{837F619C-A162-4A08-87A9-5A771585E855}" srcOrd="0" destOrd="0" presId="urn:microsoft.com/office/officeart/2005/8/layout/default"/>
    <dgm:cxn modelId="{237C90E1-5B79-40B8-A6A7-45ACCB6D22E8}" type="presParOf" srcId="{2325FDEC-FA80-4E56-BB51-6BF8425012F0}" destId="{71FCBD3C-B246-4A9D-B09A-97859271C884}" srcOrd="1" destOrd="0" presId="urn:microsoft.com/office/officeart/2005/8/layout/default"/>
    <dgm:cxn modelId="{69F5E4AD-5809-47E8-864D-A8A5A1946D5F}" type="presParOf" srcId="{2325FDEC-FA80-4E56-BB51-6BF8425012F0}" destId="{D65CD26A-1C93-4CFD-A6AB-AB7D622BF1C7}" srcOrd="2" destOrd="0" presId="urn:microsoft.com/office/officeart/2005/8/layout/default"/>
    <dgm:cxn modelId="{4487A54F-2A00-404B-AC73-5F572872D599}" type="presParOf" srcId="{2325FDEC-FA80-4E56-BB51-6BF8425012F0}" destId="{50E3C515-6D91-4611-A996-AD7DE0062260}" srcOrd="3" destOrd="0" presId="urn:microsoft.com/office/officeart/2005/8/layout/default"/>
    <dgm:cxn modelId="{A24C84CE-74FC-4A70-BF3D-E943CC036C9C}" type="presParOf" srcId="{2325FDEC-FA80-4E56-BB51-6BF8425012F0}" destId="{5C7ACBDA-20E4-4F1B-B1CD-AD5CE65BBBC3}" srcOrd="4" destOrd="0" presId="urn:microsoft.com/office/officeart/2005/8/layout/default"/>
    <dgm:cxn modelId="{AF35521C-72D5-4B0F-B159-41CEF9D62A61}" type="presParOf" srcId="{2325FDEC-FA80-4E56-BB51-6BF8425012F0}" destId="{FD88F918-D315-4A96-84F3-F0305C1B6D4F}" srcOrd="5" destOrd="0" presId="urn:microsoft.com/office/officeart/2005/8/layout/default"/>
    <dgm:cxn modelId="{3F55C5B1-6F18-4A7A-A1E9-F9B95E36E4E2}" type="presParOf" srcId="{2325FDEC-FA80-4E56-BB51-6BF8425012F0}" destId="{78ECA4DC-2886-441C-B1FD-3989BA486D8F}" srcOrd="6" destOrd="0" presId="urn:microsoft.com/office/officeart/2005/8/layout/default"/>
    <dgm:cxn modelId="{6BD13237-77BB-44A1-B0D6-01D23F7A54D8}" type="presParOf" srcId="{2325FDEC-FA80-4E56-BB51-6BF8425012F0}" destId="{2AC371D2-5426-408F-8DA6-853941B2F1C5}" srcOrd="7" destOrd="0" presId="urn:microsoft.com/office/officeart/2005/8/layout/default"/>
    <dgm:cxn modelId="{2B6685E1-A573-4249-BE70-EAB9D758A848}" type="presParOf" srcId="{2325FDEC-FA80-4E56-BB51-6BF8425012F0}" destId="{40EC81BD-623D-4F5B-AE49-A9E4D7630C4A}" srcOrd="8" destOrd="0" presId="urn:microsoft.com/office/officeart/2005/8/layout/default"/>
    <dgm:cxn modelId="{E92C53D8-6280-4290-987D-E057077A7161}" type="presParOf" srcId="{2325FDEC-FA80-4E56-BB51-6BF8425012F0}" destId="{9712A9F3-A2AB-4216-B410-A0F7F5F232BE}" srcOrd="9" destOrd="0" presId="urn:microsoft.com/office/officeart/2005/8/layout/default"/>
    <dgm:cxn modelId="{80CF4229-F9B0-4765-8000-9BC15E752B56}" type="presParOf" srcId="{2325FDEC-FA80-4E56-BB51-6BF8425012F0}" destId="{D625CBB5-01EC-4F16-BCEC-0D262AF513D7}" srcOrd="10" destOrd="0" presId="urn:microsoft.com/office/officeart/2005/8/layout/default"/>
    <dgm:cxn modelId="{A70D6001-93E3-423F-A655-EF7E759A69EB}" type="presParOf" srcId="{2325FDEC-FA80-4E56-BB51-6BF8425012F0}" destId="{493AA3A2-04D8-4495-8D6F-AE1DC47905AF}" srcOrd="11" destOrd="0" presId="urn:microsoft.com/office/officeart/2005/8/layout/default"/>
    <dgm:cxn modelId="{DF8CFEC8-B680-42D4-8179-1631D2F37D25}" type="presParOf" srcId="{2325FDEC-FA80-4E56-BB51-6BF8425012F0}" destId="{4CF918B7-87EE-42A8-94EF-7CA39FFED30E}" srcOrd="12" destOrd="0" presId="urn:microsoft.com/office/officeart/2005/8/layout/default"/>
    <dgm:cxn modelId="{AE06B359-73AF-4378-A3A5-34B05FB55B3C}" type="presParOf" srcId="{2325FDEC-FA80-4E56-BB51-6BF8425012F0}" destId="{B1C9456D-9797-4F45-A107-2BC8F65FDF65}" srcOrd="13" destOrd="0" presId="urn:microsoft.com/office/officeart/2005/8/layout/default"/>
    <dgm:cxn modelId="{A5DE4E75-BE6E-47EE-823F-8052774E8F8C}" type="presParOf" srcId="{2325FDEC-FA80-4E56-BB51-6BF8425012F0}" destId="{E616B686-BE8F-4C4D-B02F-D55A5BDE9D40}" srcOrd="14" destOrd="0" presId="urn:microsoft.com/office/officeart/2005/8/layout/default"/>
    <dgm:cxn modelId="{1127DEA0-A076-4DEE-B581-37A967F4F917}" type="presParOf" srcId="{2325FDEC-FA80-4E56-BB51-6BF8425012F0}" destId="{38397268-9812-4F32-9D1C-DBDE14F220CC}" srcOrd="15" destOrd="0" presId="urn:microsoft.com/office/officeart/2005/8/layout/default"/>
    <dgm:cxn modelId="{210F6DC4-2E49-4EAE-8041-7691AED608B7}" type="presParOf" srcId="{2325FDEC-FA80-4E56-BB51-6BF8425012F0}" destId="{1A152FE6-6C35-4142-92BF-08AC98E6EE8E}" srcOrd="16" destOrd="0" presId="urn:microsoft.com/office/officeart/2005/8/layout/default"/>
    <dgm:cxn modelId="{29B8BFDA-3E16-4ED3-82F1-66B91583ED7E}" type="presParOf" srcId="{2325FDEC-FA80-4E56-BB51-6BF8425012F0}" destId="{AE0D133D-D1EC-4024-9159-158A0D78C966}" srcOrd="17" destOrd="0" presId="urn:microsoft.com/office/officeart/2005/8/layout/default"/>
    <dgm:cxn modelId="{AEB3372E-B13D-42C9-9B8F-62978E806C83}" type="presParOf" srcId="{2325FDEC-FA80-4E56-BB51-6BF8425012F0}" destId="{EC25121E-92BC-41B3-8760-95E448E12B23}" srcOrd="18"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6FDFFE-15F5-4FCE-A082-5EF2F9BC36BA}">
      <dsp:nvSpPr>
        <dsp:cNvPr id="0" name=""/>
        <dsp:cNvSpPr/>
      </dsp:nvSpPr>
      <dsp:spPr>
        <a:xfrm>
          <a:off x="6692" y="129785"/>
          <a:ext cx="7464880" cy="380879"/>
        </a:xfrm>
        <a:prstGeom prst="roundRect">
          <a:avLst>
            <a:gd name="adj" fmla="val 10000"/>
          </a:avLst>
        </a:prstGeom>
        <a:solidFill>
          <a:srgbClr val="046A38"/>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_tradnl" sz="1800" b="1" kern="1200">
              <a:solidFill>
                <a:schemeClr val="bg1"/>
              </a:solidFill>
            </a:rPr>
            <a:t>Beneficios</a:t>
          </a:r>
          <a:endParaRPr lang="es-ES" sz="1400" b="1" kern="1200">
            <a:solidFill>
              <a:schemeClr val="bg1"/>
            </a:solidFill>
          </a:endParaRPr>
        </a:p>
      </dsp:txBody>
      <dsp:txXfrm>
        <a:off x="17848" y="140941"/>
        <a:ext cx="7442568" cy="358567"/>
      </dsp:txXfrm>
    </dsp:sp>
    <dsp:sp modelId="{F5706349-CAFE-4D34-8A52-3B36F615B3CE}">
      <dsp:nvSpPr>
        <dsp:cNvPr id="0" name=""/>
        <dsp:cNvSpPr/>
      </dsp:nvSpPr>
      <dsp:spPr>
        <a:xfrm>
          <a:off x="11291" y="634890"/>
          <a:ext cx="2497056" cy="1199054"/>
        </a:xfrm>
        <a:prstGeom prst="roundRect">
          <a:avLst>
            <a:gd name="adj" fmla="val 10000"/>
          </a:avLst>
        </a:prstGeom>
        <a:solidFill>
          <a:schemeClr val="lt1">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Wingdings" panose="05000000000000000000" pitchFamily="2" charset="2"/>
            <a:buNone/>
          </a:pPr>
          <a:r>
            <a:rPr lang="es-ES" sz="1400" kern="1200">
              <a:sym typeface="Wingdings" panose="05000000000000000000" pitchFamily="2" charset="2"/>
            </a:rPr>
            <a:t>Mejorar la comunicación y la colaboración dentro del equipo.</a:t>
          </a:r>
          <a:endParaRPr lang="es-ES" sz="1400" kern="1200"/>
        </a:p>
      </dsp:txBody>
      <dsp:txXfrm>
        <a:off x="46410" y="670009"/>
        <a:ext cx="2426818" cy="1128816"/>
      </dsp:txXfrm>
    </dsp:sp>
    <dsp:sp modelId="{008FEE1F-5BA2-4442-9843-817330F3A078}">
      <dsp:nvSpPr>
        <dsp:cNvPr id="0" name=""/>
        <dsp:cNvSpPr/>
      </dsp:nvSpPr>
      <dsp:spPr>
        <a:xfrm>
          <a:off x="2758885" y="634890"/>
          <a:ext cx="2322843" cy="1347641"/>
        </a:xfrm>
        <a:prstGeom prst="roundRect">
          <a:avLst>
            <a:gd name="adj" fmla="val 10000"/>
          </a:avLst>
        </a:prstGeom>
        <a:solidFill>
          <a:schemeClr val="lt1">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Wingdings" panose="05000000000000000000" pitchFamily="2" charset="2"/>
            <a:buNone/>
          </a:pPr>
          <a:r>
            <a:rPr lang="es-ES" sz="1400" kern="1200">
              <a:sym typeface="Wingdings" panose="05000000000000000000" pitchFamily="2" charset="2"/>
            </a:rPr>
            <a:t>Permitir que se aprovechen las distintas competencias del equipo en beneficio del proyecto.</a:t>
          </a:r>
          <a:endParaRPr lang="es-ES" sz="1400" kern="1200"/>
        </a:p>
      </dsp:txBody>
      <dsp:txXfrm>
        <a:off x="2798356" y="674361"/>
        <a:ext cx="2243901" cy="1268699"/>
      </dsp:txXfrm>
    </dsp:sp>
    <dsp:sp modelId="{61CB971E-83EB-4836-BD2A-50AFAAAB55C9}">
      <dsp:nvSpPr>
        <dsp:cNvPr id="0" name=""/>
        <dsp:cNvSpPr/>
      </dsp:nvSpPr>
      <dsp:spPr>
        <a:xfrm>
          <a:off x="5332266" y="634890"/>
          <a:ext cx="2129332" cy="1199054"/>
        </a:xfrm>
        <a:prstGeom prst="roundRect">
          <a:avLst>
            <a:gd name="adj" fmla="val 10000"/>
          </a:avLst>
        </a:prstGeom>
        <a:solidFill>
          <a:schemeClr val="lt1">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Wingdings" panose="05000000000000000000" pitchFamily="2" charset="2"/>
            <a:buNone/>
          </a:pPr>
          <a:r>
            <a:rPr lang="es-ES" sz="1400" kern="1200">
              <a:sym typeface="Wingdings" panose="05000000000000000000" pitchFamily="2" charset="2"/>
            </a:rPr>
            <a:t>Hacer que la calidad sea responsabilidad de todos</a:t>
          </a:r>
          <a:endParaRPr lang="es-ES" sz="1400" kern="1200"/>
        </a:p>
      </dsp:txBody>
      <dsp:txXfrm>
        <a:off x="5367385" y="670009"/>
        <a:ext cx="2059094" cy="112881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BCD2D4-AAB1-47AE-8982-34D31D0E7C43}">
      <dsp:nvSpPr>
        <dsp:cNvPr id="0" name=""/>
        <dsp:cNvSpPr/>
      </dsp:nvSpPr>
      <dsp:spPr>
        <a:xfrm>
          <a:off x="0" y="61408"/>
          <a:ext cx="9348965" cy="276705"/>
        </a:xfrm>
        <a:prstGeom prst="round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Font typeface="Wingdings" panose="05000000000000000000" pitchFamily="2" charset="2"/>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Identificar el alcance del proyecto.</a:t>
          </a:r>
          <a:endParaRPr lang="es-ES" sz="1100" kern="1200"/>
        </a:p>
      </dsp:txBody>
      <dsp:txXfrm>
        <a:off x="13508" y="74916"/>
        <a:ext cx="9321949" cy="249689"/>
      </dsp:txXfrm>
    </dsp:sp>
    <dsp:sp modelId="{07591C53-7AFA-423F-8A18-116579AE44CD}">
      <dsp:nvSpPr>
        <dsp:cNvPr id="0" name=""/>
        <dsp:cNvSpPr/>
      </dsp:nvSpPr>
      <dsp:spPr>
        <a:xfrm>
          <a:off x="0" y="712077"/>
          <a:ext cx="9348965" cy="276705"/>
        </a:xfrm>
        <a:prstGeom prst="roundRect">
          <a:avLst/>
        </a:prstGeom>
        <a:solidFill>
          <a:schemeClr val="accent1">
            <a:shade val="50000"/>
            <a:hueOff val="124218"/>
            <a:satOff val="-7154"/>
            <a:lumOff val="104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Planificar, adquirir e instalar las herramientas necesarias.</a:t>
          </a:r>
        </a:p>
      </dsp:txBody>
      <dsp:txXfrm>
        <a:off x="13508" y="725585"/>
        <a:ext cx="9321949" cy="249689"/>
      </dsp:txXfrm>
    </dsp:sp>
    <dsp:sp modelId="{E0E9CAEA-E76F-432D-97AA-24D58ABF6A12}">
      <dsp:nvSpPr>
        <dsp:cNvPr id="0" name=""/>
        <dsp:cNvSpPr/>
      </dsp:nvSpPr>
      <dsp:spPr>
        <a:xfrm>
          <a:off x="0" y="364252"/>
          <a:ext cx="9348965" cy="276705"/>
        </a:xfrm>
        <a:prstGeom prst="roundRect">
          <a:avLst/>
        </a:prstGeom>
        <a:solidFill>
          <a:schemeClr val="accent1">
            <a:shade val="50000"/>
            <a:hueOff val="248436"/>
            <a:satOff val="-14309"/>
            <a:lumOff val="209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Font typeface="Wingdings" panose="05000000000000000000" pitchFamily="2" charset="2"/>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Crear una arquitectura inicial del sistema y prototipos de alto nivel.</a:t>
          </a:r>
          <a:endParaRPr lang="es-ES" sz="1100" kern="1200"/>
        </a:p>
      </dsp:txBody>
      <dsp:txXfrm>
        <a:off x="13508" y="377760"/>
        <a:ext cx="9321949" cy="249689"/>
      </dsp:txXfrm>
    </dsp:sp>
    <dsp:sp modelId="{A88877E6-CC20-4FF1-B51F-9EDE41075463}">
      <dsp:nvSpPr>
        <dsp:cNvPr id="0" name=""/>
        <dsp:cNvSpPr/>
      </dsp:nvSpPr>
      <dsp:spPr>
        <a:xfrm>
          <a:off x="0" y="986563"/>
          <a:ext cx="9348965" cy="276705"/>
        </a:xfrm>
        <a:prstGeom prst="roundRect">
          <a:avLst/>
        </a:prstGeom>
        <a:solidFill>
          <a:schemeClr val="accent1">
            <a:shade val="50000"/>
            <a:hueOff val="372654"/>
            <a:satOff val="-21463"/>
            <a:lumOff val="314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Crear una estrategia de prueba inicial para todos los niveles de la prueba.</a:t>
          </a:r>
        </a:p>
      </dsp:txBody>
      <dsp:txXfrm>
        <a:off x="13508" y="1000071"/>
        <a:ext cx="9321949" cy="249689"/>
      </dsp:txXfrm>
    </dsp:sp>
    <dsp:sp modelId="{D631BE18-542A-4519-9D76-49EB6001817F}">
      <dsp:nvSpPr>
        <dsp:cNvPr id="0" name=""/>
        <dsp:cNvSpPr/>
      </dsp:nvSpPr>
      <dsp:spPr>
        <a:xfrm>
          <a:off x="0" y="1294948"/>
          <a:ext cx="9348965" cy="276705"/>
        </a:xfrm>
        <a:prstGeom prst="roundRect">
          <a:avLst/>
        </a:prstGeom>
        <a:solidFill>
          <a:srgbClr val="6A951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Realice un análisis del riesgo de calidad inicial.</a:t>
          </a:r>
        </a:p>
      </dsp:txBody>
      <dsp:txXfrm>
        <a:off x="13508" y="1308456"/>
        <a:ext cx="9321949" cy="249689"/>
      </dsp:txXfrm>
    </dsp:sp>
    <dsp:sp modelId="{C2538D62-D643-4CF6-A364-F155A668B141}">
      <dsp:nvSpPr>
        <dsp:cNvPr id="0" name=""/>
        <dsp:cNvSpPr/>
      </dsp:nvSpPr>
      <dsp:spPr>
        <a:xfrm>
          <a:off x="0" y="1603333"/>
          <a:ext cx="9348965" cy="276705"/>
        </a:xfrm>
        <a:prstGeom prst="roundRect">
          <a:avLst/>
        </a:prstGeom>
        <a:solidFill>
          <a:srgbClr val="6A951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Definir las métricas de prueba para medir el proceso de prueba</a:t>
          </a:r>
        </a:p>
      </dsp:txBody>
      <dsp:txXfrm>
        <a:off x="13508" y="1616841"/>
        <a:ext cx="9321949" cy="249689"/>
      </dsp:txXfrm>
    </dsp:sp>
    <dsp:sp modelId="{E66D1C14-0595-4673-B6E7-DB900F2ECF41}">
      <dsp:nvSpPr>
        <dsp:cNvPr id="0" name=""/>
        <dsp:cNvSpPr/>
      </dsp:nvSpPr>
      <dsp:spPr>
        <a:xfrm>
          <a:off x="0" y="1911718"/>
          <a:ext cx="9348965" cy="276705"/>
        </a:xfrm>
        <a:prstGeom prst="roundRect">
          <a:avLst/>
        </a:prstGeom>
        <a:solidFill>
          <a:schemeClr val="accent1">
            <a:shade val="50000"/>
            <a:hueOff val="372654"/>
            <a:satOff val="-21463"/>
            <a:lumOff val="314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Especificar la definición de hecho.</a:t>
          </a:r>
        </a:p>
      </dsp:txBody>
      <dsp:txXfrm>
        <a:off x="13508" y="1925226"/>
        <a:ext cx="9321949" cy="249689"/>
      </dsp:txXfrm>
    </dsp:sp>
    <dsp:sp modelId="{9E3C52D2-5DB4-4023-9134-F352FFF1F4ED}">
      <dsp:nvSpPr>
        <dsp:cNvPr id="0" name=""/>
        <dsp:cNvSpPr/>
      </dsp:nvSpPr>
      <dsp:spPr>
        <a:xfrm>
          <a:off x="0" y="2220103"/>
          <a:ext cx="9348965" cy="276705"/>
        </a:xfrm>
        <a:prstGeom prst="roundRect">
          <a:avLst/>
        </a:prstGeom>
        <a:solidFill>
          <a:schemeClr val="accent1">
            <a:shade val="50000"/>
            <a:hueOff val="248436"/>
            <a:satOff val="-14309"/>
            <a:lumOff val="209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Cree el tablero de tareas.</a:t>
          </a:r>
        </a:p>
      </dsp:txBody>
      <dsp:txXfrm>
        <a:off x="13508" y="2233611"/>
        <a:ext cx="9321949" cy="249689"/>
      </dsp:txXfrm>
    </dsp:sp>
    <dsp:sp modelId="{D7C32973-CA51-4031-9B30-FA176EF0FA0D}">
      <dsp:nvSpPr>
        <dsp:cNvPr id="0" name=""/>
        <dsp:cNvSpPr/>
      </dsp:nvSpPr>
      <dsp:spPr>
        <a:xfrm>
          <a:off x="0" y="2528488"/>
          <a:ext cx="9348965" cy="276705"/>
        </a:xfrm>
        <a:prstGeom prst="roundRect">
          <a:avLst/>
        </a:prstGeom>
        <a:solidFill>
          <a:schemeClr val="accent1">
            <a:shade val="50000"/>
            <a:hueOff val="124218"/>
            <a:satOff val="-7154"/>
            <a:lumOff val="104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Definir cuándo continuar o detener la prueba antes de entregar el sistema al cliente.</a:t>
          </a:r>
        </a:p>
      </dsp:txBody>
      <dsp:txXfrm>
        <a:off x="13508" y="2541996"/>
        <a:ext cx="9321949" cy="24968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E07125-DDE9-4688-9808-A228CEF13F62}">
      <dsp:nvSpPr>
        <dsp:cNvPr id="0" name=""/>
        <dsp:cNvSpPr/>
      </dsp:nvSpPr>
      <dsp:spPr>
        <a:xfrm>
          <a:off x="3223455" y="673650"/>
          <a:ext cx="520079" cy="91440"/>
        </a:xfrm>
        <a:custGeom>
          <a:avLst/>
          <a:gdLst/>
          <a:ahLst/>
          <a:cxnLst/>
          <a:rect l="0" t="0" r="0" b="0"/>
          <a:pathLst>
            <a:path>
              <a:moveTo>
                <a:pt x="0" y="45720"/>
              </a:moveTo>
              <a:lnTo>
                <a:pt x="520079" y="45720"/>
              </a:lnTo>
            </a:path>
          </a:pathLst>
        </a:custGeom>
        <a:noFill/>
        <a:ln w="9525" cap="flat" cmpd="sng" algn="ctr">
          <a:solidFill>
            <a:schemeClr val="accent1">
              <a:shade val="90000"/>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69728" y="716616"/>
        <a:ext cx="27533" cy="5506"/>
      </dsp:txXfrm>
    </dsp:sp>
    <dsp:sp modelId="{C3971F73-BFA3-4AE3-8766-04E3F705BF68}">
      <dsp:nvSpPr>
        <dsp:cNvPr id="0" name=""/>
        <dsp:cNvSpPr/>
      </dsp:nvSpPr>
      <dsp:spPr>
        <a:xfrm>
          <a:off x="830997" y="1092"/>
          <a:ext cx="2394258" cy="1436555"/>
        </a:xfrm>
        <a:prstGeom prst="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a:t>Reunir a los miembros del equipo ágil, incluido el probador o probadores</a:t>
          </a:r>
          <a:endParaRPr lang="en-US" sz="1200" kern="1200"/>
        </a:p>
      </dsp:txBody>
      <dsp:txXfrm>
        <a:off x="830997" y="1092"/>
        <a:ext cx="2394258" cy="1436555"/>
      </dsp:txXfrm>
    </dsp:sp>
    <dsp:sp modelId="{98E9AC0E-4331-4D55-847F-233633985A5F}">
      <dsp:nvSpPr>
        <dsp:cNvPr id="0" name=""/>
        <dsp:cNvSpPr/>
      </dsp:nvSpPr>
      <dsp:spPr>
        <a:xfrm>
          <a:off x="6168393" y="673650"/>
          <a:ext cx="520079" cy="91440"/>
        </a:xfrm>
        <a:custGeom>
          <a:avLst/>
          <a:gdLst/>
          <a:ahLst/>
          <a:cxnLst/>
          <a:rect l="0" t="0" r="0" b="0"/>
          <a:pathLst>
            <a:path>
              <a:moveTo>
                <a:pt x="0" y="45720"/>
              </a:moveTo>
              <a:lnTo>
                <a:pt x="520079" y="45720"/>
              </a:lnTo>
            </a:path>
          </a:pathLst>
        </a:custGeom>
        <a:noFill/>
        <a:ln w="9525" cap="flat" cmpd="sng" algn="ctr">
          <a:solidFill>
            <a:schemeClr val="accent1">
              <a:shade val="90000"/>
              <a:hueOff val="230639"/>
              <a:satOff val="-12125"/>
              <a:lumOff val="15665"/>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414666" y="716616"/>
        <a:ext cx="27533" cy="5506"/>
      </dsp:txXfrm>
    </dsp:sp>
    <dsp:sp modelId="{F518C10B-1380-4F78-96AF-82BEE8FF7A09}">
      <dsp:nvSpPr>
        <dsp:cNvPr id="0" name=""/>
        <dsp:cNvSpPr/>
      </dsp:nvSpPr>
      <dsp:spPr>
        <a:xfrm>
          <a:off x="3775935" y="1092"/>
          <a:ext cx="2394258" cy="1436555"/>
        </a:xfrm>
        <a:prstGeom prst="rect">
          <a:avLst/>
        </a:prstGeom>
        <a:solidFill>
          <a:schemeClr val="accent1">
            <a:shade val="50000"/>
            <a:hueOff val="186327"/>
            <a:satOff val="-10732"/>
            <a:lumOff val="157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a:t>Hacer una lista de todos los elementos de la lista de trabajo acumulado para la iteración actual (por ejemplo, en un tablero de tareas)</a:t>
          </a:r>
          <a:endParaRPr lang="en-US" sz="1200" kern="1200"/>
        </a:p>
      </dsp:txBody>
      <dsp:txXfrm>
        <a:off x="3775935" y="1092"/>
        <a:ext cx="2394258" cy="1436555"/>
      </dsp:txXfrm>
    </dsp:sp>
    <dsp:sp modelId="{F8EB4308-4373-409B-B416-957B6893CAEE}">
      <dsp:nvSpPr>
        <dsp:cNvPr id="0" name=""/>
        <dsp:cNvSpPr/>
      </dsp:nvSpPr>
      <dsp:spPr>
        <a:xfrm>
          <a:off x="2028126" y="1435847"/>
          <a:ext cx="5889876" cy="520079"/>
        </a:xfrm>
        <a:custGeom>
          <a:avLst/>
          <a:gdLst/>
          <a:ahLst/>
          <a:cxnLst/>
          <a:rect l="0" t="0" r="0" b="0"/>
          <a:pathLst>
            <a:path>
              <a:moveTo>
                <a:pt x="5889876" y="0"/>
              </a:moveTo>
              <a:lnTo>
                <a:pt x="5889876" y="277139"/>
              </a:lnTo>
              <a:lnTo>
                <a:pt x="0" y="277139"/>
              </a:lnTo>
              <a:lnTo>
                <a:pt x="0" y="520079"/>
              </a:lnTo>
            </a:path>
          </a:pathLst>
        </a:custGeom>
        <a:noFill/>
        <a:ln w="9525" cap="flat" cmpd="sng" algn="ctr">
          <a:solidFill>
            <a:schemeClr val="accent1">
              <a:shade val="90000"/>
              <a:hueOff val="461278"/>
              <a:satOff val="-24250"/>
              <a:lumOff val="3133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825175" y="1693134"/>
        <a:ext cx="295778" cy="5506"/>
      </dsp:txXfrm>
    </dsp:sp>
    <dsp:sp modelId="{89443AE1-69F8-469E-9058-60B854AB0D10}">
      <dsp:nvSpPr>
        <dsp:cNvPr id="0" name=""/>
        <dsp:cNvSpPr/>
      </dsp:nvSpPr>
      <dsp:spPr>
        <a:xfrm>
          <a:off x="6720873" y="1092"/>
          <a:ext cx="2394258" cy="1436555"/>
        </a:xfrm>
        <a:prstGeom prst="rect">
          <a:avLst/>
        </a:prstGeom>
        <a:solidFill>
          <a:schemeClr val="accent1">
            <a:shade val="50000"/>
            <a:hueOff val="372654"/>
            <a:satOff val="-21463"/>
            <a:lumOff val="314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a:t>Identificar los riesgos de calidad asociados a cada elemento, teniendo en cuenta todas las características de calidad pertinentes.</a:t>
          </a:r>
          <a:endParaRPr lang="en-US" sz="1200" kern="1200"/>
        </a:p>
      </dsp:txBody>
      <dsp:txXfrm>
        <a:off x="6720873" y="1092"/>
        <a:ext cx="2394258" cy="1436555"/>
      </dsp:txXfrm>
    </dsp:sp>
    <dsp:sp modelId="{E132D9BB-582F-4F7F-B22E-2CF462BC9DCD}">
      <dsp:nvSpPr>
        <dsp:cNvPr id="0" name=""/>
        <dsp:cNvSpPr/>
      </dsp:nvSpPr>
      <dsp:spPr>
        <a:xfrm>
          <a:off x="3223455" y="2660884"/>
          <a:ext cx="520079" cy="91440"/>
        </a:xfrm>
        <a:custGeom>
          <a:avLst/>
          <a:gdLst/>
          <a:ahLst/>
          <a:cxnLst/>
          <a:rect l="0" t="0" r="0" b="0"/>
          <a:pathLst>
            <a:path>
              <a:moveTo>
                <a:pt x="0" y="45720"/>
              </a:moveTo>
              <a:lnTo>
                <a:pt x="520079" y="45720"/>
              </a:lnTo>
            </a:path>
          </a:pathLst>
        </a:custGeom>
        <a:noFill/>
        <a:ln w="9525" cap="flat" cmpd="sng" algn="ctr">
          <a:solidFill>
            <a:schemeClr val="accent1">
              <a:shade val="90000"/>
              <a:hueOff val="461278"/>
              <a:satOff val="-24250"/>
              <a:lumOff val="3133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69728" y="2703851"/>
        <a:ext cx="27533" cy="5506"/>
      </dsp:txXfrm>
    </dsp:sp>
    <dsp:sp modelId="{215FF43D-C9AB-463E-B816-E40B34EFB2A3}">
      <dsp:nvSpPr>
        <dsp:cNvPr id="0" name=""/>
        <dsp:cNvSpPr/>
      </dsp:nvSpPr>
      <dsp:spPr>
        <a:xfrm>
          <a:off x="830997" y="1988327"/>
          <a:ext cx="2394258" cy="1436555"/>
        </a:xfrm>
        <a:prstGeom prst="rect">
          <a:avLst/>
        </a:prstGeom>
        <a:solidFill>
          <a:srgbClr val="6A951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Font typeface="+mj-lt"/>
            <a:buNone/>
          </a:pPr>
          <a:r>
            <a:rPr lang="es-ES" sz="1200" kern="1200"/>
            <a:t>Evaluar cada riesgo identificado, lo que incluye dos actividades: categorizar el riesgo y determinar su nivel de riesgo basándose en el impacto y la probabilidad de defectos.</a:t>
          </a:r>
          <a:endParaRPr lang="en-US" sz="1200" kern="1200"/>
        </a:p>
      </dsp:txBody>
      <dsp:txXfrm>
        <a:off x="830997" y="1988327"/>
        <a:ext cx="2394258" cy="1436555"/>
      </dsp:txXfrm>
    </dsp:sp>
    <dsp:sp modelId="{DD4E7149-FF4A-43FE-9A7C-E77A00B5E095}">
      <dsp:nvSpPr>
        <dsp:cNvPr id="0" name=""/>
        <dsp:cNvSpPr/>
      </dsp:nvSpPr>
      <dsp:spPr>
        <a:xfrm>
          <a:off x="6168393" y="2660884"/>
          <a:ext cx="520079" cy="91440"/>
        </a:xfrm>
        <a:custGeom>
          <a:avLst/>
          <a:gdLst/>
          <a:ahLst/>
          <a:cxnLst/>
          <a:rect l="0" t="0" r="0" b="0"/>
          <a:pathLst>
            <a:path>
              <a:moveTo>
                <a:pt x="0" y="45720"/>
              </a:moveTo>
              <a:lnTo>
                <a:pt x="520079" y="45720"/>
              </a:lnTo>
            </a:path>
          </a:pathLst>
        </a:custGeom>
        <a:noFill/>
        <a:ln w="9525" cap="flat" cmpd="sng" algn="ctr">
          <a:solidFill>
            <a:schemeClr val="accent1">
              <a:shade val="90000"/>
              <a:hueOff val="230639"/>
              <a:satOff val="-12125"/>
              <a:lumOff val="15665"/>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414666" y="2703851"/>
        <a:ext cx="27533" cy="5506"/>
      </dsp:txXfrm>
    </dsp:sp>
    <dsp:sp modelId="{487A8A77-165D-4B14-96FA-501E1F065927}">
      <dsp:nvSpPr>
        <dsp:cNvPr id="0" name=""/>
        <dsp:cNvSpPr/>
      </dsp:nvSpPr>
      <dsp:spPr>
        <a:xfrm>
          <a:off x="3775935" y="1988327"/>
          <a:ext cx="2394258" cy="1436555"/>
        </a:xfrm>
        <a:prstGeom prst="rect">
          <a:avLst/>
        </a:prstGeom>
        <a:solidFill>
          <a:schemeClr val="accent1">
            <a:shade val="50000"/>
            <a:hueOff val="372654"/>
            <a:satOff val="-21463"/>
            <a:lumOff val="314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a:t>Determinar el alcance de la prueba de forma proporcional al nivel de riesgo.</a:t>
          </a:r>
          <a:endParaRPr lang="en-US" sz="1200" kern="1200"/>
        </a:p>
      </dsp:txBody>
      <dsp:txXfrm>
        <a:off x="3775935" y="1988327"/>
        <a:ext cx="2394258" cy="1436555"/>
      </dsp:txXfrm>
    </dsp:sp>
    <dsp:sp modelId="{28776B2B-7797-4200-8F8F-B524B014D434}">
      <dsp:nvSpPr>
        <dsp:cNvPr id="0" name=""/>
        <dsp:cNvSpPr/>
      </dsp:nvSpPr>
      <dsp:spPr>
        <a:xfrm>
          <a:off x="6720873" y="1988327"/>
          <a:ext cx="2394258" cy="1436555"/>
        </a:xfrm>
        <a:prstGeom prst="rect">
          <a:avLst/>
        </a:prstGeom>
        <a:solidFill>
          <a:schemeClr val="accent1">
            <a:shade val="50000"/>
            <a:hueOff val="186327"/>
            <a:satOff val="-10732"/>
            <a:lumOff val="157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a:t>Seleccionar las técnicas de prueba adecuadas para mitigar cada riesgo, basándose en el riesgo, el nivel de riesgo y la característica de calidad pertinente.</a:t>
          </a:r>
          <a:endParaRPr lang="en-US" sz="1200" kern="1200"/>
        </a:p>
      </dsp:txBody>
      <dsp:txXfrm>
        <a:off x="6720873" y="1988327"/>
        <a:ext cx="2394258" cy="143655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089642-E5CD-4AD3-BFBA-E08C1390A2BF}">
      <dsp:nvSpPr>
        <dsp:cNvPr id="0" name=""/>
        <dsp:cNvSpPr/>
      </dsp:nvSpPr>
      <dsp:spPr>
        <a:xfrm>
          <a:off x="1922" y="397899"/>
          <a:ext cx="1525468" cy="915281"/>
        </a:xfrm>
        <a:prstGeom prst="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Font typeface="Courier New" panose="02070309020205020404" pitchFamily="49" charset="0"/>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Experiencia de proyectos anteriores.</a:t>
          </a:r>
          <a:endParaRPr lang="es-ES" sz="1100" kern="1200"/>
        </a:p>
      </dsp:txBody>
      <dsp:txXfrm>
        <a:off x="1922" y="397899"/>
        <a:ext cx="1525468" cy="915281"/>
      </dsp:txXfrm>
    </dsp:sp>
    <dsp:sp modelId="{2203C4F3-AF70-4874-80EE-0ECA13B79068}">
      <dsp:nvSpPr>
        <dsp:cNvPr id="0" name=""/>
        <dsp:cNvSpPr/>
      </dsp:nvSpPr>
      <dsp:spPr>
        <a:xfrm>
          <a:off x="1679938" y="397899"/>
          <a:ext cx="1525468" cy="915281"/>
        </a:xfrm>
        <a:prstGeom prst="rect">
          <a:avLst/>
        </a:prstGeom>
        <a:solidFill>
          <a:schemeClr val="accent1">
            <a:shade val="80000"/>
            <a:hueOff val="69652"/>
            <a:satOff val="-3946"/>
            <a:lumOff val="44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Funciones, prestaciones y características de calidad existentes en el sistema.</a:t>
          </a:r>
        </a:p>
      </dsp:txBody>
      <dsp:txXfrm>
        <a:off x="1679938" y="397899"/>
        <a:ext cx="1525468" cy="915281"/>
      </dsp:txXfrm>
    </dsp:sp>
    <dsp:sp modelId="{42F61936-C95C-45DB-A4E7-A66D55CD6A89}">
      <dsp:nvSpPr>
        <dsp:cNvPr id="0" name=""/>
        <dsp:cNvSpPr/>
      </dsp:nvSpPr>
      <dsp:spPr>
        <a:xfrm>
          <a:off x="3357953" y="397899"/>
          <a:ext cx="1525468" cy="915281"/>
        </a:xfrm>
        <a:prstGeom prst="rect">
          <a:avLst/>
        </a:prstGeom>
        <a:solidFill>
          <a:schemeClr val="accent1">
            <a:shade val="80000"/>
            <a:hueOff val="139305"/>
            <a:satOff val="-7893"/>
            <a:lumOff val="898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Código, arquitectura y diseño.</a:t>
          </a:r>
        </a:p>
      </dsp:txBody>
      <dsp:txXfrm>
        <a:off x="3357953" y="397899"/>
        <a:ext cx="1525468" cy="915281"/>
      </dsp:txXfrm>
    </dsp:sp>
    <dsp:sp modelId="{C9333446-8B24-4BF7-A9C2-65FD63F42B38}">
      <dsp:nvSpPr>
        <dsp:cNvPr id="0" name=""/>
        <dsp:cNvSpPr/>
      </dsp:nvSpPr>
      <dsp:spPr>
        <a:xfrm>
          <a:off x="5035968" y="397899"/>
          <a:ext cx="1525468" cy="915281"/>
        </a:xfrm>
        <a:prstGeom prst="rect">
          <a:avLst/>
        </a:prstGeom>
        <a:solidFill>
          <a:schemeClr val="accent1">
            <a:shade val="80000"/>
            <a:hueOff val="208957"/>
            <a:satOff val="-11839"/>
            <a:lumOff val="134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Perfiles de usuario.</a:t>
          </a:r>
        </a:p>
      </dsp:txBody>
      <dsp:txXfrm>
        <a:off x="5035968" y="397899"/>
        <a:ext cx="1525468" cy="915281"/>
      </dsp:txXfrm>
    </dsp:sp>
    <dsp:sp modelId="{0C6CBA21-9117-405B-853B-08CF6EDEBA28}">
      <dsp:nvSpPr>
        <dsp:cNvPr id="0" name=""/>
        <dsp:cNvSpPr/>
      </dsp:nvSpPr>
      <dsp:spPr>
        <a:xfrm>
          <a:off x="1922" y="1465727"/>
          <a:ext cx="1525468" cy="915281"/>
        </a:xfrm>
        <a:prstGeom prst="rect">
          <a:avLst/>
        </a:prstGeom>
        <a:solidFill>
          <a:schemeClr val="accent1">
            <a:shade val="80000"/>
            <a:hueOff val="278609"/>
            <a:satOff val="-15785"/>
            <a:lumOff val="179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Información sobre defectos de proyectos existentes y anteriores</a:t>
          </a:r>
        </a:p>
      </dsp:txBody>
      <dsp:txXfrm>
        <a:off x="1922" y="1465727"/>
        <a:ext cx="1525468" cy="915281"/>
      </dsp:txXfrm>
    </dsp:sp>
    <dsp:sp modelId="{B5641825-AFF1-471C-AC61-6EC72978F0A1}">
      <dsp:nvSpPr>
        <dsp:cNvPr id="0" name=""/>
        <dsp:cNvSpPr/>
      </dsp:nvSpPr>
      <dsp:spPr>
        <a:xfrm>
          <a:off x="1679938" y="1465727"/>
          <a:ext cx="1525468" cy="915281"/>
        </a:xfrm>
        <a:prstGeom prst="rect">
          <a:avLst/>
        </a:prstGeom>
        <a:solidFill>
          <a:schemeClr val="accent1">
            <a:shade val="80000"/>
            <a:hueOff val="348261"/>
            <a:satOff val="-19731"/>
            <a:lumOff val="224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Una categorización de los defectos en una taxonomía de defectos.</a:t>
          </a:r>
        </a:p>
      </dsp:txBody>
      <dsp:txXfrm>
        <a:off x="1679938" y="1465727"/>
        <a:ext cx="1525468" cy="915281"/>
      </dsp:txXfrm>
    </dsp:sp>
    <dsp:sp modelId="{EEE4DF82-D31A-44EC-9181-0289FCAAB1AE}">
      <dsp:nvSpPr>
        <dsp:cNvPr id="0" name=""/>
        <dsp:cNvSpPr/>
      </dsp:nvSpPr>
      <dsp:spPr>
        <a:xfrm>
          <a:off x="3357953" y="1465727"/>
          <a:ext cx="1525468" cy="915281"/>
        </a:xfrm>
        <a:prstGeom prst="rect">
          <a:avLst/>
        </a:prstGeom>
        <a:solidFill>
          <a:schemeClr val="accent1">
            <a:shade val="80000"/>
            <a:hueOff val="417914"/>
            <a:satOff val="-23678"/>
            <a:lumOff val="2694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Estándares aplicables </a:t>
          </a:r>
        </a:p>
      </dsp:txBody>
      <dsp:txXfrm>
        <a:off x="3357953" y="1465727"/>
        <a:ext cx="1525468" cy="915281"/>
      </dsp:txXfrm>
    </dsp:sp>
    <dsp:sp modelId="{3053CAB4-294A-477C-8194-74849B51634B}">
      <dsp:nvSpPr>
        <dsp:cNvPr id="0" name=""/>
        <dsp:cNvSpPr/>
      </dsp:nvSpPr>
      <dsp:spPr>
        <a:xfrm>
          <a:off x="5035968" y="1465727"/>
          <a:ext cx="1525468" cy="915281"/>
        </a:xfrm>
        <a:prstGeom prst="rect">
          <a:avLst/>
        </a:prstGeom>
        <a:solidFill>
          <a:schemeClr val="accent1">
            <a:shade val="80000"/>
            <a:hueOff val="487566"/>
            <a:satOff val="-27624"/>
            <a:lumOff val="314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kern="1200">
              <a:effectLst/>
              <a:latin typeface="Calibri" panose="020F0502020204030204" pitchFamily="34" charset="0"/>
              <a:ea typeface="Calibri" panose="020F0502020204030204" pitchFamily="34" charset="0"/>
              <a:cs typeface="Times New Roman" panose="02020603050405020304" pitchFamily="18" charset="0"/>
            </a:rPr>
            <a:t>Riesgos de calidad</a:t>
          </a:r>
        </a:p>
      </dsp:txBody>
      <dsp:txXfrm>
        <a:off x="5035968" y="1465727"/>
        <a:ext cx="1525468" cy="91528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C1908D-D1BC-4837-9548-9F0554F7D518}">
      <dsp:nvSpPr>
        <dsp:cNvPr id="0" name=""/>
        <dsp:cNvSpPr/>
      </dsp:nvSpPr>
      <dsp:spPr>
        <a:xfrm>
          <a:off x="0" y="45091"/>
          <a:ext cx="8749102" cy="491399"/>
        </a:xfrm>
        <a:prstGeom prst="round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Font typeface="Wingdings" panose="05000000000000000000" pitchFamily="2" charset="2"/>
            <a:buNone/>
          </a:pPr>
          <a:r>
            <a:rPr lang="es-ES" sz="1200" b="1" kern="1200">
              <a:effectLst/>
              <a:latin typeface="Calibri" panose="020F0502020204030204" pitchFamily="34" charset="0"/>
              <a:ea typeface="Calibri" panose="020F0502020204030204" pitchFamily="34" charset="0"/>
              <a:cs typeface="Times New Roman" panose="02020603050405020304" pitchFamily="18" charset="0"/>
            </a:rPr>
            <a:t>Comportamiento funcional: </a:t>
          </a:r>
          <a:r>
            <a:rPr lang="es-ES" sz="1200" kern="1200">
              <a:effectLst/>
              <a:latin typeface="Calibri" panose="020F0502020204030204" pitchFamily="34" charset="0"/>
              <a:ea typeface="Calibri" panose="020F0502020204030204" pitchFamily="34" charset="0"/>
              <a:cs typeface="Times New Roman" panose="02020603050405020304" pitchFamily="18" charset="0"/>
            </a:rPr>
            <a:t>El comportamiento observable externamente con las acciones del usuario como entrada que opera bajo determinadas configuraciones.</a:t>
          </a:r>
          <a:endParaRPr lang="es-ES" sz="1200" kern="1200"/>
        </a:p>
      </dsp:txBody>
      <dsp:txXfrm>
        <a:off x="23988" y="69079"/>
        <a:ext cx="8701126" cy="443423"/>
      </dsp:txXfrm>
    </dsp:sp>
    <dsp:sp modelId="{64E4ADC1-41EF-4410-B835-3428630F8027}">
      <dsp:nvSpPr>
        <dsp:cNvPr id="0" name=""/>
        <dsp:cNvSpPr/>
      </dsp:nvSpPr>
      <dsp:spPr>
        <a:xfrm>
          <a:off x="0" y="571051"/>
          <a:ext cx="8749102" cy="491399"/>
        </a:xfrm>
        <a:prstGeom prst="roundRect">
          <a:avLst/>
        </a:prstGeom>
        <a:solidFill>
          <a:schemeClr val="accent1">
            <a:shade val="80000"/>
            <a:hueOff val="81261"/>
            <a:satOff val="-4604"/>
            <a:lumOff val="523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s-ES" sz="1200" b="1" kern="1200">
              <a:effectLst/>
              <a:latin typeface="Calibri" panose="020F0502020204030204" pitchFamily="34" charset="0"/>
              <a:ea typeface="Calibri" panose="020F0502020204030204" pitchFamily="34" charset="0"/>
              <a:cs typeface="Times New Roman" panose="02020603050405020304" pitchFamily="18" charset="0"/>
            </a:rPr>
            <a:t>Características de calidad: </a:t>
          </a:r>
          <a:r>
            <a:rPr lang="es-ES" sz="1200" kern="1200">
              <a:effectLst/>
              <a:latin typeface="Calibri" panose="020F0502020204030204" pitchFamily="34" charset="0"/>
              <a:ea typeface="Calibri" panose="020F0502020204030204" pitchFamily="34" charset="0"/>
              <a:cs typeface="Times New Roman" panose="02020603050405020304" pitchFamily="18" charset="0"/>
            </a:rPr>
            <a:t>La forma en que el sistema realiza el comportamiento especificado. Las características también pueden denominarse atributos de calidad o requisitos no funcionales.</a:t>
          </a:r>
        </a:p>
      </dsp:txBody>
      <dsp:txXfrm>
        <a:off x="23988" y="595039"/>
        <a:ext cx="8701126" cy="443423"/>
      </dsp:txXfrm>
    </dsp:sp>
    <dsp:sp modelId="{B09008E1-F92E-4C03-B0BE-2ADE8CED9BCB}">
      <dsp:nvSpPr>
        <dsp:cNvPr id="0" name=""/>
        <dsp:cNvSpPr/>
      </dsp:nvSpPr>
      <dsp:spPr>
        <a:xfrm>
          <a:off x="0" y="1097011"/>
          <a:ext cx="8749102" cy="491399"/>
        </a:xfrm>
        <a:prstGeom prst="roundRect">
          <a:avLst/>
        </a:prstGeom>
        <a:solidFill>
          <a:schemeClr val="accent1">
            <a:shade val="80000"/>
            <a:hueOff val="162522"/>
            <a:satOff val="-9208"/>
            <a:lumOff val="1047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s-ES" sz="1200" b="1" kern="1200">
              <a:effectLst/>
              <a:latin typeface="Calibri" panose="020F0502020204030204" pitchFamily="34" charset="0"/>
              <a:ea typeface="Calibri" panose="020F0502020204030204" pitchFamily="34" charset="0"/>
              <a:cs typeface="Times New Roman" panose="02020603050405020304" pitchFamily="18" charset="0"/>
            </a:rPr>
            <a:t>Escenarios (casos de uso): </a:t>
          </a:r>
          <a:r>
            <a:rPr lang="es-ES" sz="1200" kern="1200">
              <a:effectLst/>
              <a:latin typeface="Calibri" panose="020F0502020204030204" pitchFamily="34" charset="0"/>
              <a:ea typeface="Calibri" panose="020F0502020204030204" pitchFamily="34" charset="0"/>
              <a:cs typeface="Times New Roman" panose="02020603050405020304" pitchFamily="18" charset="0"/>
            </a:rPr>
            <a:t>Una secuencia de acciones entre un actor externo (a menudo un usuario) y el sistema, con el fin de lograr un objetivo específico o una tarea de negocio.</a:t>
          </a:r>
        </a:p>
      </dsp:txBody>
      <dsp:txXfrm>
        <a:off x="23988" y="1120999"/>
        <a:ext cx="8701126" cy="443423"/>
      </dsp:txXfrm>
    </dsp:sp>
    <dsp:sp modelId="{F5FD4B30-F286-405B-ABD0-6F61C01B8781}">
      <dsp:nvSpPr>
        <dsp:cNvPr id="0" name=""/>
        <dsp:cNvSpPr/>
      </dsp:nvSpPr>
      <dsp:spPr>
        <a:xfrm>
          <a:off x="0" y="1622971"/>
          <a:ext cx="8749102" cy="491399"/>
        </a:xfrm>
        <a:prstGeom prst="roundRect">
          <a:avLst/>
        </a:prstGeom>
        <a:solidFill>
          <a:schemeClr val="accent1">
            <a:shade val="80000"/>
            <a:hueOff val="243783"/>
            <a:satOff val="-13812"/>
            <a:lumOff val="157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s-ES" sz="1200" b="1" kern="1200">
              <a:effectLst/>
              <a:latin typeface="Calibri" panose="020F0502020204030204" pitchFamily="34" charset="0"/>
              <a:ea typeface="Calibri" panose="020F0502020204030204" pitchFamily="34" charset="0"/>
              <a:cs typeface="Times New Roman" panose="02020603050405020304" pitchFamily="18" charset="0"/>
            </a:rPr>
            <a:t>Reglas de negocio: </a:t>
          </a:r>
          <a:r>
            <a:rPr lang="es-ES" sz="1200" kern="1200">
              <a:effectLst/>
              <a:latin typeface="Calibri" panose="020F0502020204030204" pitchFamily="34" charset="0"/>
              <a:ea typeface="Calibri" panose="020F0502020204030204" pitchFamily="34" charset="0"/>
              <a:cs typeface="Times New Roman" panose="02020603050405020304" pitchFamily="18" charset="0"/>
            </a:rPr>
            <a:t>Actividades que sólo pueden realizarse en el sistema bajo ciertas condiciones definidas por procedimientos y restricciones externas.</a:t>
          </a:r>
        </a:p>
      </dsp:txBody>
      <dsp:txXfrm>
        <a:off x="23988" y="1646959"/>
        <a:ext cx="8701126" cy="443423"/>
      </dsp:txXfrm>
    </dsp:sp>
    <dsp:sp modelId="{699EF7DE-A8C8-47BF-BEC1-A84E07F94AEB}">
      <dsp:nvSpPr>
        <dsp:cNvPr id="0" name=""/>
        <dsp:cNvSpPr/>
      </dsp:nvSpPr>
      <dsp:spPr>
        <a:xfrm>
          <a:off x="0" y="2148931"/>
          <a:ext cx="8749102" cy="491399"/>
        </a:xfrm>
        <a:prstGeom prst="roundRect">
          <a:avLst/>
        </a:prstGeom>
        <a:solidFill>
          <a:schemeClr val="accent1">
            <a:shade val="80000"/>
            <a:hueOff val="325044"/>
            <a:satOff val="-18416"/>
            <a:lumOff val="209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s-ES" sz="1200" b="1" kern="1200">
              <a:effectLst/>
              <a:latin typeface="Calibri" panose="020F0502020204030204" pitchFamily="34" charset="0"/>
              <a:ea typeface="Calibri" panose="020F0502020204030204" pitchFamily="34" charset="0"/>
              <a:cs typeface="Times New Roman" panose="02020603050405020304" pitchFamily="18" charset="0"/>
            </a:rPr>
            <a:t>Interfaces externas: </a:t>
          </a:r>
          <a:r>
            <a:rPr lang="es-ES" sz="1200" kern="1200">
              <a:effectLst/>
              <a:latin typeface="Calibri" panose="020F0502020204030204" pitchFamily="34" charset="0"/>
              <a:ea typeface="Calibri" panose="020F0502020204030204" pitchFamily="34" charset="0"/>
              <a:cs typeface="Times New Roman" panose="02020603050405020304" pitchFamily="18" charset="0"/>
            </a:rPr>
            <a:t>Descripciones de las conexiones entre el sistema que se va a desarrollar y el mundo exterior. Las interfaces externas pueden dividirse en diferentes tipos.</a:t>
          </a:r>
        </a:p>
      </dsp:txBody>
      <dsp:txXfrm>
        <a:off x="23988" y="2172919"/>
        <a:ext cx="8701126" cy="443423"/>
      </dsp:txXfrm>
    </dsp:sp>
    <dsp:sp modelId="{D12987BA-31CE-4995-8865-EEC26E3758B5}">
      <dsp:nvSpPr>
        <dsp:cNvPr id="0" name=""/>
        <dsp:cNvSpPr/>
      </dsp:nvSpPr>
      <dsp:spPr>
        <a:xfrm>
          <a:off x="0" y="2674891"/>
          <a:ext cx="8749102" cy="491399"/>
        </a:xfrm>
        <a:prstGeom prst="roundRect">
          <a:avLst/>
        </a:prstGeom>
        <a:solidFill>
          <a:schemeClr val="accent1">
            <a:shade val="80000"/>
            <a:hueOff val="406305"/>
            <a:satOff val="-23020"/>
            <a:lumOff val="261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s-ES" sz="1200" b="1" kern="1200">
              <a:effectLst/>
              <a:latin typeface="Calibri" panose="020F0502020204030204" pitchFamily="34" charset="0"/>
              <a:ea typeface="Calibri" panose="020F0502020204030204" pitchFamily="34" charset="0"/>
              <a:cs typeface="Times New Roman" panose="02020603050405020304" pitchFamily="18" charset="0"/>
            </a:rPr>
            <a:t>Restricciones:</a:t>
          </a:r>
          <a:r>
            <a:rPr lang="es-ES" sz="1200" kern="1200">
              <a:effectLst/>
              <a:latin typeface="Calibri" panose="020F0502020204030204" pitchFamily="34" charset="0"/>
              <a:ea typeface="Calibri" panose="020F0502020204030204" pitchFamily="34" charset="0"/>
              <a:cs typeface="Times New Roman" panose="02020603050405020304" pitchFamily="18" charset="0"/>
            </a:rPr>
            <a:t> Cualquier restricción de diseño e implementación que limite las opciones del desarrollador.</a:t>
          </a:r>
        </a:p>
      </dsp:txBody>
      <dsp:txXfrm>
        <a:off x="23988" y="2698879"/>
        <a:ext cx="8701126" cy="443423"/>
      </dsp:txXfrm>
    </dsp:sp>
    <dsp:sp modelId="{31A96D02-EBC4-4780-8C16-CDF2CB5C6C93}">
      <dsp:nvSpPr>
        <dsp:cNvPr id="0" name=""/>
        <dsp:cNvSpPr/>
      </dsp:nvSpPr>
      <dsp:spPr>
        <a:xfrm>
          <a:off x="0" y="3200850"/>
          <a:ext cx="8749102" cy="491399"/>
        </a:xfrm>
        <a:prstGeom prst="roundRect">
          <a:avLst/>
        </a:prstGeom>
        <a:solidFill>
          <a:schemeClr val="accent1">
            <a:shade val="80000"/>
            <a:hueOff val="487566"/>
            <a:satOff val="-27624"/>
            <a:lumOff val="314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s-ES" sz="1200" b="1" kern="1200">
              <a:effectLst/>
              <a:latin typeface="Calibri" panose="020F0502020204030204" pitchFamily="34" charset="0"/>
              <a:ea typeface="Calibri" panose="020F0502020204030204" pitchFamily="34" charset="0"/>
              <a:cs typeface="Times New Roman" panose="02020603050405020304" pitchFamily="18" charset="0"/>
            </a:rPr>
            <a:t>Definiciones de datos: </a:t>
          </a:r>
          <a:r>
            <a:rPr lang="es-ES" sz="1200" kern="1200">
              <a:effectLst/>
              <a:latin typeface="Calibri" panose="020F0502020204030204" pitchFamily="34" charset="0"/>
              <a:ea typeface="Calibri" panose="020F0502020204030204" pitchFamily="34" charset="0"/>
              <a:cs typeface="Times New Roman" panose="02020603050405020304" pitchFamily="18" charset="0"/>
            </a:rPr>
            <a:t>El cliente puede describir el formato, el tipo de datos, los valores permitidos y los valores por defecto de un elemento de datos en la composición de una estructura de datos de negocio compleja</a:t>
          </a:r>
        </a:p>
      </dsp:txBody>
      <dsp:txXfrm>
        <a:off x="23988" y="3224838"/>
        <a:ext cx="8701126" cy="44342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56141E-E6B0-42FD-AB9C-34F3F14EA0E4}">
      <dsp:nvSpPr>
        <dsp:cNvPr id="0" name=""/>
        <dsp:cNvSpPr/>
      </dsp:nvSpPr>
      <dsp:spPr>
        <a:xfrm>
          <a:off x="1377976" y="0"/>
          <a:ext cx="1377976" cy="1053895"/>
        </a:xfrm>
        <a:prstGeom prst="trapezoid">
          <a:avLst>
            <a:gd name="adj" fmla="val 65375"/>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Font typeface="Wingdings 2" pitchFamily="18" charset="2"/>
            <a:buNone/>
          </a:pPr>
          <a:r>
            <a:rPr lang="es-ES" sz="2400" kern="1200">
              <a:effectLst/>
              <a:latin typeface="Calibri" panose="020F0502020204030204" pitchFamily="34" charset="0"/>
              <a:ea typeface="Calibri" panose="020F0502020204030204" pitchFamily="34" charset="0"/>
              <a:cs typeface="Times New Roman" panose="02020603050405020304" pitchFamily="18" charset="0"/>
            </a:rPr>
            <a:t>Prueba de Sistema</a:t>
          </a:r>
          <a:endParaRPr lang="es-ES" sz="2400" kern="1200"/>
        </a:p>
      </dsp:txBody>
      <dsp:txXfrm>
        <a:off x="1377976" y="0"/>
        <a:ext cx="1377976" cy="1053895"/>
      </dsp:txXfrm>
    </dsp:sp>
    <dsp:sp modelId="{7BD1A4B7-3EA0-4AB0-A278-B184FA556A45}">
      <dsp:nvSpPr>
        <dsp:cNvPr id="0" name=""/>
        <dsp:cNvSpPr/>
      </dsp:nvSpPr>
      <dsp:spPr>
        <a:xfrm>
          <a:off x="688988" y="1053895"/>
          <a:ext cx="2755953" cy="1053895"/>
        </a:xfrm>
        <a:prstGeom prst="trapezoid">
          <a:avLst>
            <a:gd name="adj" fmla="val 65375"/>
          </a:avLst>
        </a:prstGeom>
        <a:solidFill>
          <a:schemeClr val="accent1">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Font typeface="Wingdings 2" pitchFamily="18" charset="2"/>
            <a:buNone/>
          </a:pPr>
          <a:r>
            <a:rPr lang="es-ES" sz="2400" kern="1200">
              <a:effectLst/>
              <a:latin typeface="Calibri" panose="020F0502020204030204" pitchFamily="34" charset="0"/>
              <a:ea typeface="Calibri" panose="020F0502020204030204" pitchFamily="34" charset="0"/>
              <a:cs typeface="Times New Roman" panose="02020603050405020304" pitchFamily="18" charset="0"/>
            </a:rPr>
            <a:t>Prueba de Integración</a:t>
          </a:r>
          <a:endParaRPr lang="es-ES" sz="2400" kern="1200"/>
        </a:p>
      </dsp:txBody>
      <dsp:txXfrm>
        <a:off x="1171280" y="1053895"/>
        <a:ext cx="1791369" cy="1053895"/>
      </dsp:txXfrm>
    </dsp:sp>
    <dsp:sp modelId="{A34C9DCC-A09D-400F-9F75-7B27F1A429A5}">
      <dsp:nvSpPr>
        <dsp:cNvPr id="0" name=""/>
        <dsp:cNvSpPr/>
      </dsp:nvSpPr>
      <dsp:spPr>
        <a:xfrm>
          <a:off x="0" y="2107790"/>
          <a:ext cx="4133930" cy="1053895"/>
        </a:xfrm>
        <a:prstGeom prst="trapezoid">
          <a:avLst>
            <a:gd name="adj" fmla="val 65375"/>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Font typeface="Wingdings 2" pitchFamily="18" charset="2"/>
            <a:buNone/>
          </a:pPr>
          <a:r>
            <a:rPr lang="es-ES" sz="2400" kern="1200">
              <a:effectLst/>
              <a:latin typeface="Calibri" panose="020F0502020204030204" pitchFamily="34" charset="0"/>
              <a:ea typeface="Calibri" panose="020F0502020204030204" pitchFamily="34" charset="0"/>
              <a:cs typeface="Times New Roman" panose="02020603050405020304" pitchFamily="18" charset="0"/>
            </a:rPr>
            <a:t>Prueba Unitaria</a:t>
          </a:r>
          <a:endParaRPr lang="es-ES" sz="2400" kern="1200"/>
        </a:p>
      </dsp:txBody>
      <dsp:txXfrm>
        <a:off x="723437" y="2107790"/>
        <a:ext cx="2687054" cy="105389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2A2507-1144-4875-92BF-3D3D66A9A7F4}">
      <dsp:nvSpPr>
        <dsp:cNvPr id="0" name=""/>
        <dsp:cNvSpPr/>
      </dsp:nvSpPr>
      <dsp:spPr>
        <a:xfrm>
          <a:off x="0" y="482429"/>
          <a:ext cx="8416014" cy="737100"/>
        </a:xfrm>
        <a:prstGeom prst="round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Font typeface="Wingdings" panose="05000000000000000000" pitchFamily="2" charset="2"/>
            <a:buNone/>
          </a:pPr>
          <a:r>
            <a:rPr lang="es-ES" sz="1800" kern="1200">
              <a:latin typeface="Calibri" panose="020F0502020204030204" pitchFamily="34" charset="0"/>
              <a:cs typeface="Times New Roman" panose="02020603050405020304" pitchFamily="18" charset="0"/>
            </a:rPr>
            <a:t>Las historias de usuario seleccionadas para la iteración están completas, son entendidas por el equipo y tienen criterios de aceptación detallados y que pueden ser probados.</a:t>
          </a:r>
          <a:endParaRPr lang="es-ES" sz="1800" kern="1200"/>
        </a:p>
      </dsp:txBody>
      <dsp:txXfrm>
        <a:off x="35982" y="518411"/>
        <a:ext cx="8344050" cy="665136"/>
      </dsp:txXfrm>
    </dsp:sp>
    <dsp:sp modelId="{AE5675A9-64AF-4463-9784-713B499BA471}">
      <dsp:nvSpPr>
        <dsp:cNvPr id="0" name=""/>
        <dsp:cNvSpPr/>
      </dsp:nvSpPr>
      <dsp:spPr>
        <a:xfrm>
          <a:off x="0" y="1271369"/>
          <a:ext cx="8416014" cy="737100"/>
        </a:xfrm>
        <a:prstGeom prst="roundRect">
          <a:avLst/>
        </a:prstGeom>
        <a:solidFill>
          <a:schemeClr val="accent1">
            <a:shade val="80000"/>
            <a:hueOff val="243783"/>
            <a:satOff val="-13812"/>
            <a:lumOff val="157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a:latin typeface="Calibri" panose="020F0502020204030204" pitchFamily="34" charset="0"/>
              <a:cs typeface="Times New Roman" panose="02020603050405020304" pitchFamily="18" charset="0"/>
            </a:rPr>
            <a:t>Se han especificado y revisado todos los elementos de la historia de usuario, incluidas las pruebas de aceptación de la historia de usuario.</a:t>
          </a:r>
        </a:p>
      </dsp:txBody>
      <dsp:txXfrm>
        <a:off x="35982" y="1307351"/>
        <a:ext cx="8344050" cy="665136"/>
      </dsp:txXfrm>
    </dsp:sp>
    <dsp:sp modelId="{254E55A0-4E34-4476-92F6-60411B8B34E4}">
      <dsp:nvSpPr>
        <dsp:cNvPr id="0" name=""/>
        <dsp:cNvSpPr/>
      </dsp:nvSpPr>
      <dsp:spPr>
        <a:xfrm>
          <a:off x="0" y="2060310"/>
          <a:ext cx="8416014" cy="737100"/>
        </a:xfrm>
        <a:prstGeom prst="roundRect">
          <a:avLst/>
        </a:prstGeom>
        <a:solidFill>
          <a:schemeClr val="accent1">
            <a:shade val="80000"/>
            <a:hueOff val="487566"/>
            <a:satOff val="-27624"/>
            <a:lumOff val="314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 sz="1800" kern="1200">
              <a:latin typeface="Calibri" panose="020F0502020204030204" pitchFamily="34" charset="0"/>
              <a:cs typeface="Times New Roman" panose="02020603050405020304" pitchFamily="18" charset="0"/>
            </a:rPr>
            <a:t>Las tareas necesarias para implementar y probar las historias de usuario seleccionadas han sido identificadas y estimadas por el equipo</a:t>
          </a:r>
          <a:endParaRPr lang="es-ES" sz="1800" kern="1200"/>
        </a:p>
      </dsp:txBody>
      <dsp:txXfrm>
        <a:off x="35982" y="2096292"/>
        <a:ext cx="8344050" cy="66513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C40D85-44DA-48ED-92B2-C970FF060874}">
      <dsp:nvSpPr>
        <dsp:cNvPr id="0" name=""/>
        <dsp:cNvSpPr/>
      </dsp:nvSpPr>
      <dsp:spPr>
        <a:xfrm>
          <a:off x="0" y="50328"/>
          <a:ext cx="7641204" cy="400907"/>
        </a:xfrm>
        <a:prstGeom prst="round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Font typeface="Wingdings" panose="05000000000000000000" pitchFamily="2" charset="2"/>
            <a:buNone/>
          </a:pPr>
          <a:r>
            <a:rPr lang="es-ES" sz="1000" kern="1200">
              <a:latin typeface="Calibri" panose="020F0502020204030204" pitchFamily="34" charset="0"/>
              <a:cs typeface="Times New Roman" panose="02020603050405020304" pitchFamily="18" charset="0"/>
            </a:rPr>
            <a:t>Todas las historias de usuario que la componen, con criterios de aceptación, están definidas y aprobadas por el cliente.</a:t>
          </a:r>
          <a:endParaRPr lang="es-ES" sz="1000" kern="1200"/>
        </a:p>
      </dsp:txBody>
      <dsp:txXfrm>
        <a:off x="19571" y="69899"/>
        <a:ext cx="7602062" cy="361765"/>
      </dsp:txXfrm>
    </dsp:sp>
    <dsp:sp modelId="{35132922-6F6D-4F43-91FA-64DD834ABAFD}">
      <dsp:nvSpPr>
        <dsp:cNvPr id="0" name=""/>
        <dsp:cNvSpPr/>
      </dsp:nvSpPr>
      <dsp:spPr>
        <a:xfrm>
          <a:off x="0" y="480035"/>
          <a:ext cx="7641204" cy="400907"/>
        </a:xfrm>
        <a:prstGeom prst="roundRect">
          <a:avLst/>
        </a:prstGeom>
        <a:solidFill>
          <a:schemeClr val="accent1">
            <a:shade val="80000"/>
            <a:hueOff val="81261"/>
            <a:satOff val="-4604"/>
            <a:lumOff val="523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None/>
          </a:pPr>
          <a:r>
            <a:rPr lang="es-ES" sz="1000" kern="1200">
              <a:latin typeface="Calibri" panose="020F0502020204030204" pitchFamily="34" charset="0"/>
              <a:cs typeface="Times New Roman" panose="02020603050405020304" pitchFamily="18" charset="0"/>
            </a:rPr>
            <a:t>El diseño está completo, sin deuda técnica conocida.</a:t>
          </a:r>
        </a:p>
      </dsp:txBody>
      <dsp:txXfrm>
        <a:off x="19571" y="499606"/>
        <a:ext cx="7602062" cy="361765"/>
      </dsp:txXfrm>
    </dsp:sp>
    <dsp:sp modelId="{334AD3B2-0B65-45CE-B69D-F744A43522AA}">
      <dsp:nvSpPr>
        <dsp:cNvPr id="0" name=""/>
        <dsp:cNvSpPr/>
      </dsp:nvSpPr>
      <dsp:spPr>
        <a:xfrm>
          <a:off x="0" y="909743"/>
          <a:ext cx="7641204" cy="400907"/>
        </a:xfrm>
        <a:prstGeom prst="roundRect">
          <a:avLst/>
        </a:prstGeom>
        <a:solidFill>
          <a:schemeClr val="accent1">
            <a:shade val="80000"/>
            <a:hueOff val="162522"/>
            <a:satOff val="-9208"/>
            <a:lumOff val="1047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None/>
          </a:pPr>
          <a:r>
            <a:rPr lang="es-ES" sz="1000" kern="1200">
              <a:latin typeface="Calibri" panose="020F0502020204030204" pitchFamily="34" charset="0"/>
              <a:cs typeface="Times New Roman" panose="02020603050405020304" pitchFamily="18" charset="0"/>
            </a:rPr>
            <a:t>El código está completo, sin deuda técnica conocida ni refactorización inacabada.</a:t>
          </a:r>
        </a:p>
      </dsp:txBody>
      <dsp:txXfrm>
        <a:off x="19571" y="929314"/>
        <a:ext cx="7602062" cy="361765"/>
      </dsp:txXfrm>
    </dsp:sp>
    <dsp:sp modelId="{B519116D-4BA7-4C22-988B-937DEF82F599}">
      <dsp:nvSpPr>
        <dsp:cNvPr id="0" name=""/>
        <dsp:cNvSpPr/>
      </dsp:nvSpPr>
      <dsp:spPr>
        <a:xfrm>
          <a:off x="0" y="1339451"/>
          <a:ext cx="7641204" cy="400907"/>
        </a:xfrm>
        <a:prstGeom prst="roundRect">
          <a:avLst/>
        </a:prstGeom>
        <a:solidFill>
          <a:schemeClr val="accent1">
            <a:shade val="80000"/>
            <a:hueOff val="243783"/>
            <a:satOff val="-13812"/>
            <a:lumOff val="157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None/>
          </a:pPr>
          <a:r>
            <a:rPr lang="es-ES" sz="1000" kern="1200">
              <a:latin typeface="Calibri" panose="020F0502020204030204" pitchFamily="34" charset="0"/>
              <a:cs typeface="Times New Roman" panose="02020603050405020304" pitchFamily="18" charset="0"/>
            </a:rPr>
            <a:t>Se ha realizado la prueba unitaria y se ha alcanzado el nivel de cobertura definido.</a:t>
          </a:r>
        </a:p>
      </dsp:txBody>
      <dsp:txXfrm>
        <a:off x="19571" y="1359022"/>
        <a:ext cx="7602062" cy="361765"/>
      </dsp:txXfrm>
    </dsp:sp>
    <dsp:sp modelId="{A14CE2C6-FB0E-40C5-927E-EF4B1618F2B2}">
      <dsp:nvSpPr>
        <dsp:cNvPr id="0" name=""/>
        <dsp:cNvSpPr/>
      </dsp:nvSpPr>
      <dsp:spPr>
        <a:xfrm>
          <a:off x="0" y="1769159"/>
          <a:ext cx="7641204" cy="400907"/>
        </a:xfrm>
        <a:prstGeom prst="roundRect">
          <a:avLst/>
        </a:prstGeom>
        <a:solidFill>
          <a:schemeClr val="accent1">
            <a:shade val="80000"/>
            <a:hueOff val="325044"/>
            <a:satOff val="-18416"/>
            <a:lumOff val="209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None/>
          </a:pPr>
          <a:r>
            <a:rPr lang="es-ES" sz="1000" kern="1200">
              <a:latin typeface="Calibri" panose="020F0502020204030204" pitchFamily="34" charset="0"/>
              <a:cs typeface="Times New Roman" panose="02020603050405020304" pitchFamily="18" charset="0"/>
            </a:rPr>
            <a:t>Se ha realizado la prueba de integración y prueba de sistema para la prestación de acuerdo con los criterios de cobertura definidos.</a:t>
          </a:r>
        </a:p>
      </dsp:txBody>
      <dsp:txXfrm>
        <a:off x="19571" y="1788730"/>
        <a:ext cx="7602062" cy="361765"/>
      </dsp:txXfrm>
    </dsp:sp>
    <dsp:sp modelId="{20B252BD-AF46-40D0-A099-8AC52040706B}">
      <dsp:nvSpPr>
        <dsp:cNvPr id="0" name=""/>
        <dsp:cNvSpPr/>
      </dsp:nvSpPr>
      <dsp:spPr>
        <a:xfrm>
          <a:off x="0" y="2198867"/>
          <a:ext cx="7641204" cy="400907"/>
        </a:xfrm>
        <a:prstGeom prst="roundRect">
          <a:avLst/>
        </a:prstGeom>
        <a:solidFill>
          <a:schemeClr val="accent1">
            <a:shade val="80000"/>
            <a:hueOff val="406305"/>
            <a:satOff val="-23020"/>
            <a:lumOff val="261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None/>
          </a:pPr>
          <a:r>
            <a:rPr lang="es-ES" sz="1000" kern="1200">
              <a:latin typeface="Calibri" panose="020F0502020204030204" pitchFamily="34" charset="0"/>
              <a:cs typeface="Times New Roman" panose="02020603050405020304" pitchFamily="18" charset="0"/>
            </a:rPr>
            <a:t>No quedan defectos importantes por corregir.</a:t>
          </a:r>
        </a:p>
      </dsp:txBody>
      <dsp:txXfrm>
        <a:off x="19571" y="2218438"/>
        <a:ext cx="7602062" cy="361765"/>
      </dsp:txXfrm>
    </dsp:sp>
    <dsp:sp modelId="{62983D76-5193-4A55-BC13-4E39A8543DF2}">
      <dsp:nvSpPr>
        <dsp:cNvPr id="0" name=""/>
        <dsp:cNvSpPr/>
      </dsp:nvSpPr>
      <dsp:spPr>
        <a:xfrm>
          <a:off x="0" y="2628575"/>
          <a:ext cx="7641204" cy="400907"/>
        </a:xfrm>
        <a:prstGeom prst="roundRect">
          <a:avLst/>
        </a:prstGeom>
        <a:solidFill>
          <a:schemeClr val="accent1">
            <a:shade val="80000"/>
            <a:hueOff val="487566"/>
            <a:satOff val="-27624"/>
            <a:lumOff val="314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l" defTabSz="444500">
            <a:lnSpc>
              <a:spcPct val="90000"/>
            </a:lnSpc>
            <a:spcBef>
              <a:spcPct val="0"/>
            </a:spcBef>
            <a:spcAft>
              <a:spcPct val="35000"/>
            </a:spcAft>
            <a:buNone/>
          </a:pPr>
          <a:r>
            <a:rPr lang="es-ES" sz="1000" kern="1200">
              <a:latin typeface="Calibri" panose="020F0502020204030204" pitchFamily="34" charset="0"/>
              <a:cs typeface="Times New Roman" panose="02020603050405020304" pitchFamily="18" charset="0"/>
            </a:rPr>
            <a:t>La documentación de la prestación está completa, lo que puede incluir notas de la publicación, manuales de usuario y funciones de ayuda en línea. </a:t>
          </a:r>
        </a:p>
      </dsp:txBody>
      <dsp:txXfrm>
        <a:off x="19571" y="2648146"/>
        <a:ext cx="7602062" cy="36176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93ABD6-5AA1-4FAD-A58D-5A6C0692E82D}">
      <dsp:nvSpPr>
        <dsp:cNvPr id="0" name=""/>
        <dsp:cNvSpPr/>
      </dsp:nvSpPr>
      <dsp:spPr>
        <a:xfrm>
          <a:off x="0" y="46827"/>
          <a:ext cx="9582170" cy="614250"/>
        </a:xfrm>
        <a:prstGeom prst="round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Font typeface="Wingdings" panose="05000000000000000000" pitchFamily="2" charset="2"/>
            <a:buNone/>
          </a:pPr>
          <a:r>
            <a:rPr lang="es-ES" sz="1500" kern="1200">
              <a:latin typeface="Calibri" panose="020F0502020204030204" pitchFamily="34" charset="0"/>
              <a:cs typeface="Times New Roman" panose="02020603050405020304" pitchFamily="18" charset="0"/>
            </a:rPr>
            <a:t>Todas las prestaciones de la iteración están listas y se han probado individualmente según los criterios del nivel de la prestación.</a:t>
          </a:r>
          <a:endParaRPr lang="es-ES" sz="1500" kern="1200"/>
        </a:p>
      </dsp:txBody>
      <dsp:txXfrm>
        <a:off x="29985" y="76812"/>
        <a:ext cx="9522200" cy="554280"/>
      </dsp:txXfrm>
    </dsp:sp>
    <dsp:sp modelId="{CD5E5CAB-B4B0-4978-8A51-75B3B43B9042}">
      <dsp:nvSpPr>
        <dsp:cNvPr id="0" name=""/>
        <dsp:cNvSpPr/>
      </dsp:nvSpPr>
      <dsp:spPr>
        <a:xfrm>
          <a:off x="0" y="704277"/>
          <a:ext cx="9582170" cy="614250"/>
        </a:xfrm>
        <a:prstGeom prst="roundRect">
          <a:avLst/>
        </a:prstGeom>
        <a:solidFill>
          <a:schemeClr val="accent1">
            <a:shade val="80000"/>
            <a:hueOff val="121891"/>
            <a:satOff val="-6906"/>
            <a:lumOff val="78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s-ES" sz="1500" kern="1200">
              <a:latin typeface="Calibri" panose="020F0502020204030204" pitchFamily="34" charset="0"/>
              <a:cs typeface="Times New Roman" panose="02020603050405020304" pitchFamily="18" charset="0"/>
            </a:rPr>
            <a:t>Cualquier defecto no crítico que no pueda solucionarse dentro de las limitaciones de la iteración se añade a la lista de trabajo acumulado del producto y se prioriza.</a:t>
          </a:r>
        </a:p>
      </dsp:txBody>
      <dsp:txXfrm>
        <a:off x="29985" y="734262"/>
        <a:ext cx="9522200" cy="554280"/>
      </dsp:txXfrm>
    </dsp:sp>
    <dsp:sp modelId="{4E3D8454-829B-41F7-8A57-2E3DC0231D95}">
      <dsp:nvSpPr>
        <dsp:cNvPr id="0" name=""/>
        <dsp:cNvSpPr/>
      </dsp:nvSpPr>
      <dsp:spPr>
        <a:xfrm>
          <a:off x="0" y="1361727"/>
          <a:ext cx="9582170" cy="614250"/>
        </a:xfrm>
        <a:prstGeom prst="roundRect">
          <a:avLst/>
        </a:prstGeom>
        <a:solidFill>
          <a:schemeClr val="accent1">
            <a:shade val="80000"/>
            <a:hueOff val="243783"/>
            <a:satOff val="-13812"/>
            <a:lumOff val="157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s-ES" sz="1500" kern="1200">
              <a:latin typeface="Calibri" panose="020F0502020204030204" pitchFamily="34" charset="0"/>
              <a:cs typeface="Times New Roman" panose="02020603050405020304" pitchFamily="18" charset="0"/>
            </a:rPr>
            <a:t>Integración de todas las prestaciones para la iteración completada y probada.</a:t>
          </a:r>
        </a:p>
      </dsp:txBody>
      <dsp:txXfrm>
        <a:off x="29985" y="1391712"/>
        <a:ext cx="9522200" cy="554280"/>
      </dsp:txXfrm>
    </dsp:sp>
    <dsp:sp modelId="{C9DBE53A-95C5-47F4-850F-7AD931DA02A5}">
      <dsp:nvSpPr>
        <dsp:cNvPr id="0" name=""/>
        <dsp:cNvSpPr/>
      </dsp:nvSpPr>
      <dsp:spPr>
        <a:xfrm>
          <a:off x="0" y="2019177"/>
          <a:ext cx="9582170" cy="614250"/>
        </a:xfrm>
        <a:prstGeom prst="roundRect">
          <a:avLst/>
        </a:prstGeom>
        <a:solidFill>
          <a:schemeClr val="accent1">
            <a:shade val="80000"/>
            <a:hueOff val="365674"/>
            <a:satOff val="-20718"/>
            <a:lumOff val="235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s-ES" sz="1500" kern="1200">
              <a:latin typeface="Calibri" panose="020F0502020204030204" pitchFamily="34" charset="0"/>
              <a:cs typeface="Times New Roman" panose="02020603050405020304" pitchFamily="18" charset="0"/>
            </a:rPr>
            <a:t>Documentación redactada, revisada y aprobada.</a:t>
          </a:r>
        </a:p>
      </dsp:txBody>
      <dsp:txXfrm>
        <a:off x="29985" y="2049162"/>
        <a:ext cx="9522200" cy="554280"/>
      </dsp:txXfrm>
    </dsp:sp>
    <dsp:sp modelId="{313A4A2A-FECB-4273-93C5-FCFDDA52CEEA}">
      <dsp:nvSpPr>
        <dsp:cNvPr id="0" name=""/>
        <dsp:cNvSpPr/>
      </dsp:nvSpPr>
      <dsp:spPr>
        <a:xfrm>
          <a:off x="0" y="2676627"/>
          <a:ext cx="9582170" cy="614250"/>
        </a:xfrm>
        <a:prstGeom prst="roundRect">
          <a:avLst/>
        </a:prstGeom>
        <a:solidFill>
          <a:schemeClr val="accent1">
            <a:shade val="80000"/>
            <a:hueOff val="487566"/>
            <a:satOff val="-27624"/>
            <a:lumOff val="314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s-ES" sz="1500" kern="1200">
              <a:latin typeface="Calibri" panose="020F0502020204030204" pitchFamily="34" charset="0"/>
              <a:cs typeface="Times New Roman" panose="02020603050405020304" pitchFamily="18" charset="0"/>
            </a:rPr>
            <a:t>En este punto, el software es potencialmente liberable porque la iteración se ha completado con éxito, pero no todas las iteraciones dan como resultado una entrega.</a:t>
          </a:r>
        </a:p>
      </dsp:txBody>
      <dsp:txXfrm>
        <a:off x="29985" y="2706612"/>
        <a:ext cx="9522200" cy="55428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AFA17B-070F-40E6-8D60-6732F8D84CCE}">
      <dsp:nvSpPr>
        <dsp:cNvPr id="0" name=""/>
        <dsp:cNvSpPr/>
      </dsp:nvSpPr>
      <dsp:spPr>
        <a:xfrm>
          <a:off x="0" y="189771"/>
          <a:ext cx="8543235" cy="770371"/>
        </a:xfrm>
        <a:prstGeom prst="round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Wingdings" panose="05000000000000000000" pitchFamily="2" charset="2"/>
            <a:buNone/>
          </a:pPr>
          <a:r>
            <a:rPr lang="es-ES" sz="1400" b="1" kern="1200">
              <a:latin typeface="Calibri" panose="020F0502020204030204" pitchFamily="34" charset="0"/>
              <a:cs typeface="Times New Roman" panose="02020603050405020304" pitchFamily="18" charset="0"/>
            </a:rPr>
            <a:t>Cobertura:</a:t>
          </a:r>
          <a:r>
            <a:rPr lang="es-ES" sz="1400" kern="1200">
              <a:latin typeface="Calibri" panose="020F0502020204030204" pitchFamily="34" charset="0"/>
              <a:cs typeface="Times New Roman" panose="02020603050405020304" pitchFamily="18" charset="0"/>
            </a:rPr>
            <a:t> Todos los elementos relevantes de la base de prueba para todos los contenidos de la entrega han sido cubiertos por la prueba.</a:t>
          </a:r>
          <a:endParaRPr lang="es-ES" sz="1400" kern="1200"/>
        </a:p>
      </dsp:txBody>
      <dsp:txXfrm>
        <a:off x="37606" y="227377"/>
        <a:ext cx="8468023" cy="695159"/>
      </dsp:txXfrm>
    </dsp:sp>
    <dsp:sp modelId="{1E2362A6-1CCB-4A90-AA65-766BDC2F927E}">
      <dsp:nvSpPr>
        <dsp:cNvPr id="0" name=""/>
        <dsp:cNvSpPr/>
      </dsp:nvSpPr>
      <dsp:spPr>
        <a:xfrm>
          <a:off x="0" y="1000463"/>
          <a:ext cx="8543235" cy="770371"/>
        </a:xfrm>
        <a:prstGeom prst="roundRect">
          <a:avLst/>
        </a:prstGeom>
        <a:solidFill>
          <a:schemeClr val="accent1">
            <a:shade val="80000"/>
            <a:hueOff val="162522"/>
            <a:satOff val="-9208"/>
            <a:lumOff val="1047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s-ES" sz="1400" b="1" kern="1200">
              <a:latin typeface="Calibri" panose="020F0502020204030204" pitchFamily="34" charset="0"/>
              <a:cs typeface="Times New Roman" panose="02020603050405020304" pitchFamily="18" charset="0"/>
            </a:rPr>
            <a:t>Calidad: </a:t>
          </a:r>
          <a:r>
            <a:rPr lang="es-ES" sz="1400" kern="1200">
              <a:latin typeface="Calibri" panose="020F0502020204030204" pitchFamily="34" charset="0"/>
              <a:cs typeface="Times New Roman" panose="02020603050405020304" pitchFamily="18" charset="0"/>
            </a:rPr>
            <a:t>La intensidad de los defectos, la densidad de defectos, el número estimado de defectos restantes están dentro de los límites aceptables, las consecuencias de los defectos no resueltos y restantes se entienden y son aceptables, el nivel de riesgo residual asociado a cada riesgo de calidad identificado se entiende y es aceptable.</a:t>
          </a:r>
        </a:p>
      </dsp:txBody>
      <dsp:txXfrm>
        <a:off x="37606" y="1038069"/>
        <a:ext cx="8468023" cy="695159"/>
      </dsp:txXfrm>
    </dsp:sp>
    <dsp:sp modelId="{BFAEF80D-76A0-48A4-87F9-959F301B383A}">
      <dsp:nvSpPr>
        <dsp:cNvPr id="0" name=""/>
        <dsp:cNvSpPr/>
      </dsp:nvSpPr>
      <dsp:spPr>
        <a:xfrm>
          <a:off x="0" y="1811154"/>
          <a:ext cx="8543235" cy="770371"/>
        </a:xfrm>
        <a:prstGeom prst="roundRect">
          <a:avLst/>
        </a:prstGeom>
        <a:solidFill>
          <a:schemeClr val="accent1">
            <a:shade val="80000"/>
            <a:hueOff val="325044"/>
            <a:satOff val="-18416"/>
            <a:lumOff val="209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s-ES" sz="1400" b="1" kern="1200">
              <a:latin typeface="Calibri" panose="020F0502020204030204" pitchFamily="34" charset="0"/>
              <a:cs typeface="Times New Roman" panose="02020603050405020304" pitchFamily="18" charset="0"/>
            </a:rPr>
            <a:t>Tiempo: </a:t>
          </a:r>
          <a:r>
            <a:rPr lang="es-ES" sz="1400" kern="1200">
              <a:latin typeface="Calibri" panose="020F0502020204030204" pitchFamily="34" charset="0"/>
              <a:cs typeface="Times New Roman" panose="02020603050405020304" pitchFamily="18" charset="0"/>
            </a:rPr>
            <a:t>Si se ha alcanzado la fecha de entrega predeterminada, hay que tener en cuenta las consideraciones de negocio asociadas a la entrega y a la no entrega.</a:t>
          </a:r>
        </a:p>
      </dsp:txBody>
      <dsp:txXfrm>
        <a:off x="37606" y="1848760"/>
        <a:ext cx="8468023" cy="695159"/>
      </dsp:txXfrm>
    </dsp:sp>
    <dsp:sp modelId="{4A7218FD-15D3-4690-AA59-5726E01DCB41}">
      <dsp:nvSpPr>
        <dsp:cNvPr id="0" name=""/>
        <dsp:cNvSpPr/>
      </dsp:nvSpPr>
      <dsp:spPr>
        <a:xfrm>
          <a:off x="0" y="2621846"/>
          <a:ext cx="8543235" cy="770371"/>
        </a:xfrm>
        <a:prstGeom prst="roundRect">
          <a:avLst/>
        </a:prstGeom>
        <a:solidFill>
          <a:schemeClr val="accent1">
            <a:shade val="80000"/>
            <a:hueOff val="487566"/>
            <a:satOff val="-27624"/>
            <a:lumOff val="314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s-ES" sz="1400" b="1" kern="1200">
              <a:latin typeface="Calibri" panose="020F0502020204030204" pitchFamily="34" charset="0"/>
              <a:cs typeface="Times New Roman" panose="02020603050405020304" pitchFamily="18" charset="0"/>
            </a:rPr>
            <a:t>Coste: </a:t>
          </a:r>
          <a:r>
            <a:rPr lang="es-ES" sz="1400" kern="1200">
              <a:latin typeface="Calibri" panose="020F0502020204030204" pitchFamily="34" charset="0"/>
              <a:cs typeface="Times New Roman" panose="02020603050405020304" pitchFamily="18" charset="0"/>
            </a:rPr>
            <a:t>El coste estimado del ciclo de vida debe utilizarse para calcular el retorno de la inversión del sistema entregado</a:t>
          </a:r>
        </a:p>
      </dsp:txBody>
      <dsp:txXfrm>
        <a:off x="37606" y="2659452"/>
        <a:ext cx="8468023" cy="695159"/>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CF68D2-F0E6-420D-ADE7-72BF4AA7D679}">
      <dsp:nvSpPr>
        <dsp:cNvPr id="0" name=""/>
        <dsp:cNvSpPr/>
      </dsp:nvSpPr>
      <dsp:spPr>
        <a:xfrm>
          <a:off x="3289524" y="1440114"/>
          <a:ext cx="749101" cy="7491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s-ES_tradnl" sz="900" kern="1200"/>
            <a:t>Contrato de prueba</a:t>
          </a:r>
          <a:endParaRPr lang="es-ES" sz="900" kern="1200"/>
        </a:p>
      </dsp:txBody>
      <dsp:txXfrm>
        <a:off x="3399227" y="1549817"/>
        <a:ext cx="529695" cy="529695"/>
      </dsp:txXfrm>
    </dsp:sp>
    <dsp:sp modelId="{7C401488-71F4-4443-881B-3E430469B0AA}">
      <dsp:nvSpPr>
        <dsp:cNvPr id="0" name=""/>
        <dsp:cNvSpPr/>
      </dsp:nvSpPr>
      <dsp:spPr>
        <a:xfrm rot="16200000">
          <a:off x="3325435" y="1092274"/>
          <a:ext cx="677279" cy="18400"/>
        </a:xfrm>
        <a:custGeom>
          <a:avLst/>
          <a:gdLst/>
          <a:ahLst/>
          <a:cxnLst/>
          <a:rect l="0" t="0" r="0" b="0"/>
          <a:pathLst>
            <a:path>
              <a:moveTo>
                <a:pt x="0" y="9200"/>
              </a:moveTo>
              <a:lnTo>
                <a:pt x="677279" y="9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a:off x="3647143" y="1084542"/>
        <a:ext cx="33863" cy="33863"/>
      </dsp:txXfrm>
    </dsp:sp>
    <dsp:sp modelId="{6A7B62F4-034A-4240-91F3-706A2D027814}">
      <dsp:nvSpPr>
        <dsp:cNvPr id="0" name=""/>
        <dsp:cNvSpPr/>
      </dsp:nvSpPr>
      <dsp:spPr>
        <a:xfrm>
          <a:off x="3289524" y="13733"/>
          <a:ext cx="749101" cy="7491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Font typeface="Courier New" panose="02070309020205020404" pitchFamily="49" charset="0"/>
            <a:buNone/>
          </a:pPr>
          <a:r>
            <a:rPr lang="es-ES" sz="800" b="1" kern="1200">
              <a:latin typeface="Calibri" panose="020F0502020204030204" pitchFamily="34" charset="0"/>
              <a:cs typeface="Times New Roman" panose="02020603050405020304" pitchFamily="18" charset="0"/>
            </a:rPr>
            <a:t>Actor</a:t>
          </a:r>
          <a:endParaRPr lang="es-ES" sz="800" kern="1200"/>
        </a:p>
      </dsp:txBody>
      <dsp:txXfrm>
        <a:off x="3399227" y="123436"/>
        <a:ext cx="529695" cy="529695"/>
      </dsp:txXfrm>
    </dsp:sp>
    <dsp:sp modelId="{EC840A98-A643-49CB-8B0D-F7653AA586BC}">
      <dsp:nvSpPr>
        <dsp:cNvPr id="0" name=""/>
        <dsp:cNvSpPr/>
      </dsp:nvSpPr>
      <dsp:spPr>
        <a:xfrm rot="18600000">
          <a:off x="3783865" y="1259129"/>
          <a:ext cx="677279" cy="18400"/>
        </a:xfrm>
        <a:custGeom>
          <a:avLst/>
          <a:gdLst/>
          <a:ahLst/>
          <a:cxnLst/>
          <a:rect l="0" t="0" r="0" b="0"/>
          <a:pathLst>
            <a:path>
              <a:moveTo>
                <a:pt x="0" y="9200"/>
              </a:moveTo>
              <a:lnTo>
                <a:pt x="677279" y="9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a:off x="4105573" y="1251397"/>
        <a:ext cx="33863" cy="33863"/>
      </dsp:txXfrm>
    </dsp:sp>
    <dsp:sp modelId="{FE3F3F3C-9B9A-45CD-BABE-C68E35151E44}">
      <dsp:nvSpPr>
        <dsp:cNvPr id="0" name=""/>
        <dsp:cNvSpPr/>
      </dsp:nvSpPr>
      <dsp:spPr>
        <a:xfrm>
          <a:off x="4206384" y="347443"/>
          <a:ext cx="749101" cy="7491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ES" sz="800" b="1" kern="1200">
              <a:latin typeface="Calibri" panose="020F0502020204030204" pitchFamily="34" charset="0"/>
              <a:cs typeface="Times New Roman" panose="02020603050405020304" pitchFamily="18" charset="0"/>
            </a:rPr>
            <a:t>Propósito</a:t>
          </a:r>
          <a:endParaRPr lang="es-ES" sz="800" kern="1200">
            <a:latin typeface="Calibri" panose="020F0502020204030204" pitchFamily="34" charset="0"/>
            <a:cs typeface="Times New Roman" panose="02020603050405020304" pitchFamily="18" charset="0"/>
          </a:endParaRPr>
        </a:p>
      </dsp:txBody>
      <dsp:txXfrm>
        <a:off x="4316087" y="457146"/>
        <a:ext cx="529695" cy="529695"/>
      </dsp:txXfrm>
    </dsp:sp>
    <dsp:sp modelId="{16E115CA-6447-431B-AE08-5C5F7E9020EC}">
      <dsp:nvSpPr>
        <dsp:cNvPr id="0" name=""/>
        <dsp:cNvSpPr/>
      </dsp:nvSpPr>
      <dsp:spPr>
        <a:xfrm rot="21000000">
          <a:off x="4027790" y="1681620"/>
          <a:ext cx="677279" cy="18400"/>
        </a:xfrm>
        <a:custGeom>
          <a:avLst/>
          <a:gdLst/>
          <a:ahLst/>
          <a:cxnLst/>
          <a:rect l="0" t="0" r="0" b="0"/>
          <a:pathLst>
            <a:path>
              <a:moveTo>
                <a:pt x="0" y="9200"/>
              </a:moveTo>
              <a:lnTo>
                <a:pt x="677279" y="9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a:off x="4349498" y="1673888"/>
        <a:ext cx="33863" cy="33863"/>
      </dsp:txXfrm>
    </dsp:sp>
    <dsp:sp modelId="{ACD54E00-5E6C-465C-B246-33436228BF09}">
      <dsp:nvSpPr>
        <dsp:cNvPr id="0" name=""/>
        <dsp:cNvSpPr/>
      </dsp:nvSpPr>
      <dsp:spPr>
        <a:xfrm>
          <a:off x="4694235" y="1192425"/>
          <a:ext cx="749101" cy="7491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ES" sz="800" b="1" kern="1200">
              <a:latin typeface="Calibri" panose="020F0502020204030204" pitchFamily="34" charset="0"/>
              <a:cs typeface="Times New Roman" panose="02020603050405020304" pitchFamily="18" charset="0"/>
            </a:rPr>
            <a:t>Preparación</a:t>
          </a:r>
          <a:endParaRPr lang="es-ES" sz="800" kern="1200">
            <a:latin typeface="Calibri" panose="020F0502020204030204" pitchFamily="34" charset="0"/>
            <a:cs typeface="Times New Roman" panose="02020603050405020304" pitchFamily="18" charset="0"/>
          </a:endParaRPr>
        </a:p>
      </dsp:txBody>
      <dsp:txXfrm>
        <a:off x="4803938" y="1302128"/>
        <a:ext cx="529695" cy="529695"/>
      </dsp:txXfrm>
    </dsp:sp>
    <dsp:sp modelId="{7366C77F-0840-4914-9BA9-C8884434B08F}">
      <dsp:nvSpPr>
        <dsp:cNvPr id="0" name=""/>
        <dsp:cNvSpPr/>
      </dsp:nvSpPr>
      <dsp:spPr>
        <a:xfrm rot="1800000">
          <a:off x="3943076" y="2162060"/>
          <a:ext cx="677279" cy="18400"/>
        </a:xfrm>
        <a:custGeom>
          <a:avLst/>
          <a:gdLst/>
          <a:ahLst/>
          <a:cxnLst/>
          <a:rect l="0" t="0" r="0" b="0"/>
          <a:pathLst>
            <a:path>
              <a:moveTo>
                <a:pt x="0" y="9200"/>
              </a:moveTo>
              <a:lnTo>
                <a:pt x="677279" y="9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a:off x="4264784" y="2154328"/>
        <a:ext cx="33863" cy="33863"/>
      </dsp:txXfrm>
    </dsp:sp>
    <dsp:sp modelId="{82C8AC5F-8F50-44E4-BB95-5FF2D0114D87}">
      <dsp:nvSpPr>
        <dsp:cNvPr id="0" name=""/>
        <dsp:cNvSpPr/>
      </dsp:nvSpPr>
      <dsp:spPr>
        <a:xfrm>
          <a:off x="4524806" y="2153304"/>
          <a:ext cx="749101" cy="7491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ES" sz="800" b="1" kern="1200">
              <a:latin typeface="Calibri" panose="020F0502020204030204" pitchFamily="34" charset="0"/>
              <a:cs typeface="Times New Roman" panose="02020603050405020304" pitchFamily="18" charset="0"/>
            </a:rPr>
            <a:t>Prioridad</a:t>
          </a:r>
          <a:endParaRPr lang="es-ES" sz="800" kern="1200">
            <a:latin typeface="Calibri" panose="020F0502020204030204" pitchFamily="34" charset="0"/>
            <a:cs typeface="Times New Roman" panose="02020603050405020304" pitchFamily="18" charset="0"/>
          </a:endParaRPr>
        </a:p>
      </dsp:txBody>
      <dsp:txXfrm>
        <a:off x="4634509" y="2263007"/>
        <a:ext cx="529695" cy="529695"/>
      </dsp:txXfrm>
    </dsp:sp>
    <dsp:sp modelId="{D8EC3EA8-6770-4F15-8157-BAE8AE72FA89}">
      <dsp:nvSpPr>
        <dsp:cNvPr id="0" name=""/>
        <dsp:cNvSpPr/>
      </dsp:nvSpPr>
      <dsp:spPr>
        <a:xfrm rot="4200000">
          <a:off x="3569360" y="2475645"/>
          <a:ext cx="677279" cy="18400"/>
        </a:xfrm>
        <a:custGeom>
          <a:avLst/>
          <a:gdLst/>
          <a:ahLst/>
          <a:cxnLst/>
          <a:rect l="0" t="0" r="0" b="0"/>
          <a:pathLst>
            <a:path>
              <a:moveTo>
                <a:pt x="0" y="9200"/>
              </a:moveTo>
              <a:lnTo>
                <a:pt x="677279" y="9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a:off x="3891068" y="2467913"/>
        <a:ext cx="33863" cy="33863"/>
      </dsp:txXfrm>
    </dsp:sp>
    <dsp:sp modelId="{0FC635C6-471E-4C93-9158-FA2C29D24F28}">
      <dsp:nvSpPr>
        <dsp:cNvPr id="0" name=""/>
        <dsp:cNvSpPr/>
      </dsp:nvSpPr>
      <dsp:spPr>
        <a:xfrm>
          <a:off x="3777375" y="2780474"/>
          <a:ext cx="749101" cy="7491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ES" sz="800" b="1" kern="1200">
              <a:latin typeface="Calibri" panose="020F0502020204030204" pitchFamily="34" charset="0"/>
              <a:cs typeface="Times New Roman" panose="02020603050405020304" pitchFamily="18" charset="0"/>
            </a:rPr>
            <a:t>Referencia</a:t>
          </a:r>
          <a:endParaRPr lang="es-ES" sz="800" kern="1200">
            <a:latin typeface="Calibri" panose="020F0502020204030204" pitchFamily="34" charset="0"/>
            <a:cs typeface="Times New Roman" panose="02020603050405020304" pitchFamily="18" charset="0"/>
          </a:endParaRPr>
        </a:p>
      </dsp:txBody>
      <dsp:txXfrm>
        <a:off x="3887078" y="2890177"/>
        <a:ext cx="529695" cy="529695"/>
      </dsp:txXfrm>
    </dsp:sp>
    <dsp:sp modelId="{31A66129-3B4E-447E-9A8D-C26F963B7479}">
      <dsp:nvSpPr>
        <dsp:cNvPr id="0" name=""/>
        <dsp:cNvSpPr/>
      </dsp:nvSpPr>
      <dsp:spPr>
        <a:xfrm rot="6600000">
          <a:off x="3081509" y="2475645"/>
          <a:ext cx="677279" cy="18400"/>
        </a:xfrm>
        <a:custGeom>
          <a:avLst/>
          <a:gdLst/>
          <a:ahLst/>
          <a:cxnLst/>
          <a:rect l="0" t="0" r="0" b="0"/>
          <a:pathLst>
            <a:path>
              <a:moveTo>
                <a:pt x="0" y="9200"/>
              </a:moveTo>
              <a:lnTo>
                <a:pt x="677279" y="9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rot="10800000">
        <a:off x="3403217" y="2467913"/>
        <a:ext cx="33863" cy="33863"/>
      </dsp:txXfrm>
    </dsp:sp>
    <dsp:sp modelId="{0916324D-2B0A-4481-87DF-DDA7B07E6A6F}">
      <dsp:nvSpPr>
        <dsp:cNvPr id="0" name=""/>
        <dsp:cNvSpPr/>
      </dsp:nvSpPr>
      <dsp:spPr>
        <a:xfrm>
          <a:off x="2801673" y="2780474"/>
          <a:ext cx="749101" cy="7491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ES" sz="800" b="1" kern="1200">
              <a:latin typeface="Calibri" panose="020F0502020204030204" pitchFamily="34" charset="0"/>
              <a:cs typeface="Times New Roman" panose="02020603050405020304" pitchFamily="18" charset="0"/>
            </a:rPr>
            <a:t>Datos</a:t>
          </a:r>
          <a:endParaRPr lang="es-ES" sz="800" kern="1200">
            <a:latin typeface="Calibri" panose="020F0502020204030204" pitchFamily="34" charset="0"/>
            <a:cs typeface="Times New Roman" panose="02020603050405020304" pitchFamily="18" charset="0"/>
          </a:endParaRPr>
        </a:p>
      </dsp:txBody>
      <dsp:txXfrm>
        <a:off x="2911376" y="2890177"/>
        <a:ext cx="529695" cy="529695"/>
      </dsp:txXfrm>
    </dsp:sp>
    <dsp:sp modelId="{E047A546-D47D-4D2D-9DB9-01E504E59475}">
      <dsp:nvSpPr>
        <dsp:cNvPr id="0" name=""/>
        <dsp:cNvSpPr/>
      </dsp:nvSpPr>
      <dsp:spPr>
        <a:xfrm rot="9000000">
          <a:off x="2707794" y="2162060"/>
          <a:ext cx="677279" cy="18400"/>
        </a:xfrm>
        <a:custGeom>
          <a:avLst/>
          <a:gdLst/>
          <a:ahLst/>
          <a:cxnLst/>
          <a:rect l="0" t="0" r="0" b="0"/>
          <a:pathLst>
            <a:path>
              <a:moveTo>
                <a:pt x="0" y="9200"/>
              </a:moveTo>
              <a:lnTo>
                <a:pt x="677279" y="9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rot="10800000">
        <a:off x="3029501" y="2154328"/>
        <a:ext cx="33863" cy="33863"/>
      </dsp:txXfrm>
    </dsp:sp>
    <dsp:sp modelId="{143B9C8B-B548-424B-8440-ED4E8CBA2641}">
      <dsp:nvSpPr>
        <dsp:cNvPr id="0" name=""/>
        <dsp:cNvSpPr/>
      </dsp:nvSpPr>
      <dsp:spPr>
        <a:xfrm>
          <a:off x="2054242" y="2153304"/>
          <a:ext cx="749101" cy="7491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ES" sz="800" b="1" kern="1200">
              <a:latin typeface="Calibri" panose="020F0502020204030204" pitchFamily="34" charset="0"/>
              <a:cs typeface="Times New Roman" panose="02020603050405020304" pitchFamily="18" charset="0"/>
            </a:rPr>
            <a:t>Actividades</a:t>
          </a:r>
          <a:endParaRPr lang="es-ES" sz="800" kern="1200">
            <a:latin typeface="Calibri" panose="020F0502020204030204" pitchFamily="34" charset="0"/>
            <a:cs typeface="Times New Roman" panose="02020603050405020304" pitchFamily="18" charset="0"/>
          </a:endParaRPr>
        </a:p>
      </dsp:txBody>
      <dsp:txXfrm>
        <a:off x="2163945" y="2263007"/>
        <a:ext cx="529695" cy="529695"/>
      </dsp:txXfrm>
    </dsp:sp>
    <dsp:sp modelId="{E24C04FB-EE11-4834-A7BF-3103FD42CAFA}">
      <dsp:nvSpPr>
        <dsp:cNvPr id="0" name=""/>
        <dsp:cNvSpPr/>
      </dsp:nvSpPr>
      <dsp:spPr>
        <a:xfrm rot="11400000">
          <a:off x="2623079" y="1681620"/>
          <a:ext cx="677279" cy="18400"/>
        </a:xfrm>
        <a:custGeom>
          <a:avLst/>
          <a:gdLst/>
          <a:ahLst/>
          <a:cxnLst/>
          <a:rect l="0" t="0" r="0" b="0"/>
          <a:pathLst>
            <a:path>
              <a:moveTo>
                <a:pt x="0" y="9200"/>
              </a:moveTo>
              <a:lnTo>
                <a:pt x="677279" y="9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rot="10800000">
        <a:off x="2944787" y="1673888"/>
        <a:ext cx="33863" cy="33863"/>
      </dsp:txXfrm>
    </dsp:sp>
    <dsp:sp modelId="{9C716F3F-E064-437B-8E4D-40EA75F035FA}">
      <dsp:nvSpPr>
        <dsp:cNvPr id="0" name=""/>
        <dsp:cNvSpPr/>
      </dsp:nvSpPr>
      <dsp:spPr>
        <a:xfrm>
          <a:off x="1884813" y="1192425"/>
          <a:ext cx="749101" cy="7491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ES" sz="800" b="1" kern="1200">
              <a:latin typeface="Calibri" panose="020F0502020204030204" pitchFamily="34" charset="0"/>
              <a:cs typeface="Times New Roman" panose="02020603050405020304" pitchFamily="18" charset="0"/>
            </a:rPr>
            <a:t>Notas del oráculo</a:t>
          </a:r>
          <a:endParaRPr lang="es-ES" sz="800" kern="1200">
            <a:latin typeface="Calibri" panose="020F0502020204030204" pitchFamily="34" charset="0"/>
            <a:cs typeface="Times New Roman" panose="02020603050405020304" pitchFamily="18" charset="0"/>
          </a:endParaRPr>
        </a:p>
      </dsp:txBody>
      <dsp:txXfrm>
        <a:off x="1994516" y="1302128"/>
        <a:ext cx="529695" cy="529695"/>
      </dsp:txXfrm>
    </dsp:sp>
    <dsp:sp modelId="{345AB326-7E8E-4AF7-9099-D8811AB1D367}">
      <dsp:nvSpPr>
        <dsp:cNvPr id="0" name=""/>
        <dsp:cNvSpPr/>
      </dsp:nvSpPr>
      <dsp:spPr>
        <a:xfrm rot="13800000">
          <a:off x="2867005" y="1259129"/>
          <a:ext cx="677279" cy="18400"/>
        </a:xfrm>
        <a:custGeom>
          <a:avLst/>
          <a:gdLst/>
          <a:ahLst/>
          <a:cxnLst/>
          <a:rect l="0" t="0" r="0" b="0"/>
          <a:pathLst>
            <a:path>
              <a:moveTo>
                <a:pt x="0" y="9200"/>
              </a:moveTo>
              <a:lnTo>
                <a:pt x="677279" y="9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rot="10800000">
        <a:off x="3188712" y="1251397"/>
        <a:ext cx="33863" cy="33863"/>
      </dsp:txXfrm>
    </dsp:sp>
    <dsp:sp modelId="{4A020FF0-393A-4FF8-98CF-DD267222A269}">
      <dsp:nvSpPr>
        <dsp:cNvPr id="0" name=""/>
        <dsp:cNvSpPr/>
      </dsp:nvSpPr>
      <dsp:spPr>
        <a:xfrm>
          <a:off x="2372664" y="347443"/>
          <a:ext cx="749101" cy="7491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s-ES" sz="800" b="1" kern="1200">
              <a:latin typeface="Calibri" panose="020F0502020204030204" pitchFamily="34" charset="0"/>
              <a:cs typeface="Times New Roman" panose="02020603050405020304" pitchFamily="18" charset="0"/>
            </a:rPr>
            <a:t>Variaciones</a:t>
          </a:r>
          <a:endParaRPr lang="es-ES" sz="800" kern="1200">
            <a:latin typeface="Calibri" panose="020F0502020204030204" pitchFamily="34" charset="0"/>
            <a:cs typeface="Times New Roman" panose="02020603050405020304" pitchFamily="18" charset="0"/>
          </a:endParaRPr>
        </a:p>
      </dsp:txBody>
      <dsp:txXfrm>
        <a:off x="2482367" y="457146"/>
        <a:ext cx="529695" cy="5296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6FDFFE-15F5-4FCE-A082-5EF2F9BC36BA}">
      <dsp:nvSpPr>
        <dsp:cNvPr id="0" name=""/>
        <dsp:cNvSpPr/>
      </dsp:nvSpPr>
      <dsp:spPr>
        <a:xfrm>
          <a:off x="8751" y="330106"/>
          <a:ext cx="10893481" cy="395992"/>
        </a:xfrm>
        <a:prstGeom prst="roundRect">
          <a:avLst>
            <a:gd name="adj" fmla="val 10000"/>
          </a:avLst>
        </a:prstGeom>
        <a:solidFill>
          <a:srgbClr val="046A3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ES_tradnl" sz="1800" b="1" kern="1200"/>
            <a:t>Beneficios</a:t>
          </a:r>
          <a:endParaRPr lang="es-ES" sz="1400" b="1" kern="1200"/>
        </a:p>
      </dsp:txBody>
      <dsp:txXfrm>
        <a:off x="20349" y="341704"/>
        <a:ext cx="10870285" cy="372796"/>
      </dsp:txXfrm>
    </dsp:sp>
    <dsp:sp modelId="{F5706349-CAFE-4D34-8A52-3B36F615B3CE}">
      <dsp:nvSpPr>
        <dsp:cNvPr id="0" name=""/>
        <dsp:cNvSpPr/>
      </dsp:nvSpPr>
      <dsp:spPr>
        <a:xfrm>
          <a:off x="4375" y="818526"/>
          <a:ext cx="2041507" cy="1827797"/>
        </a:xfrm>
        <a:prstGeom prst="roundRect">
          <a:avLst>
            <a:gd name="adj" fmla="val 10000"/>
          </a:avLst>
        </a:prstGeom>
        <a:solidFill>
          <a:schemeClr val="bg1"/>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Wingdings" panose="05000000000000000000" pitchFamily="2" charset="2"/>
            <a:buNone/>
          </a:pPr>
          <a:r>
            <a:rPr lang="es-ES" sz="1400" kern="1200">
              <a:solidFill>
                <a:schemeClr val="tx1"/>
              </a:solidFill>
              <a:sym typeface="Wingdings" panose="05000000000000000000" pitchFamily="2" charset="2"/>
            </a:rPr>
            <a:t>Evitar malentendidos sobre los requisitos</a:t>
          </a:r>
          <a:endParaRPr lang="es-ES" sz="1400" kern="1200">
            <a:solidFill>
              <a:schemeClr val="tx1"/>
            </a:solidFill>
          </a:endParaRPr>
        </a:p>
      </dsp:txBody>
      <dsp:txXfrm>
        <a:off x="57909" y="872060"/>
        <a:ext cx="1934439" cy="1720729"/>
      </dsp:txXfrm>
    </dsp:sp>
    <dsp:sp modelId="{008FEE1F-5BA2-4442-9843-817330F3A078}">
      <dsp:nvSpPr>
        <dsp:cNvPr id="0" name=""/>
        <dsp:cNvSpPr/>
      </dsp:nvSpPr>
      <dsp:spPr>
        <a:xfrm>
          <a:off x="2217369" y="818526"/>
          <a:ext cx="2041507" cy="1827797"/>
        </a:xfrm>
        <a:prstGeom prst="roundRect">
          <a:avLst>
            <a:gd name="adj" fmla="val 10000"/>
          </a:avLst>
        </a:prstGeom>
        <a:solidFill>
          <a:schemeClr val="bg1"/>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Wingdings" panose="05000000000000000000" pitchFamily="2" charset="2"/>
            <a:buNone/>
          </a:pPr>
          <a:r>
            <a:rPr lang="es-ES" sz="1400" kern="1200">
              <a:solidFill>
                <a:schemeClr val="tx1"/>
              </a:solidFill>
              <a:sym typeface="Wingdings" panose="05000000000000000000" pitchFamily="2" charset="2"/>
            </a:rPr>
            <a:t>Aclarar las solicitudes de prestaciones de los clientes</a:t>
          </a:r>
          <a:endParaRPr lang="es-ES" sz="1400" kern="1200">
            <a:solidFill>
              <a:schemeClr val="tx1"/>
            </a:solidFill>
          </a:endParaRPr>
        </a:p>
      </dsp:txBody>
      <dsp:txXfrm>
        <a:off x="2270903" y="872060"/>
        <a:ext cx="1934439" cy="1720729"/>
      </dsp:txXfrm>
    </dsp:sp>
    <dsp:sp modelId="{61CB971E-83EB-4836-BD2A-50AFAAAB55C9}">
      <dsp:nvSpPr>
        <dsp:cNvPr id="0" name=""/>
        <dsp:cNvSpPr/>
      </dsp:nvSpPr>
      <dsp:spPr>
        <a:xfrm>
          <a:off x="4430362" y="818526"/>
          <a:ext cx="2041507" cy="1827797"/>
        </a:xfrm>
        <a:prstGeom prst="roundRect">
          <a:avLst>
            <a:gd name="adj" fmla="val 10000"/>
          </a:avLst>
        </a:prstGeom>
        <a:solidFill>
          <a:schemeClr val="bg1"/>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Wingdings" panose="05000000000000000000" pitchFamily="2" charset="2"/>
            <a:buNone/>
          </a:pPr>
          <a:r>
            <a:rPr lang="es-ES" sz="1400" kern="1200">
              <a:solidFill>
                <a:schemeClr val="tx1"/>
              </a:solidFill>
              <a:sym typeface="Wingdings" panose="05000000000000000000" pitchFamily="2" charset="2"/>
            </a:rPr>
            <a:t>Descubrir, aislar y resolver los problemas de calidad de forma temprana</a:t>
          </a:r>
          <a:endParaRPr lang="es-ES" sz="1400" kern="1200">
            <a:solidFill>
              <a:schemeClr val="tx1"/>
            </a:solidFill>
          </a:endParaRPr>
        </a:p>
      </dsp:txBody>
      <dsp:txXfrm>
        <a:off x="4483896" y="872060"/>
        <a:ext cx="1934439" cy="1720729"/>
      </dsp:txXfrm>
    </dsp:sp>
    <dsp:sp modelId="{070557CC-7386-48C4-B82C-394BC4633F94}">
      <dsp:nvSpPr>
        <dsp:cNvPr id="0" name=""/>
        <dsp:cNvSpPr/>
      </dsp:nvSpPr>
      <dsp:spPr>
        <a:xfrm>
          <a:off x="6643356" y="818526"/>
          <a:ext cx="2041507" cy="1827797"/>
        </a:xfrm>
        <a:prstGeom prst="roundRect">
          <a:avLst>
            <a:gd name="adj" fmla="val 10000"/>
          </a:avLst>
        </a:prstGeom>
        <a:solidFill>
          <a:schemeClr val="bg1"/>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Wingdings" panose="05000000000000000000" pitchFamily="2" charset="2"/>
            <a:buNone/>
          </a:pPr>
          <a:r>
            <a:rPr lang="es-ES" sz="1400" kern="1200">
              <a:solidFill>
                <a:schemeClr val="tx1"/>
              </a:solidFill>
              <a:sym typeface="Wingdings" panose="05000000000000000000" pitchFamily="2" charset="2"/>
            </a:rPr>
            <a:t>Aportar información al equipo ágil sobre su productividad y capacidad para realizar entregas</a:t>
          </a:r>
          <a:endParaRPr lang="es-ES" sz="1400" kern="1200">
            <a:solidFill>
              <a:schemeClr val="tx1"/>
            </a:solidFill>
          </a:endParaRPr>
        </a:p>
      </dsp:txBody>
      <dsp:txXfrm>
        <a:off x="6696890" y="872060"/>
        <a:ext cx="1934439" cy="1720729"/>
      </dsp:txXfrm>
    </dsp:sp>
    <dsp:sp modelId="{3F1C86D1-90A3-4CBD-A38D-ABF9B372AEB9}">
      <dsp:nvSpPr>
        <dsp:cNvPr id="0" name=""/>
        <dsp:cNvSpPr/>
      </dsp:nvSpPr>
      <dsp:spPr>
        <a:xfrm>
          <a:off x="8856350" y="818526"/>
          <a:ext cx="2041507" cy="1827797"/>
        </a:xfrm>
        <a:prstGeom prst="roundRect">
          <a:avLst>
            <a:gd name="adj" fmla="val 10000"/>
          </a:avLst>
        </a:prstGeom>
        <a:solidFill>
          <a:schemeClr val="bg1"/>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Wingdings" panose="05000000000000000000" pitchFamily="2" charset="2"/>
            <a:buNone/>
          </a:pPr>
          <a:r>
            <a:rPr lang="es-ES" sz="1400" kern="1200">
              <a:solidFill>
                <a:schemeClr val="tx1"/>
              </a:solidFill>
              <a:sym typeface="Wingdings" panose="05000000000000000000" pitchFamily="2" charset="2"/>
            </a:rPr>
            <a:t>Promover un impulso consistente al proyecto</a:t>
          </a:r>
        </a:p>
      </dsp:txBody>
      <dsp:txXfrm>
        <a:off x="8909884" y="872060"/>
        <a:ext cx="1934439" cy="1720729"/>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6D8F05-F2EF-4003-A2C4-D9D26162B083}">
      <dsp:nvSpPr>
        <dsp:cNvPr id="0" name=""/>
        <dsp:cNvSpPr/>
      </dsp:nvSpPr>
      <dsp:spPr>
        <a:xfrm>
          <a:off x="5194" y="937582"/>
          <a:ext cx="1785009" cy="56023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s-ES" sz="1200" kern="1200" noProof="0"/>
            <a:t>Competencias</a:t>
          </a:r>
        </a:p>
      </dsp:txBody>
      <dsp:txXfrm>
        <a:off x="21603" y="953991"/>
        <a:ext cx="1752191" cy="527420"/>
      </dsp:txXfrm>
    </dsp:sp>
    <dsp:sp modelId="{41E98369-3704-4EF8-8A73-D3D5A9927768}">
      <dsp:nvSpPr>
        <dsp:cNvPr id="0" name=""/>
        <dsp:cNvSpPr/>
      </dsp:nvSpPr>
      <dsp:spPr>
        <a:xfrm>
          <a:off x="183695" y="1497820"/>
          <a:ext cx="178500" cy="386811"/>
        </a:xfrm>
        <a:custGeom>
          <a:avLst/>
          <a:gdLst/>
          <a:ahLst/>
          <a:cxnLst/>
          <a:rect l="0" t="0" r="0" b="0"/>
          <a:pathLst>
            <a:path>
              <a:moveTo>
                <a:pt x="0" y="0"/>
              </a:moveTo>
              <a:lnTo>
                <a:pt x="0" y="386811"/>
              </a:lnTo>
              <a:lnTo>
                <a:pt x="178500" y="38681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372BCE7-DD61-47FF-A5EA-634D57D49FB1}">
      <dsp:nvSpPr>
        <dsp:cNvPr id="0" name=""/>
        <dsp:cNvSpPr/>
      </dsp:nvSpPr>
      <dsp:spPr>
        <a:xfrm>
          <a:off x="362196" y="1637880"/>
          <a:ext cx="11077681" cy="49350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Registrar las historias y sus correspondientes tareas de desarrollo y prueba</a:t>
          </a:r>
          <a:endParaRPr lang="en-US" sz="1200" kern="1200"/>
        </a:p>
      </dsp:txBody>
      <dsp:txXfrm>
        <a:off x="376650" y="1652334"/>
        <a:ext cx="11048773" cy="464594"/>
      </dsp:txXfrm>
    </dsp:sp>
    <dsp:sp modelId="{6F09AAE9-EB2D-4BF9-AF58-F10E25826E38}">
      <dsp:nvSpPr>
        <dsp:cNvPr id="0" name=""/>
        <dsp:cNvSpPr/>
      </dsp:nvSpPr>
      <dsp:spPr>
        <a:xfrm>
          <a:off x="183695" y="1497820"/>
          <a:ext cx="222441" cy="951307"/>
        </a:xfrm>
        <a:custGeom>
          <a:avLst/>
          <a:gdLst/>
          <a:ahLst/>
          <a:cxnLst/>
          <a:rect l="0" t="0" r="0" b="0"/>
          <a:pathLst>
            <a:path>
              <a:moveTo>
                <a:pt x="0" y="0"/>
              </a:moveTo>
              <a:lnTo>
                <a:pt x="0" y="951307"/>
              </a:lnTo>
              <a:lnTo>
                <a:pt x="222441" y="9513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573BF2-AB6E-4D4B-8827-B8FA1C52C3FA}">
      <dsp:nvSpPr>
        <dsp:cNvPr id="0" name=""/>
        <dsp:cNvSpPr/>
      </dsp:nvSpPr>
      <dsp:spPr>
        <a:xfrm>
          <a:off x="406136" y="2219833"/>
          <a:ext cx="11005621" cy="4585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Capturar las estimaciones de los miembros del equipo sobre sus tareas y calcular automáticamente el esfuerzo necesario para implementar una historia</a:t>
          </a:r>
          <a:endParaRPr lang="en-US" sz="1200" kern="1200"/>
        </a:p>
      </dsp:txBody>
      <dsp:txXfrm>
        <a:off x="419568" y="2233265"/>
        <a:ext cx="10978757" cy="431724"/>
      </dsp:txXfrm>
    </dsp:sp>
    <dsp:sp modelId="{E2A3D87A-9C5B-4E46-9924-38E8CBC2FBA4}">
      <dsp:nvSpPr>
        <dsp:cNvPr id="0" name=""/>
        <dsp:cNvSpPr/>
      </dsp:nvSpPr>
      <dsp:spPr>
        <a:xfrm>
          <a:off x="183695" y="1497820"/>
          <a:ext cx="176806" cy="1423333"/>
        </a:xfrm>
        <a:custGeom>
          <a:avLst/>
          <a:gdLst/>
          <a:ahLst/>
          <a:cxnLst/>
          <a:rect l="0" t="0" r="0" b="0"/>
          <a:pathLst>
            <a:path>
              <a:moveTo>
                <a:pt x="0" y="0"/>
              </a:moveTo>
              <a:lnTo>
                <a:pt x="0" y="1423333"/>
              </a:lnTo>
              <a:lnTo>
                <a:pt x="176806" y="142333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35995E8-1CBD-40D2-A010-65128E12BB67}">
      <dsp:nvSpPr>
        <dsp:cNvPr id="0" name=""/>
        <dsp:cNvSpPr/>
      </dsp:nvSpPr>
      <dsp:spPr>
        <a:xfrm>
          <a:off x="360502" y="2794778"/>
          <a:ext cx="11005621" cy="25275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Asociar las tareas de desarrollo y las tareas de prueba con la misma historia</a:t>
          </a:r>
          <a:endParaRPr lang="en-US" sz="1200" kern="1200"/>
        </a:p>
      </dsp:txBody>
      <dsp:txXfrm>
        <a:off x="367905" y="2802181"/>
        <a:ext cx="10990815" cy="237945"/>
      </dsp:txXfrm>
    </dsp:sp>
    <dsp:sp modelId="{EFE3F865-9820-49E9-978D-EB35FE6809F8}">
      <dsp:nvSpPr>
        <dsp:cNvPr id="0" name=""/>
        <dsp:cNvSpPr/>
      </dsp:nvSpPr>
      <dsp:spPr>
        <a:xfrm>
          <a:off x="183695" y="1497820"/>
          <a:ext cx="194384" cy="1866123"/>
        </a:xfrm>
        <a:custGeom>
          <a:avLst/>
          <a:gdLst/>
          <a:ahLst/>
          <a:cxnLst/>
          <a:rect l="0" t="0" r="0" b="0"/>
          <a:pathLst>
            <a:path>
              <a:moveTo>
                <a:pt x="0" y="0"/>
              </a:moveTo>
              <a:lnTo>
                <a:pt x="0" y="1866123"/>
              </a:lnTo>
              <a:lnTo>
                <a:pt x="194384" y="186612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F516282-88F3-4E43-9E00-4F5CDC872AA7}">
      <dsp:nvSpPr>
        <dsp:cNvPr id="0" name=""/>
        <dsp:cNvSpPr/>
      </dsp:nvSpPr>
      <dsp:spPr>
        <a:xfrm>
          <a:off x="378080" y="3237568"/>
          <a:ext cx="11005621" cy="25275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Agregar las actualizaciones de los desarrolladores y probadores al estado de la tarea a medida que completan su trabajo</a:t>
          </a:r>
          <a:endParaRPr lang="en-US" sz="1200" kern="1200"/>
        </a:p>
      </dsp:txBody>
      <dsp:txXfrm>
        <a:off x="385483" y="3244971"/>
        <a:ext cx="10990815" cy="237945"/>
      </dsp:txXfrm>
    </dsp:sp>
    <dsp:sp modelId="{20144766-9D3F-4EA7-82B8-8501BB029C90}">
      <dsp:nvSpPr>
        <dsp:cNvPr id="0" name=""/>
        <dsp:cNvSpPr/>
      </dsp:nvSpPr>
      <dsp:spPr>
        <a:xfrm>
          <a:off x="183695" y="1497820"/>
          <a:ext cx="184273" cy="2397439"/>
        </a:xfrm>
        <a:custGeom>
          <a:avLst/>
          <a:gdLst/>
          <a:ahLst/>
          <a:cxnLst/>
          <a:rect l="0" t="0" r="0" b="0"/>
          <a:pathLst>
            <a:path>
              <a:moveTo>
                <a:pt x="0" y="0"/>
              </a:moveTo>
              <a:lnTo>
                <a:pt x="0" y="2397439"/>
              </a:lnTo>
              <a:lnTo>
                <a:pt x="184273" y="23974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2199F0-3BB8-4861-A089-B3A18654DFDF}">
      <dsp:nvSpPr>
        <dsp:cNvPr id="0" name=""/>
        <dsp:cNvSpPr/>
      </dsp:nvSpPr>
      <dsp:spPr>
        <a:xfrm>
          <a:off x="367969" y="3677770"/>
          <a:ext cx="11005621" cy="43498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Proporcionar una representación visual del estado actual de cada historia de usuario, la iteración y la entrega, lo que permite a todos los implicados</a:t>
          </a:r>
          <a:endParaRPr lang="en-US" sz="1200" kern="1200"/>
        </a:p>
      </dsp:txBody>
      <dsp:txXfrm>
        <a:off x="380709" y="3690510"/>
        <a:ext cx="10980141" cy="409500"/>
      </dsp:txXfrm>
    </dsp:sp>
    <dsp:sp modelId="{9FB34EBC-1C73-4DA3-B971-E82A7D9DA01A}">
      <dsp:nvSpPr>
        <dsp:cNvPr id="0" name=""/>
        <dsp:cNvSpPr/>
      </dsp:nvSpPr>
      <dsp:spPr>
        <a:xfrm>
          <a:off x="183695" y="1497820"/>
          <a:ext cx="192251" cy="2905416"/>
        </a:xfrm>
        <a:custGeom>
          <a:avLst/>
          <a:gdLst/>
          <a:ahLst/>
          <a:cxnLst/>
          <a:rect l="0" t="0" r="0" b="0"/>
          <a:pathLst>
            <a:path>
              <a:moveTo>
                <a:pt x="0" y="0"/>
              </a:moveTo>
              <a:lnTo>
                <a:pt x="0" y="2905416"/>
              </a:lnTo>
              <a:lnTo>
                <a:pt x="192251" y="29054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4E69D34-EC51-4CEB-8776-BB439E51E45F}">
      <dsp:nvSpPr>
        <dsp:cNvPr id="0" name=""/>
        <dsp:cNvSpPr/>
      </dsp:nvSpPr>
      <dsp:spPr>
        <a:xfrm>
          <a:off x="375946" y="4276861"/>
          <a:ext cx="11005621" cy="25275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Integración con herramientas de gestión de la configuración, que pueden permitir el registro de entrada de código </a:t>
          </a:r>
          <a:endParaRPr lang="en-US" sz="1200" kern="1200"/>
        </a:p>
      </dsp:txBody>
      <dsp:txXfrm>
        <a:off x="383349" y="4284264"/>
        <a:ext cx="10990815" cy="23794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E25777-35A6-4CAE-80F2-7C2B45868F13}">
      <dsp:nvSpPr>
        <dsp:cNvPr id="0" name=""/>
        <dsp:cNvSpPr/>
      </dsp:nvSpPr>
      <dsp:spPr>
        <a:xfrm>
          <a:off x="2551" y="108638"/>
          <a:ext cx="3216737" cy="66103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s-ES_tradnl" sz="1100" kern="1200"/>
            <a:t>Wikis</a:t>
          </a:r>
          <a:endParaRPr lang="es-ES" sz="1100" kern="1200"/>
        </a:p>
      </dsp:txBody>
      <dsp:txXfrm>
        <a:off x="21912" y="127999"/>
        <a:ext cx="3178015" cy="622317"/>
      </dsp:txXfrm>
    </dsp:sp>
    <dsp:sp modelId="{476EB543-6D61-4024-A91D-655A29384126}">
      <dsp:nvSpPr>
        <dsp:cNvPr id="0" name=""/>
        <dsp:cNvSpPr/>
      </dsp:nvSpPr>
      <dsp:spPr>
        <a:xfrm>
          <a:off x="324225" y="769678"/>
          <a:ext cx="321673" cy="495779"/>
        </a:xfrm>
        <a:custGeom>
          <a:avLst/>
          <a:gdLst/>
          <a:ahLst/>
          <a:cxnLst/>
          <a:rect l="0" t="0" r="0" b="0"/>
          <a:pathLst>
            <a:path>
              <a:moveTo>
                <a:pt x="0" y="0"/>
              </a:moveTo>
              <a:lnTo>
                <a:pt x="0" y="495779"/>
              </a:lnTo>
              <a:lnTo>
                <a:pt x="321673" y="49577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3B7DE9-EE93-4D02-8F9B-63AB59B675DF}">
      <dsp:nvSpPr>
        <dsp:cNvPr id="0" name=""/>
        <dsp:cNvSpPr/>
      </dsp:nvSpPr>
      <dsp:spPr>
        <a:xfrm>
          <a:off x="645898" y="934938"/>
          <a:ext cx="2689278" cy="66103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0160" rIns="15240" bIns="10160" numCol="1" spcCol="1270" anchor="ctr" anchorCtr="0">
          <a:noAutofit/>
        </a:bodyPr>
        <a:lstStyle/>
        <a:p>
          <a:pPr marL="0" lvl="0" indent="0" algn="ctr" defTabSz="355600">
            <a:lnSpc>
              <a:spcPct val="90000"/>
            </a:lnSpc>
            <a:spcBef>
              <a:spcPct val="0"/>
            </a:spcBef>
            <a:spcAft>
              <a:spcPct val="35000"/>
            </a:spcAft>
            <a:buFont typeface="Wingdings" panose="05000000000000000000" pitchFamily="2" charset="2"/>
            <a:buNone/>
          </a:pPr>
          <a:r>
            <a:rPr lang="es-ES" sz="800" kern="1200">
              <a:latin typeface="Calibri" panose="020F0502020204030204" pitchFamily="34" charset="0"/>
              <a:cs typeface="Times New Roman" panose="02020603050405020304" pitchFamily="18" charset="0"/>
            </a:rPr>
            <a:t>Diagramas de las prestaciones del producto, discusiones sobre las prestaciones, diagramas de los prototipos, fotos de las discusiones en la pizarra, y otra información.</a:t>
          </a:r>
          <a:endParaRPr lang="es-ES" sz="800" kern="1200"/>
        </a:p>
      </dsp:txBody>
      <dsp:txXfrm>
        <a:off x="665259" y="954299"/>
        <a:ext cx="2650556" cy="622317"/>
      </dsp:txXfrm>
    </dsp:sp>
    <dsp:sp modelId="{4E8FE0F3-50D2-495B-A843-709F87505A37}">
      <dsp:nvSpPr>
        <dsp:cNvPr id="0" name=""/>
        <dsp:cNvSpPr/>
      </dsp:nvSpPr>
      <dsp:spPr>
        <a:xfrm>
          <a:off x="324225" y="769678"/>
          <a:ext cx="321673" cy="1322079"/>
        </a:xfrm>
        <a:custGeom>
          <a:avLst/>
          <a:gdLst/>
          <a:ahLst/>
          <a:cxnLst/>
          <a:rect l="0" t="0" r="0" b="0"/>
          <a:pathLst>
            <a:path>
              <a:moveTo>
                <a:pt x="0" y="0"/>
              </a:moveTo>
              <a:lnTo>
                <a:pt x="0" y="1322079"/>
              </a:lnTo>
              <a:lnTo>
                <a:pt x="321673" y="132207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C8B6F4-D615-40FF-A9D4-8D40B1C2E544}">
      <dsp:nvSpPr>
        <dsp:cNvPr id="0" name=""/>
        <dsp:cNvSpPr/>
      </dsp:nvSpPr>
      <dsp:spPr>
        <a:xfrm>
          <a:off x="645898" y="1761237"/>
          <a:ext cx="2712863" cy="66103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0160" rIns="15240" bIns="10160" numCol="1" spcCol="1270" anchor="ctr" anchorCtr="0">
          <a:noAutofit/>
        </a:bodyPr>
        <a:lstStyle/>
        <a:p>
          <a:pPr marL="0" lvl="0" indent="0" algn="ctr" defTabSz="355600">
            <a:lnSpc>
              <a:spcPct val="90000"/>
            </a:lnSpc>
            <a:spcBef>
              <a:spcPct val="0"/>
            </a:spcBef>
            <a:spcAft>
              <a:spcPct val="35000"/>
            </a:spcAft>
            <a:buNone/>
          </a:pPr>
          <a:r>
            <a:rPr lang="es-ES" sz="800" kern="1200">
              <a:latin typeface="Calibri" panose="020F0502020204030204" pitchFamily="34" charset="0"/>
              <a:cs typeface="Times New Roman" panose="02020603050405020304" pitchFamily="18" charset="0"/>
            </a:rPr>
            <a:t>Herramientas y/o técnicas de desarrollo y prueba que otros miembros del equipo consideran útiles.</a:t>
          </a:r>
        </a:p>
      </dsp:txBody>
      <dsp:txXfrm>
        <a:off x="665259" y="1780598"/>
        <a:ext cx="2674141" cy="622317"/>
      </dsp:txXfrm>
    </dsp:sp>
    <dsp:sp modelId="{AAE6B2D3-CF27-4715-98F3-BD5E01FABA4A}">
      <dsp:nvSpPr>
        <dsp:cNvPr id="0" name=""/>
        <dsp:cNvSpPr/>
      </dsp:nvSpPr>
      <dsp:spPr>
        <a:xfrm>
          <a:off x="324225" y="769678"/>
          <a:ext cx="321673" cy="2148378"/>
        </a:xfrm>
        <a:custGeom>
          <a:avLst/>
          <a:gdLst/>
          <a:ahLst/>
          <a:cxnLst/>
          <a:rect l="0" t="0" r="0" b="0"/>
          <a:pathLst>
            <a:path>
              <a:moveTo>
                <a:pt x="0" y="0"/>
              </a:moveTo>
              <a:lnTo>
                <a:pt x="0" y="2148378"/>
              </a:lnTo>
              <a:lnTo>
                <a:pt x="321673" y="214837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656AD79-373B-460A-8417-258D51B6CE3E}">
      <dsp:nvSpPr>
        <dsp:cNvPr id="0" name=""/>
        <dsp:cNvSpPr/>
      </dsp:nvSpPr>
      <dsp:spPr>
        <a:xfrm>
          <a:off x="645898" y="2587537"/>
          <a:ext cx="2697485" cy="66103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0160" rIns="15240" bIns="10160" numCol="1" spcCol="1270" anchor="ctr" anchorCtr="0">
          <a:noAutofit/>
        </a:bodyPr>
        <a:lstStyle/>
        <a:p>
          <a:pPr marL="0" lvl="0" indent="0" algn="ctr" defTabSz="355600">
            <a:lnSpc>
              <a:spcPct val="90000"/>
            </a:lnSpc>
            <a:spcBef>
              <a:spcPct val="0"/>
            </a:spcBef>
            <a:spcAft>
              <a:spcPct val="35000"/>
            </a:spcAft>
            <a:buNone/>
          </a:pPr>
          <a:r>
            <a:rPr lang="es-ES" sz="800" kern="1200">
              <a:latin typeface="Calibri" panose="020F0502020204030204" pitchFamily="34" charset="0"/>
              <a:cs typeface="Times New Roman" panose="02020603050405020304" pitchFamily="18" charset="0"/>
            </a:rPr>
            <a:t>Métricas, gráficos y paneles de control sobre el estado del producto, lo que resulta especialmente útil cuando el wiki está integrado con otras herramientas, como el servidor de construcción y el sistema de gestión de tareas, ya que la herramienta puede actualizar el estado del producto automáticamente.</a:t>
          </a:r>
        </a:p>
      </dsp:txBody>
      <dsp:txXfrm>
        <a:off x="665259" y="2606898"/>
        <a:ext cx="2658763" cy="622317"/>
      </dsp:txXfrm>
    </dsp:sp>
    <dsp:sp modelId="{D5B79DDF-6C94-480F-9242-62D2960909A0}">
      <dsp:nvSpPr>
        <dsp:cNvPr id="0" name=""/>
        <dsp:cNvSpPr/>
      </dsp:nvSpPr>
      <dsp:spPr>
        <a:xfrm>
          <a:off x="324225" y="769678"/>
          <a:ext cx="321673" cy="2974677"/>
        </a:xfrm>
        <a:custGeom>
          <a:avLst/>
          <a:gdLst/>
          <a:ahLst/>
          <a:cxnLst/>
          <a:rect l="0" t="0" r="0" b="0"/>
          <a:pathLst>
            <a:path>
              <a:moveTo>
                <a:pt x="0" y="0"/>
              </a:moveTo>
              <a:lnTo>
                <a:pt x="0" y="2974677"/>
              </a:lnTo>
              <a:lnTo>
                <a:pt x="321673" y="297467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B623E54-EF39-4ABA-910E-A1255F1D2029}">
      <dsp:nvSpPr>
        <dsp:cNvPr id="0" name=""/>
        <dsp:cNvSpPr/>
      </dsp:nvSpPr>
      <dsp:spPr>
        <a:xfrm>
          <a:off x="645898" y="3413836"/>
          <a:ext cx="2742605" cy="66103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0160" rIns="15240" bIns="10160" numCol="1" spcCol="1270" anchor="ctr" anchorCtr="0">
          <a:noAutofit/>
        </a:bodyPr>
        <a:lstStyle/>
        <a:p>
          <a:pPr marL="0" lvl="0" indent="0" algn="ctr" defTabSz="355600">
            <a:lnSpc>
              <a:spcPct val="90000"/>
            </a:lnSpc>
            <a:spcBef>
              <a:spcPct val="0"/>
            </a:spcBef>
            <a:spcAft>
              <a:spcPct val="35000"/>
            </a:spcAft>
            <a:buNone/>
          </a:pPr>
          <a:r>
            <a:rPr lang="es-ES" sz="800" kern="1200">
              <a:latin typeface="Calibri" panose="020F0502020204030204" pitchFamily="34" charset="0"/>
              <a:cs typeface="Times New Roman" panose="02020603050405020304" pitchFamily="18" charset="0"/>
            </a:rPr>
            <a:t>Conversaciones entre los miembros del equipo, similares a la mensajería instantánea y al correo electrónico, pero de forma compartida con todos los miembros del equipo</a:t>
          </a:r>
        </a:p>
      </dsp:txBody>
      <dsp:txXfrm>
        <a:off x="665259" y="3433197"/>
        <a:ext cx="2703883" cy="622317"/>
      </dsp:txXfrm>
    </dsp:sp>
    <dsp:sp modelId="{6EA03F9C-8E36-4EA5-B436-5EAA5BAF4B27}">
      <dsp:nvSpPr>
        <dsp:cNvPr id="0" name=""/>
        <dsp:cNvSpPr/>
      </dsp:nvSpPr>
      <dsp:spPr>
        <a:xfrm>
          <a:off x="3549808" y="108638"/>
          <a:ext cx="2604284" cy="66103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s-ES_tradnl" sz="1100" kern="1200">
              <a:latin typeface="+mn-lt"/>
              <a:cs typeface="Times New Roman" panose="02020603050405020304" pitchFamily="18" charset="0"/>
            </a:rPr>
            <a:t>Mensajería instantánea</a:t>
          </a:r>
          <a:endParaRPr lang="es-ES" sz="1100" kern="1200">
            <a:latin typeface="+mn-lt"/>
            <a:cs typeface="Times New Roman" panose="02020603050405020304" pitchFamily="18" charset="0"/>
          </a:endParaRPr>
        </a:p>
      </dsp:txBody>
      <dsp:txXfrm>
        <a:off x="3569169" y="127999"/>
        <a:ext cx="2565562" cy="622317"/>
      </dsp:txXfrm>
    </dsp:sp>
    <dsp:sp modelId="{4461968D-E51A-4504-8D7A-37AAC2E942FD}">
      <dsp:nvSpPr>
        <dsp:cNvPr id="0" name=""/>
        <dsp:cNvSpPr/>
      </dsp:nvSpPr>
      <dsp:spPr>
        <a:xfrm>
          <a:off x="3810237" y="769678"/>
          <a:ext cx="260428" cy="495779"/>
        </a:xfrm>
        <a:custGeom>
          <a:avLst/>
          <a:gdLst/>
          <a:ahLst/>
          <a:cxnLst/>
          <a:rect l="0" t="0" r="0" b="0"/>
          <a:pathLst>
            <a:path>
              <a:moveTo>
                <a:pt x="0" y="0"/>
              </a:moveTo>
              <a:lnTo>
                <a:pt x="0" y="495779"/>
              </a:lnTo>
              <a:lnTo>
                <a:pt x="260428" y="49577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C77357F-2F3F-43A3-B106-1F6F1C7A19E2}">
      <dsp:nvSpPr>
        <dsp:cNvPr id="0" name=""/>
        <dsp:cNvSpPr/>
      </dsp:nvSpPr>
      <dsp:spPr>
        <a:xfrm>
          <a:off x="4070665" y="934938"/>
          <a:ext cx="2585880" cy="66103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0160" rIns="15240" bIns="10160" numCol="1" spcCol="1270" anchor="ctr" anchorCtr="0">
          <a:noAutofit/>
        </a:bodyPr>
        <a:lstStyle/>
        <a:p>
          <a:pPr marL="0" lvl="0" indent="0" algn="ctr" defTabSz="355600">
            <a:lnSpc>
              <a:spcPct val="90000"/>
            </a:lnSpc>
            <a:spcBef>
              <a:spcPct val="0"/>
            </a:spcBef>
            <a:spcAft>
              <a:spcPct val="35000"/>
            </a:spcAft>
            <a:buFont typeface="Symbol" panose="05050102010706020507" pitchFamily="18" charset="2"/>
            <a:buNone/>
          </a:pPr>
          <a:r>
            <a:rPr lang="es-ES" sz="800" kern="1200">
              <a:latin typeface="Calibri" panose="020F0502020204030204" pitchFamily="34" charset="0"/>
              <a:cs typeface="Calibri" panose="020F0502020204030204" pitchFamily="34" charset="0"/>
            </a:rPr>
            <a:t>Las herramientas de mensajería instantánea, teleconferencia de audio y videochat ofrecen las siguientes ventajas.</a:t>
          </a:r>
        </a:p>
      </dsp:txBody>
      <dsp:txXfrm>
        <a:off x="4090026" y="954299"/>
        <a:ext cx="2547158" cy="622317"/>
      </dsp:txXfrm>
    </dsp:sp>
    <dsp:sp modelId="{205C8703-C82D-4577-900D-C54F991C33A6}">
      <dsp:nvSpPr>
        <dsp:cNvPr id="0" name=""/>
        <dsp:cNvSpPr/>
      </dsp:nvSpPr>
      <dsp:spPr>
        <a:xfrm>
          <a:off x="3810237" y="769678"/>
          <a:ext cx="260428" cy="1322079"/>
        </a:xfrm>
        <a:custGeom>
          <a:avLst/>
          <a:gdLst/>
          <a:ahLst/>
          <a:cxnLst/>
          <a:rect l="0" t="0" r="0" b="0"/>
          <a:pathLst>
            <a:path>
              <a:moveTo>
                <a:pt x="0" y="0"/>
              </a:moveTo>
              <a:lnTo>
                <a:pt x="0" y="1322079"/>
              </a:lnTo>
              <a:lnTo>
                <a:pt x="260428" y="132207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54B5E5-294B-4083-8B5F-D81FE4C74C33}">
      <dsp:nvSpPr>
        <dsp:cNvPr id="0" name=""/>
        <dsp:cNvSpPr/>
      </dsp:nvSpPr>
      <dsp:spPr>
        <a:xfrm>
          <a:off x="4070665" y="1761237"/>
          <a:ext cx="2628906" cy="66103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0160" rIns="15240" bIns="10160" numCol="1" spcCol="1270" anchor="ctr" anchorCtr="0">
          <a:noAutofit/>
        </a:bodyPr>
        <a:lstStyle/>
        <a:p>
          <a:pPr marL="0" lvl="0" indent="0" algn="ctr" defTabSz="355600">
            <a:lnSpc>
              <a:spcPct val="90000"/>
            </a:lnSpc>
            <a:spcBef>
              <a:spcPct val="0"/>
            </a:spcBef>
            <a:spcAft>
              <a:spcPct val="35000"/>
            </a:spcAft>
            <a:buFont typeface="Symbol" panose="05050102010706020507" pitchFamily="18" charset="2"/>
            <a:buNone/>
          </a:pPr>
          <a:r>
            <a:rPr lang="es-ES" sz="800" kern="1200">
              <a:latin typeface="Calibri" panose="020F0502020204030204" pitchFamily="34" charset="0"/>
              <a:cs typeface="Calibri" panose="020F0502020204030204" pitchFamily="34" charset="0"/>
            </a:rPr>
            <a:t>Involucrar a los equipos distribuidos en las reuniones de pie.</a:t>
          </a:r>
        </a:p>
      </dsp:txBody>
      <dsp:txXfrm>
        <a:off x="4090026" y="1780598"/>
        <a:ext cx="2590184" cy="622317"/>
      </dsp:txXfrm>
    </dsp:sp>
    <dsp:sp modelId="{22BF0A7E-9C13-48BA-9242-FCD955C1BFF8}">
      <dsp:nvSpPr>
        <dsp:cNvPr id="0" name=""/>
        <dsp:cNvSpPr/>
      </dsp:nvSpPr>
      <dsp:spPr>
        <a:xfrm>
          <a:off x="3810237" y="769678"/>
          <a:ext cx="260428" cy="2148378"/>
        </a:xfrm>
        <a:custGeom>
          <a:avLst/>
          <a:gdLst/>
          <a:ahLst/>
          <a:cxnLst/>
          <a:rect l="0" t="0" r="0" b="0"/>
          <a:pathLst>
            <a:path>
              <a:moveTo>
                <a:pt x="0" y="0"/>
              </a:moveTo>
              <a:lnTo>
                <a:pt x="0" y="2148378"/>
              </a:lnTo>
              <a:lnTo>
                <a:pt x="260428" y="214837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1496C45-EEFD-4B73-9F15-E5FB9909DE9D}">
      <dsp:nvSpPr>
        <dsp:cNvPr id="0" name=""/>
        <dsp:cNvSpPr/>
      </dsp:nvSpPr>
      <dsp:spPr>
        <a:xfrm>
          <a:off x="4070665" y="2587537"/>
          <a:ext cx="2708791" cy="66103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0160" rIns="15240" bIns="10160" numCol="1" spcCol="1270" anchor="ctr" anchorCtr="0">
          <a:noAutofit/>
        </a:bodyPr>
        <a:lstStyle/>
        <a:p>
          <a:pPr marL="0" lvl="0" indent="0" algn="ctr" defTabSz="355600">
            <a:lnSpc>
              <a:spcPct val="90000"/>
            </a:lnSpc>
            <a:spcBef>
              <a:spcPct val="0"/>
            </a:spcBef>
            <a:spcAft>
              <a:spcPct val="35000"/>
            </a:spcAft>
            <a:buFont typeface="Symbol" panose="05050102010706020507" pitchFamily="18" charset="2"/>
            <a:buNone/>
          </a:pPr>
          <a:r>
            <a:rPr lang="es-ES" sz="800" kern="1200">
              <a:latin typeface="Calibri" panose="020F0502020204030204" pitchFamily="34" charset="0"/>
              <a:cs typeface="Calibri" panose="020F0502020204030204" pitchFamily="34" charset="0"/>
            </a:rPr>
            <a:t>Reducir las facturas telefónicas mediante el uso de la tecnología de voz sobre IP, eliminando las limitaciones de costes que podrían reducir la comunicación de los miembros del equipo en entornos distribuidos.</a:t>
          </a:r>
        </a:p>
      </dsp:txBody>
      <dsp:txXfrm>
        <a:off x="4090026" y="2606898"/>
        <a:ext cx="2670069" cy="622317"/>
      </dsp:txXfrm>
    </dsp:sp>
    <dsp:sp modelId="{4A9AB7C6-72BD-4832-8CD5-2C274FB0452A}">
      <dsp:nvSpPr>
        <dsp:cNvPr id="0" name=""/>
        <dsp:cNvSpPr/>
      </dsp:nvSpPr>
      <dsp:spPr>
        <a:xfrm>
          <a:off x="6484612" y="108638"/>
          <a:ext cx="2750611" cy="66103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Font typeface="Symbol" panose="05050102010706020507" pitchFamily="18" charset="2"/>
            <a:buNone/>
          </a:pPr>
          <a:r>
            <a:rPr lang="es-ES_tradnl" sz="1100" kern="1200"/>
            <a:t>Escritorio compartido</a:t>
          </a:r>
          <a:endParaRPr lang="es-ES" sz="1100" kern="1200"/>
        </a:p>
      </dsp:txBody>
      <dsp:txXfrm>
        <a:off x="6503973" y="127999"/>
        <a:ext cx="2711889" cy="622317"/>
      </dsp:txXfrm>
    </dsp:sp>
    <dsp:sp modelId="{3CF694D7-A0B9-40FD-A886-73D870D88459}">
      <dsp:nvSpPr>
        <dsp:cNvPr id="0" name=""/>
        <dsp:cNvSpPr/>
      </dsp:nvSpPr>
      <dsp:spPr>
        <a:xfrm>
          <a:off x="6759673" y="769678"/>
          <a:ext cx="275061" cy="495779"/>
        </a:xfrm>
        <a:custGeom>
          <a:avLst/>
          <a:gdLst/>
          <a:ahLst/>
          <a:cxnLst/>
          <a:rect l="0" t="0" r="0" b="0"/>
          <a:pathLst>
            <a:path>
              <a:moveTo>
                <a:pt x="0" y="0"/>
              </a:moveTo>
              <a:lnTo>
                <a:pt x="0" y="495779"/>
              </a:lnTo>
              <a:lnTo>
                <a:pt x="275061" y="49577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9A3084E-3A45-402B-B12F-2B58198CBE3E}">
      <dsp:nvSpPr>
        <dsp:cNvPr id="0" name=""/>
        <dsp:cNvSpPr/>
      </dsp:nvSpPr>
      <dsp:spPr>
        <a:xfrm>
          <a:off x="7034734" y="934938"/>
          <a:ext cx="3180139" cy="66103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0160" rIns="15240" bIns="10160" numCol="1" spcCol="1270" anchor="ctr" anchorCtr="0">
          <a:noAutofit/>
        </a:bodyPr>
        <a:lstStyle/>
        <a:p>
          <a:pPr marL="0" lvl="0" indent="0" algn="ctr" defTabSz="355600">
            <a:lnSpc>
              <a:spcPct val="90000"/>
            </a:lnSpc>
            <a:spcBef>
              <a:spcPct val="0"/>
            </a:spcBef>
            <a:spcAft>
              <a:spcPct val="35000"/>
            </a:spcAft>
            <a:buFont typeface="Symbol" panose="05050102010706020507" pitchFamily="18" charset="2"/>
            <a:buNone/>
          </a:pPr>
          <a:r>
            <a:rPr lang="es-ES" sz="800" kern="1200">
              <a:latin typeface="Calibri" panose="020F0502020204030204" pitchFamily="34" charset="0"/>
              <a:cs typeface="Calibri" panose="020F0502020204030204" pitchFamily="34" charset="0"/>
            </a:rPr>
            <a:t>En equipos distribuidos, se pueden realizar demostraciones de productos, revisiones de código e incluso trabajo en pareja. </a:t>
          </a:r>
        </a:p>
      </dsp:txBody>
      <dsp:txXfrm>
        <a:off x="7054095" y="954299"/>
        <a:ext cx="3141417" cy="622317"/>
      </dsp:txXfrm>
    </dsp:sp>
    <dsp:sp modelId="{2C09BD28-201A-4E6C-A4EC-562368065509}">
      <dsp:nvSpPr>
        <dsp:cNvPr id="0" name=""/>
        <dsp:cNvSpPr/>
      </dsp:nvSpPr>
      <dsp:spPr>
        <a:xfrm>
          <a:off x="6759673" y="769678"/>
          <a:ext cx="275061" cy="1322079"/>
        </a:xfrm>
        <a:custGeom>
          <a:avLst/>
          <a:gdLst/>
          <a:ahLst/>
          <a:cxnLst/>
          <a:rect l="0" t="0" r="0" b="0"/>
          <a:pathLst>
            <a:path>
              <a:moveTo>
                <a:pt x="0" y="0"/>
              </a:moveTo>
              <a:lnTo>
                <a:pt x="0" y="1322079"/>
              </a:lnTo>
              <a:lnTo>
                <a:pt x="275061" y="132207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F3CE09-E558-4900-85F1-C2132711AD2E}">
      <dsp:nvSpPr>
        <dsp:cNvPr id="0" name=""/>
        <dsp:cNvSpPr/>
      </dsp:nvSpPr>
      <dsp:spPr>
        <a:xfrm>
          <a:off x="7034734" y="1761237"/>
          <a:ext cx="3166802" cy="66103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0160" rIns="15240" bIns="10160" numCol="1" spcCol="1270" anchor="ctr" anchorCtr="0">
          <a:noAutofit/>
        </a:bodyPr>
        <a:lstStyle/>
        <a:p>
          <a:pPr marL="0" lvl="0" indent="0" algn="ctr" defTabSz="355600">
            <a:lnSpc>
              <a:spcPct val="90000"/>
            </a:lnSpc>
            <a:spcBef>
              <a:spcPct val="0"/>
            </a:spcBef>
            <a:spcAft>
              <a:spcPct val="35000"/>
            </a:spcAft>
            <a:buFont typeface="Symbol" panose="05050102010706020507" pitchFamily="18" charset="2"/>
            <a:buNone/>
          </a:pPr>
          <a:r>
            <a:rPr lang="es-ES" sz="800" kern="1200">
              <a:latin typeface="Calibri" panose="020F0502020204030204" pitchFamily="34" charset="0"/>
              <a:cs typeface="Calibri" panose="020F0502020204030204" pitchFamily="34" charset="0"/>
            </a:rPr>
            <a:t>Captura de demostraciones de productos al final de cada iteración, que pueden publicarse en la wiki del equipo. Estas herramientas deben utilizarse para complementar y ampliar, no para sustituir, la comunicación cara a cara en los equipos ágiles.</a:t>
          </a:r>
        </a:p>
      </dsp:txBody>
      <dsp:txXfrm>
        <a:off x="7054095" y="1780598"/>
        <a:ext cx="3128080" cy="622317"/>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48FB4A-798A-4480-A6CD-A2C9ED591A1F}">
      <dsp:nvSpPr>
        <dsp:cNvPr id="0" name=""/>
        <dsp:cNvSpPr/>
      </dsp:nvSpPr>
      <dsp:spPr>
        <a:xfrm>
          <a:off x="0" y="851335"/>
          <a:ext cx="2259584" cy="225969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Font typeface="Wingdings" panose="05000000000000000000" pitchFamily="2" charset="2"/>
            <a:buNone/>
          </a:pPr>
          <a:r>
            <a:rPr lang="es-ES" sz="1100" b="1" kern="1200">
              <a:latin typeface="Calibri" panose="020F0502020204030204" pitchFamily="34" charset="0"/>
              <a:cs typeface="Times New Roman" panose="02020603050405020304" pitchFamily="18" charset="0"/>
            </a:rPr>
            <a:t>Herramientas de diseño de pruebas: </a:t>
          </a:r>
        </a:p>
        <a:p>
          <a:pPr marL="0" lvl="0" indent="0" algn="ctr" defTabSz="488950">
            <a:lnSpc>
              <a:spcPct val="90000"/>
            </a:lnSpc>
            <a:spcBef>
              <a:spcPct val="0"/>
            </a:spcBef>
            <a:spcAft>
              <a:spcPct val="35000"/>
            </a:spcAft>
            <a:buFont typeface="Wingdings" panose="05000000000000000000" pitchFamily="2" charset="2"/>
            <a:buNone/>
          </a:pPr>
          <a:r>
            <a:rPr lang="es-ES" sz="1100" kern="1200">
              <a:latin typeface="Calibri" panose="020F0502020204030204" pitchFamily="34" charset="0"/>
              <a:cs typeface="Times New Roman" panose="02020603050405020304" pitchFamily="18" charset="0"/>
            </a:rPr>
            <a:t>El uso de herramientas como los mapas mentales se ha hecho muy popular para diseñar y definir rápidamente las pruebas de una nueva prestación.</a:t>
          </a:r>
          <a:endParaRPr lang="es-ES" sz="1100" kern="1200"/>
        </a:p>
      </dsp:txBody>
      <dsp:txXfrm>
        <a:off x="330908" y="1182260"/>
        <a:ext cx="1597768" cy="1597847"/>
      </dsp:txXfrm>
    </dsp:sp>
    <dsp:sp modelId="{A097EA24-8693-4452-B2F9-498B520FAAFC}">
      <dsp:nvSpPr>
        <dsp:cNvPr id="0" name=""/>
        <dsp:cNvSpPr/>
      </dsp:nvSpPr>
      <dsp:spPr>
        <a:xfrm>
          <a:off x="1173683" y="2307634"/>
          <a:ext cx="2259584" cy="225969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b="1" kern="1200">
              <a:latin typeface="Calibri" panose="020F0502020204030204" pitchFamily="34" charset="0"/>
              <a:cs typeface="Times New Roman" panose="02020603050405020304" pitchFamily="18" charset="0"/>
            </a:rPr>
            <a:t>Herramientas de gestión de casos de prueba: </a:t>
          </a:r>
        </a:p>
        <a:p>
          <a:pPr marL="0" lvl="0" indent="0" algn="ctr" defTabSz="488950">
            <a:lnSpc>
              <a:spcPct val="90000"/>
            </a:lnSpc>
            <a:spcBef>
              <a:spcPct val="0"/>
            </a:spcBef>
            <a:spcAft>
              <a:spcPct val="35000"/>
            </a:spcAft>
            <a:buNone/>
          </a:pPr>
          <a:r>
            <a:rPr lang="es-ES" sz="1100" kern="1200">
              <a:latin typeface="Calibri" panose="020F0502020204030204" pitchFamily="34" charset="0"/>
              <a:cs typeface="Times New Roman" panose="02020603050405020304" pitchFamily="18" charset="0"/>
            </a:rPr>
            <a:t>El tipo de herramientas de gestión de casos de prueba utilizadas en un entorno ágil pueden formar parte de la gestión del ciclo de vida de la aplicación</a:t>
          </a:r>
        </a:p>
      </dsp:txBody>
      <dsp:txXfrm>
        <a:off x="1504591" y="2638559"/>
        <a:ext cx="1597768" cy="1597847"/>
      </dsp:txXfrm>
    </dsp:sp>
    <dsp:sp modelId="{00D90A00-AA9F-42E4-B0A4-494B01552FEA}">
      <dsp:nvSpPr>
        <dsp:cNvPr id="0" name=""/>
        <dsp:cNvSpPr/>
      </dsp:nvSpPr>
      <dsp:spPr>
        <a:xfrm>
          <a:off x="2347366" y="851335"/>
          <a:ext cx="2259584" cy="225969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b="1" kern="1200">
              <a:latin typeface="Calibri" panose="020F0502020204030204" pitchFamily="34" charset="0"/>
              <a:cs typeface="Times New Roman" panose="02020603050405020304" pitchFamily="18" charset="0"/>
            </a:rPr>
            <a:t>Herramientas de preparación y generación de datos de prueba:</a:t>
          </a:r>
        </a:p>
        <a:p>
          <a:pPr marL="0" lvl="0" indent="0" algn="ctr" defTabSz="488950">
            <a:lnSpc>
              <a:spcPct val="90000"/>
            </a:lnSpc>
            <a:spcBef>
              <a:spcPct val="0"/>
            </a:spcBef>
            <a:spcAft>
              <a:spcPct val="35000"/>
            </a:spcAft>
            <a:buNone/>
          </a:pPr>
          <a:r>
            <a:rPr lang="es-ES" sz="1100" b="1" kern="1200">
              <a:latin typeface="Calibri" panose="020F0502020204030204" pitchFamily="34" charset="0"/>
              <a:cs typeface="Times New Roman" panose="02020603050405020304" pitchFamily="18" charset="0"/>
            </a:rPr>
            <a:t> </a:t>
          </a:r>
          <a:r>
            <a:rPr lang="es-ES" sz="1100" kern="1200">
              <a:latin typeface="Calibri" panose="020F0502020204030204" pitchFamily="34" charset="0"/>
              <a:cs typeface="Times New Roman" panose="02020603050405020304" pitchFamily="18" charset="0"/>
            </a:rPr>
            <a:t>Las herramientas que generan datos para poblar la base de datos de una aplicación son muy beneficiosas cuando se necesitan muchos datos</a:t>
          </a:r>
        </a:p>
      </dsp:txBody>
      <dsp:txXfrm>
        <a:off x="2678274" y="1182260"/>
        <a:ext cx="1597768" cy="1597847"/>
      </dsp:txXfrm>
    </dsp:sp>
    <dsp:sp modelId="{37E84254-24B2-4CAC-A03E-C70B184E92CE}">
      <dsp:nvSpPr>
        <dsp:cNvPr id="0" name=""/>
        <dsp:cNvSpPr/>
      </dsp:nvSpPr>
      <dsp:spPr>
        <a:xfrm>
          <a:off x="3521049" y="2307634"/>
          <a:ext cx="2259584" cy="225969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b="1" kern="1200">
              <a:latin typeface="Calibri" panose="020F0502020204030204" pitchFamily="34" charset="0"/>
              <a:cs typeface="Times New Roman" panose="02020603050405020304" pitchFamily="18" charset="0"/>
            </a:rPr>
            <a:t>Herramientas de carga de datos de prueba: </a:t>
          </a:r>
        </a:p>
        <a:p>
          <a:pPr marL="0" lvl="0" indent="0" algn="ctr" defTabSz="488950">
            <a:lnSpc>
              <a:spcPct val="90000"/>
            </a:lnSpc>
            <a:spcBef>
              <a:spcPct val="0"/>
            </a:spcBef>
            <a:spcAft>
              <a:spcPct val="35000"/>
            </a:spcAft>
            <a:buNone/>
          </a:pPr>
          <a:r>
            <a:rPr lang="es-ES" sz="1100" kern="1200">
              <a:latin typeface="Calibri" panose="020F0502020204030204" pitchFamily="34" charset="0"/>
              <a:cs typeface="Times New Roman" panose="02020603050405020304" pitchFamily="18" charset="0"/>
            </a:rPr>
            <a:t>Una vez generados los datos para las pruebas, hay que cargarlos en la aplicación. La introducción manual de datos suele requerir mucho tiempo y es propensa a errores</a:t>
          </a:r>
        </a:p>
      </dsp:txBody>
      <dsp:txXfrm>
        <a:off x="3851957" y="2638559"/>
        <a:ext cx="1597768" cy="1597847"/>
      </dsp:txXfrm>
    </dsp:sp>
    <dsp:sp modelId="{C512A1C5-AEEF-43DE-9893-00720612B30D}">
      <dsp:nvSpPr>
        <dsp:cNvPr id="0" name=""/>
        <dsp:cNvSpPr/>
      </dsp:nvSpPr>
      <dsp:spPr>
        <a:xfrm>
          <a:off x="4694732" y="851335"/>
          <a:ext cx="2259584" cy="225969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b="1" kern="1200">
              <a:latin typeface="Calibri" panose="020F0502020204030204" pitchFamily="34" charset="0"/>
              <a:cs typeface="Times New Roman" panose="02020603050405020304" pitchFamily="18" charset="0"/>
            </a:rPr>
            <a:t>Herramientas de ejecución de pruebas automatizadas:</a:t>
          </a:r>
          <a:r>
            <a:rPr lang="es-ES" sz="1100" kern="1200">
              <a:latin typeface="Calibri" panose="020F0502020204030204" pitchFamily="34" charset="0"/>
              <a:cs typeface="Times New Roman" panose="02020603050405020304" pitchFamily="18" charset="0"/>
            </a:rPr>
            <a:t> </a:t>
          </a:r>
        </a:p>
        <a:p>
          <a:pPr marL="0" lvl="0" indent="0" algn="ctr" defTabSz="488950">
            <a:lnSpc>
              <a:spcPct val="90000"/>
            </a:lnSpc>
            <a:spcBef>
              <a:spcPct val="0"/>
            </a:spcBef>
            <a:spcAft>
              <a:spcPct val="35000"/>
            </a:spcAft>
            <a:buNone/>
          </a:pPr>
          <a:r>
            <a:rPr lang="es-ES" sz="1100" kern="1200">
              <a:latin typeface="Calibri" panose="020F0502020204030204" pitchFamily="34" charset="0"/>
              <a:cs typeface="Times New Roman" panose="02020603050405020304" pitchFamily="18" charset="0"/>
            </a:rPr>
            <a:t>Existen herramientas de ejecución de prueba que están más alineadas con las pruebas ágiles. </a:t>
          </a:r>
        </a:p>
      </dsp:txBody>
      <dsp:txXfrm>
        <a:off x="5025640" y="1182260"/>
        <a:ext cx="1597768" cy="1597847"/>
      </dsp:txXfrm>
    </dsp:sp>
    <dsp:sp modelId="{8067F893-7CC3-4E12-8142-04344F8C7560}">
      <dsp:nvSpPr>
        <dsp:cNvPr id="0" name=""/>
        <dsp:cNvSpPr/>
      </dsp:nvSpPr>
      <dsp:spPr>
        <a:xfrm>
          <a:off x="5868416" y="2307634"/>
          <a:ext cx="2259584" cy="225969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ES" sz="1100" b="1" kern="1200">
              <a:latin typeface="Calibri" panose="020F0502020204030204" pitchFamily="34" charset="0"/>
              <a:cs typeface="Times New Roman" panose="02020603050405020304" pitchFamily="18" charset="0"/>
            </a:rPr>
            <a:t>Herramientas de prueba exploratoria: </a:t>
          </a:r>
        </a:p>
        <a:p>
          <a:pPr marL="0" lvl="0" indent="0" algn="ctr" defTabSz="488950">
            <a:lnSpc>
              <a:spcPct val="90000"/>
            </a:lnSpc>
            <a:spcBef>
              <a:spcPct val="0"/>
            </a:spcBef>
            <a:spcAft>
              <a:spcPct val="35000"/>
            </a:spcAft>
            <a:buNone/>
          </a:pPr>
          <a:r>
            <a:rPr lang="es-ES" sz="1100" kern="1200">
              <a:latin typeface="Calibri" panose="020F0502020204030204" pitchFamily="34" charset="0"/>
              <a:cs typeface="Times New Roman" panose="02020603050405020304" pitchFamily="18" charset="0"/>
            </a:rPr>
            <a:t>Las herramientas que capturan y registran las actividades realizadas en una aplicación durante una sesión de prueba exploratoria</a:t>
          </a:r>
        </a:p>
      </dsp:txBody>
      <dsp:txXfrm>
        <a:off x="6199324" y="2638559"/>
        <a:ext cx="1597768" cy="159784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828F08-8413-42DE-AEE0-43454EF08415}">
      <dsp:nvSpPr>
        <dsp:cNvPr id="0" name=""/>
        <dsp:cNvSpPr/>
      </dsp:nvSpPr>
      <dsp:spPr>
        <a:xfrm>
          <a:off x="2299043" y="1168328"/>
          <a:ext cx="291240" cy="554956"/>
        </a:xfrm>
        <a:custGeom>
          <a:avLst/>
          <a:gdLst/>
          <a:ahLst/>
          <a:cxnLst/>
          <a:rect l="0" t="0" r="0" b="0"/>
          <a:pathLst>
            <a:path>
              <a:moveTo>
                <a:pt x="0" y="0"/>
              </a:moveTo>
              <a:lnTo>
                <a:pt x="145620" y="0"/>
              </a:lnTo>
              <a:lnTo>
                <a:pt x="145620" y="554956"/>
              </a:lnTo>
              <a:lnTo>
                <a:pt x="291240" y="554956"/>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a:off x="2428995" y="1430138"/>
        <a:ext cx="31336" cy="31336"/>
      </dsp:txXfrm>
    </dsp:sp>
    <dsp:sp modelId="{7FE707B6-C351-4C39-B2B2-06CA4FB5A352}">
      <dsp:nvSpPr>
        <dsp:cNvPr id="0" name=""/>
        <dsp:cNvSpPr/>
      </dsp:nvSpPr>
      <dsp:spPr>
        <a:xfrm>
          <a:off x="2299043" y="1115234"/>
          <a:ext cx="313360" cy="91440"/>
        </a:xfrm>
        <a:custGeom>
          <a:avLst/>
          <a:gdLst/>
          <a:ahLst/>
          <a:cxnLst/>
          <a:rect l="0" t="0" r="0" b="0"/>
          <a:pathLst>
            <a:path>
              <a:moveTo>
                <a:pt x="0" y="53094"/>
              </a:moveTo>
              <a:lnTo>
                <a:pt x="156680" y="53094"/>
              </a:lnTo>
              <a:lnTo>
                <a:pt x="156680" y="45720"/>
              </a:lnTo>
              <a:lnTo>
                <a:pt x="313360" y="45720"/>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a:off x="2447887" y="1153118"/>
        <a:ext cx="15672" cy="15672"/>
      </dsp:txXfrm>
    </dsp:sp>
    <dsp:sp modelId="{729DC21F-AA4B-47D7-B329-5F2403E5C534}">
      <dsp:nvSpPr>
        <dsp:cNvPr id="0" name=""/>
        <dsp:cNvSpPr/>
      </dsp:nvSpPr>
      <dsp:spPr>
        <a:xfrm>
          <a:off x="2299043" y="613372"/>
          <a:ext cx="291240" cy="554956"/>
        </a:xfrm>
        <a:custGeom>
          <a:avLst/>
          <a:gdLst/>
          <a:ahLst/>
          <a:cxnLst/>
          <a:rect l="0" t="0" r="0" b="0"/>
          <a:pathLst>
            <a:path>
              <a:moveTo>
                <a:pt x="0" y="554956"/>
              </a:moveTo>
              <a:lnTo>
                <a:pt x="145620" y="554956"/>
              </a:lnTo>
              <a:lnTo>
                <a:pt x="145620" y="0"/>
              </a:lnTo>
              <a:lnTo>
                <a:pt x="291240" y="0"/>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s-ES" sz="500" kern="1200"/>
        </a:p>
      </dsp:txBody>
      <dsp:txXfrm>
        <a:off x="2428995" y="875182"/>
        <a:ext cx="31336" cy="31336"/>
      </dsp:txXfrm>
    </dsp:sp>
    <dsp:sp modelId="{0ED914D7-9AC6-4CCC-8895-D8E72C5CE468}">
      <dsp:nvSpPr>
        <dsp:cNvPr id="0" name=""/>
        <dsp:cNvSpPr/>
      </dsp:nvSpPr>
      <dsp:spPr>
        <a:xfrm rot="16200000">
          <a:off x="908732" y="946346"/>
          <a:ext cx="2336657" cy="443964"/>
        </a:xfrm>
        <a:prstGeom prst="rect">
          <a:avLst/>
        </a:prstGeom>
        <a:solidFill>
          <a:srgbClr val="046A3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s-ES_tradnl" sz="2000" kern="1200"/>
            <a:t>Enfoques</a:t>
          </a:r>
          <a:endParaRPr lang="es-ES" sz="2000" kern="1200"/>
        </a:p>
      </dsp:txBody>
      <dsp:txXfrm>
        <a:off x="908732" y="946346"/>
        <a:ext cx="2336657" cy="443964"/>
      </dsp:txXfrm>
    </dsp:sp>
    <dsp:sp modelId="{32800216-86AA-444F-BB95-2292A44D5E89}">
      <dsp:nvSpPr>
        <dsp:cNvPr id="0" name=""/>
        <dsp:cNvSpPr/>
      </dsp:nvSpPr>
      <dsp:spPr>
        <a:xfrm>
          <a:off x="2590284" y="391390"/>
          <a:ext cx="3066169" cy="443964"/>
        </a:xfrm>
        <a:prstGeom prst="rect">
          <a:avLst/>
        </a:prstGeom>
        <a:solidFill>
          <a:schemeClr val="bg1"/>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s-ES_tradnl" sz="1600" kern="1200">
              <a:solidFill>
                <a:schemeClr val="tx1"/>
              </a:solidFill>
            </a:rPr>
            <a:t>Programación Extrema (XP)</a:t>
          </a:r>
          <a:endParaRPr lang="es-ES" sz="1600" kern="1200">
            <a:solidFill>
              <a:schemeClr val="tx1"/>
            </a:solidFill>
          </a:endParaRPr>
        </a:p>
      </dsp:txBody>
      <dsp:txXfrm>
        <a:off x="2590284" y="391390"/>
        <a:ext cx="3066169" cy="443964"/>
      </dsp:txXfrm>
    </dsp:sp>
    <dsp:sp modelId="{CEE0951A-E287-48FD-8B6C-AE5E7A92E250}">
      <dsp:nvSpPr>
        <dsp:cNvPr id="0" name=""/>
        <dsp:cNvSpPr/>
      </dsp:nvSpPr>
      <dsp:spPr>
        <a:xfrm>
          <a:off x="2612403" y="938971"/>
          <a:ext cx="3053865" cy="443964"/>
        </a:xfrm>
        <a:prstGeom prst="rect">
          <a:avLst/>
        </a:prstGeom>
        <a:solidFill>
          <a:schemeClr val="bg1"/>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s-ES_tradnl" sz="1600" kern="1200">
              <a:solidFill>
                <a:schemeClr val="tx1"/>
              </a:solidFill>
            </a:rPr>
            <a:t>Scrum</a:t>
          </a:r>
          <a:endParaRPr lang="es-ES" sz="1600" kern="1200">
            <a:solidFill>
              <a:schemeClr val="tx1"/>
            </a:solidFill>
          </a:endParaRPr>
        </a:p>
      </dsp:txBody>
      <dsp:txXfrm>
        <a:off x="2612403" y="938971"/>
        <a:ext cx="3053865" cy="443964"/>
      </dsp:txXfrm>
    </dsp:sp>
    <dsp:sp modelId="{A6F96EDB-9132-4408-8F2D-AAF419C7C5B8}">
      <dsp:nvSpPr>
        <dsp:cNvPr id="0" name=""/>
        <dsp:cNvSpPr/>
      </dsp:nvSpPr>
      <dsp:spPr>
        <a:xfrm>
          <a:off x="2590284" y="1501302"/>
          <a:ext cx="3080921" cy="443964"/>
        </a:xfrm>
        <a:prstGeom prst="rect">
          <a:avLst/>
        </a:prstGeom>
        <a:solidFill>
          <a:schemeClr val="bg1"/>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s-ES_tradnl" sz="1600" kern="1200">
              <a:solidFill>
                <a:schemeClr val="tx1"/>
              </a:solidFill>
            </a:rPr>
            <a:t>Kanban</a:t>
          </a:r>
          <a:endParaRPr lang="es-ES" sz="1600" kern="1200">
            <a:solidFill>
              <a:schemeClr val="tx1"/>
            </a:solidFill>
          </a:endParaRPr>
        </a:p>
      </dsp:txBody>
      <dsp:txXfrm>
        <a:off x="2590284" y="1501302"/>
        <a:ext cx="3080921" cy="4439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7D1B5A-8C74-4428-BE9F-5140AF431C87}">
      <dsp:nvSpPr>
        <dsp:cNvPr id="0" name=""/>
        <dsp:cNvSpPr/>
      </dsp:nvSpPr>
      <dsp:spPr>
        <a:xfrm>
          <a:off x="763" y="0"/>
          <a:ext cx="6813625" cy="390846"/>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GB" altLang="en-US" sz="1400" b="1" kern="1200">
              <a:solidFill>
                <a:schemeClr val="bg1"/>
              </a:solidFill>
              <a:latin typeface="Verdana" pitchFamily="34" charset="0"/>
              <a:ea typeface="Arial" pitchFamily="34" charset="0"/>
              <a:cs typeface="Verdana" pitchFamily="34" charset="0"/>
            </a:rPr>
            <a:t>Temas a </a:t>
          </a:r>
          <a:r>
            <a:rPr lang="en-GB" altLang="en-US" sz="1400" b="1" kern="1200" err="1">
              <a:solidFill>
                <a:schemeClr val="bg1"/>
              </a:solidFill>
              <a:latin typeface="Verdana" pitchFamily="34" charset="0"/>
              <a:ea typeface="Arial" pitchFamily="34" charset="0"/>
              <a:cs typeface="Verdana" pitchFamily="34" charset="0"/>
            </a:rPr>
            <a:t>tratar</a:t>
          </a:r>
          <a:r>
            <a:rPr lang="en-GB" altLang="en-US" sz="1400" b="1" kern="1200">
              <a:solidFill>
                <a:schemeClr val="bg1"/>
              </a:solidFill>
              <a:latin typeface="Verdana" pitchFamily="34" charset="0"/>
              <a:ea typeface="Arial" pitchFamily="34" charset="0"/>
              <a:cs typeface="Verdana" pitchFamily="34" charset="0"/>
            </a:rPr>
            <a:t> </a:t>
          </a:r>
          <a:r>
            <a:rPr lang="en-GB" altLang="en-US" sz="1400" b="1" kern="1200" err="1">
              <a:solidFill>
                <a:schemeClr val="bg1"/>
              </a:solidFill>
              <a:latin typeface="Verdana" pitchFamily="34" charset="0"/>
              <a:ea typeface="Arial" pitchFamily="34" charset="0"/>
              <a:cs typeface="Verdana" pitchFamily="34" charset="0"/>
            </a:rPr>
            <a:t>en</a:t>
          </a:r>
          <a:r>
            <a:rPr lang="en-GB" altLang="en-US" sz="1400" b="1" kern="1200">
              <a:solidFill>
                <a:schemeClr val="bg1"/>
              </a:solidFill>
              <a:latin typeface="Verdana" pitchFamily="34" charset="0"/>
              <a:ea typeface="Arial" pitchFamily="34" charset="0"/>
              <a:cs typeface="Verdana" pitchFamily="34" charset="0"/>
            </a:rPr>
            <a:t> las </a:t>
          </a:r>
          <a:r>
            <a:rPr lang="en-GB" altLang="en-US" sz="1400" b="1" kern="1200" err="1">
              <a:solidFill>
                <a:schemeClr val="bg1"/>
              </a:solidFill>
              <a:latin typeface="Verdana" pitchFamily="34" charset="0"/>
              <a:ea typeface="Arial" pitchFamily="34" charset="0"/>
              <a:cs typeface="Verdana" pitchFamily="34" charset="0"/>
            </a:rPr>
            <a:t>reuniones</a:t>
          </a:r>
          <a:r>
            <a:rPr lang="en-GB" altLang="en-US" sz="1400" b="1" kern="1200">
              <a:solidFill>
                <a:schemeClr val="bg1"/>
              </a:solidFill>
              <a:latin typeface="Verdana" pitchFamily="34" charset="0"/>
              <a:ea typeface="Arial" pitchFamily="34" charset="0"/>
              <a:cs typeface="Verdana" pitchFamily="34" charset="0"/>
            </a:rPr>
            <a:t> </a:t>
          </a:r>
          <a:r>
            <a:rPr lang="en-GB" altLang="en-US" sz="1400" b="1" kern="1200" err="1">
              <a:solidFill>
                <a:schemeClr val="bg1"/>
              </a:solidFill>
              <a:latin typeface="Verdana" pitchFamily="34" charset="0"/>
              <a:ea typeface="Arial" pitchFamily="34" charset="0"/>
              <a:cs typeface="Verdana" pitchFamily="34" charset="0"/>
            </a:rPr>
            <a:t>diarias</a:t>
          </a:r>
          <a:endParaRPr lang="en-US" sz="1400" kern="1200">
            <a:solidFill>
              <a:schemeClr val="bg1"/>
            </a:solidFill>
          </a:endParaRPr>
        </a:p>
      </dsp:txBody>
      <dsp:txXfrm>
        <a:off x="12210" y="11447"/>
        <a:ext cx="6790731" cy="367952"/>
      </dsp:txXfrm>
    </dsp:sp>
    <dsp:sp modelId="{075124B1-2FDB-44D8-8B20-B8420B4E66D9}">
      <dsp:nvSpPr>
        <dsp:cNvPr id="0" name=""/>
        <dsp:cNvSpPr/>
      </dsp:nvSpPr>
      <dsp:spPr>
        <a:xfrm>
          <a:off x="682126" y="390846"/>
          <a:ext cx="691336" cy="525763"/>
        </a:xfrm>
        <a:custGeom>
          <a:avLst/>
          <a:gdLst/>
          <a:ahLst/>
          <a:cxnLst/>
          <a:rect l="0" t="0" r="0" b="0"/>
          <a:pathLst>
            <a:path>
              <a:moveTo>
                <a:pt x="0" y="0"/>
              </a:moveTo>
              <a:lnTo>
                <a:pt x="0" y="525763"/>
              </a:lnTo>
              <a:lnTo>
                <a:pt x="691336" y="525763"/>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C5154F7E-3AEC-475E-9D6F-C7831A451904}">
      <dsp:nvSpPr>
        <dsp:cNvPr id="0" name=""/>
        <dsp:cNvSpPr/>
      </dsp:nvSpPr>
      <dsp:spPr>
        <a:xfrm>
          <a:off x="1373462" y="738163"/>
          <a:ext cx="3852498" cy="356893"/>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Qué has completado desde la última reunión?</a:t>
          </a:r>
          <a:endParaRPr lang="en-US" sz="1200" kern="1200"/>
        </a:p>
      </dsp:txBody>
      <dsp:txXfrm>
        <a:off x="1383915" y="748616"/>
        <a:ext cx="3831592" cy="335987"/>
      </dsp:txXfrm>
    </dsp:sp>
    <dsp:sp modelId="{6F09AAE9-EB2D-4BF9-AF58-F10E25826E38}">
      <dsp:nvSpPr>
        <dsp:cNvPr id="0" name=""/>
        <dsp:cNvSpPr/>
      </dsp:nvSpPr>
      <dsp:spPr>
        <a:xfrm>
          <a:off x="682126" y="390846"/>
          <a:ext cx="691336" cy="1080425"/>
        </a:xfrm>
        <a:custGeom>
          <a:avLst/>
          <a:gdLst/>
          <a:ahLst/>
          <a:cxnLst/>
          <a:rect l="0" t="0" r="0" b="0"/>
          <a:pathLst>
            <a:path>
              <a:moveTo>
                <a:pt x="0" y="0"/>
              </a:moveTo>
              <a:lnTo>
                <a:pt x="0" y="1080425"/>
              </a:lnTo>
              <a:lnTo>
                <a:pt x="691336" y="1080425"/>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3A573BF2-AB6E-4D4B-8827-B8FA1C52C3FA}">
      <dsp:nvSpPr>
        <dsp:cNvPr id="0" name=""/>
        <dsp:cNvSpPr/>
      </dsp:nvSpPr>
      <dsp:spPr>
        <a:xfrm>
          <a:off x="1373462" y="1292825"/>
          <a:ext cx="4491433" cy="356893"/>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Qué tienes previsto completar para la próxima reunión?</a:t>
          </a:r>
          <a:endParaRPr lang="en-US" sz="1200" kern="1200"/>
        </a:p>
      </dsp:txBody>
      <dsp:txXfrm>
        <a:off x="1383915" y="1303278"/>
        <a:ext cx="4470527" cy="335987"/>
      </dsp:txXfrm>
    </dsp:sp>
    <dsp:sp modelId="{E2A3D87A-9C5B-4E46-9924-38E8CBC2FBA4}">
      <dsp:nvSpPr>
        <dsp:cNvPr id="0" name=""/>
        <dsp:cNvSpPr/>
      </dsp:nvSpPr>
      <dsp:spPr>
        <a:xfrm>
          <a:off x="682126" y="390846"/>
          <a:ext cx="691336" cy="1635088"/>
        </a:xfrm>
        <a:custGeom>
          <a:avLst/>
          <a:gdLst/>
          <a:ahLst/>
          <a:cxnLst/>
          <a:rect l="0" t="0" r="0" b="0"/>
          <a:pathLst>
            <a:path>
              <a:moveTo>
                <a:pt x="0" y="0"/>
              </a:moveTo>
              <a:lnTo>
                <a:pt x="0" y="1635088"/>
              </a:lnTo>
              <a:lnTo>
                <a:pt x="691336" y="1635088"/>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935995E8-1CBD-40D2-A010-65128E12BB67}">
      <dsp:nvSpPr>
        <dsp:cNvPr id="0" name=""/>
        <dsp:cNvSpPr/>
      </dsp:nvSpPr>
      <dsp:spPr>
        <a:xfrm>
          <a:off x="1373462" y="1847487"/>
          <a:ext cx="3644527" cy="356893"/>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Qué se está interponiendo en tu camino?</a:t>
          </a:r>
          <a:endParaRPr lang="en-US" sz="1200" kern="1200"/>
        </a:p>
      </dsp:txBody>
      <dsp:txXfrm>
        <a:off x="1383915" y="1857940"/>
        <a:ext cx="3623621" cy="33598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7D1B5A-8C74-4428-BE9F-5140AF431C87}">
      <dsp:nvSpPr>
        <dsp:cNvPr id="0" name=""/>
        <dsp:cNvSpPr/>
      </dsp:nvSpPr>
      <dsp:spPr>
        <a:xfrm>
          <a:off x="426804" y="204213"/>
          <a:ext cx="5180387" cy="409499"/>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s-ES" sz="1400" b="1" kern="1200"/>
            <a:t>Competencias</a:t>
          </a:r>
          <a:endParaRPr lang="en-US" sz="1400" kern="1200">
            <a:solidFill>
              <a:schemeClr val="bg1"/>
            </a:solidFill>
          </a:endParaRPr>
        </a:p>
      </dsp:txBody>
      <dsp:txXfrm>
        <a:off x="438798" y="216207"/>
        <a:ext cx="5156399" cy="385511"/>
      </dsp:txXfrm>
    </dsp:sp>
    <dsp:sp modelId="{075124B1-2FDB-44D8-8B20-B8420B4E66D9}">
      <dsp:nvSpPr>
        <dsp:cNvPr id="0" name=""/>
        <dsp:cNvSpPr/>
      </dsp:nvSpPr>
      <dsp:spPr>
        <a:xfrm>
          <a:off x="944843" y="613713"/>
          <a:ext cx="117576" cy="422304"/>
        </a:xfrm>
        <a:custGeom>
          <a:avLst/>
          <a:gdLst/>
          <a:ahLst/>
          <a:cxnLst/>
          <a:rect l="0" t="0" r="0" b="0"/>
          <a:pathLst>
            <a:path>
              <a:moveTo>
                <a:pt x="0" y="0"/>
              </a:moveTo>
              <a:lnTo>
                <a:pt x="0" y="422304"/>
              </a:lnTo>
              <a:lnTo>
                <a:pt x="117576" y="422304"/>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C5154F7E-3AEC-475E-9D6F-C7831A451904}">
      <dsp:nvSpPr>
        <dsp:cNvPr id="0" name=""/>
        <dsp:cNvSpPr/>
      </dsp:nvSpPr>
      <dsp:spPr>
        <a:xfrm>
          <a:off x="1062419" y="892017"/>
          <a:ext cx="8469315" cy="287999"/>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Ser positivos y estar orientados a las soluciones con los miembros del equipo y los implicados.</a:t>
          </a:r>
          <a:endParaRPr lang="en-US" sz="1200" kern="1200"/>
        </a:p>
      </dsp:txBody>
      <dsp:txXfrm>
        <a:off x="1070854" y="900452"/>
        <a:ext cx="8452445" cy="271129"/>
      </dsp:txXfrm>
    </dsp:sp>
    <dsp:sp modelId="{6F09AAE9-EB2D-4BF9-AF58-F10E25826E38}">
      <dsp:nvSpPr>
        <dsp:cNvPr id="0" name=""/>
        <dsp:cNvSpPr/>
      </dsp:nvSpPr>
      <dsp:spPr>
        <a:xfrm>
          <a:off x="944843" y="613713"/>
          <a:ext cx="117576" cy="860667"/>
        </a:xfrm>
        <a:custGeom>
          <a:avLst/>
          <a:gdLst/>
          <a:ahLst/>
          <a:cxnLst/>
          <a:rect l="0" t="0" r="0" b="0"/>
          <a:pathLst>
            <a:path>
              <a:moveTo>
                <a:pt x="0" y="0"/>
              </a:moveTo>
              <a:lnTo>
                <a:pt x="0" y="860667"/>
              </a:lnTo>
              <a:lnTo>
                <a:pt x="117576" y="860667"/>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3A573BF2-AB6E-4D4B-8827-B8FA1C52C3FA}">
      <dsp:nvSpPr>
        <dsp:cNvPr id="0" name=""/>
        <dsp:cNvSpPr/>
      </dsp:nvSpPr>
      <dsp:spPr>
        <a:xfrm>
          <a:off x="1062419" y="1330380"/>
          <a:ext cx="7620208" cy="287999"/>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Mostrar un pensamiento crítico, orientado a la calidad y escéptico sobre el producto.</a:t>
          </a:r>
          <a:endParaRPr lang="en-US" sz="1200" kern="1200"/>
        </a:p>
      </dsp:txBody>
      <dsp:txXfrm>
        <a:off x="1070854" y="1338815"/>
        <a:ext cx="7603338" cy="271129"/>
      </dsp:txXfrm>
    </dsp:sp>
    <dsp:sp modelId="{E2A3D87A-9C5B-4E46-9924-38E8CBC2FBA4}">
      <dsp:nvSpPr>
        <dsp:cNvPr id="0" name=""/>
        <dsp:cNvSpPr/>
      </dsp:nvSpPr>
      <dsp:spPr>
        <a:xfrm>
          <a:off x="944843" y="613713"/>
          <a:ext cx="117576" cy="1299030"/>
        </a:xfrm>
        <a:custGeom>
          <a:avLst/>
          <a:gdLst/>
          <a:ahLst/>
          <a:cxnLst/>
          <a:rect l="0" t="0" r="0" b="0"/>
          <a:pathLst>
            <a:path>
              <a:moveTo>
                <a:pt x="0" y="0"/>
              </a:moveTo>
              <a:lnTo>
                <a:pt x="0" y="1299030"/>
              </a:lnTo>
              <a:lnTo>
                <a:pt x="117576" y="1299030"/>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935995E8-1CBD-40D2-A010-65128E12BB67}">
      <dsp:nvSpPr>
        <dsp:cNvPr id="0" name=""/>
        <dsp:cNvSpPr/>
      </dsp:nvSpPr>
      <dsp:spPr>
        <a:xfrm>
          <a:off x="1062419" y="1768743"/>
          <a:ext cx="5086137" cy="287999"/>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Recabar información de los implicados de forma activa.</a:t>
          </a:r>
          <a:endParaRPr lang="en-US" sz="1200" kern="1200"/>
        </a:p>
      </dsp:txBody>
      <dsp:txXfrm>
        <a:off x="1070854" y="1777178"/>
        <a:ext cx="5069267" cy="271129"/>
      </dsp:txXfrm>
    </dsp:sp>
    <dsp:sp modelId="{EFE3F865-9820-49E9-978D-EB35FE6809F8}">
      <dsp:nvSpPr>
        <dsp:cNvPr id="0" name=""/>
        <dsp:cNvSpPr/>
      </dsp:nvSpPr>
      <dsp:spPr>
        <a:xfrm>
          <a:off x="944843" y="613713"/>
          <a:ext cx="103771" cy="1737393"/>
        </a:xfrm>
        <a:custGeom>
          <a:avLst/>
          <a:gdLst/>
          <a:ahLst/>
          <a:cxnLst/>
          <a:rect l="0" t="0" r="0" b="0"/>
          <a:pathLst>
            <a:path>
              <a:moveTo>
                <a:pt x="0" y="0"/>
              </a:moveTo>
              <a:lnTo>
                <a:pt x="0" y="1737393"/>
              </a:lnTo>
              <a:lnTo>
                <a:pt x="103771" y="1737393"/>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DF516282-88F3-4E43-9E00-4F5CDC872AA7}">
      <dsp:nvSpPr>
        <dsp:cNvPr id="0" name=""/>
        <dsp:cNvSpPr/>
      </dsp:nvSpPr>
      <dsp:spPr>
        <a:xfrm>
          <a:off x="1048614" y="2207106"/>
          <a:ext cx="10396457" cy="287999"/>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Evaluar y comunicar con precisión los resultados de las pruebas, el avance de las mismas y la calidad del producto.</a:t>
          </a:r>
          <a:endParaRPr lang="en-US" sz="1200" kern="1200"/>
        </a:p>
      </dsp:txBody>
      <dsp:txXfrm>
        <a:off x="1057049" y="2215541"/>
        <a:ext cx="10379587" cy="271129"/>
      </dsp:txXfrm>
    </dsp:sp>
    <dsp:sp modelId="{20144766-9D3F-4EA7-82B8-8501BB029C90}">
      <dsp:nvSpPr>
        <dsp:cNvPr id="0" name=""/>
        <dsp:cNvSpPr/>
      </dsp:nvSpPr>
      <dsp:spPr>
        <a:xfrm>
          <a:off x="944843" y="613713"/>
          <a:ext cx="117576" cy="2175756"/>
        </a:xfrm>
        <a:custGeom>
          <a:avLst/>
          <a:gdLst/>
          <a:ahLst/>
          <a:cxnLst/>
          <a:rect l="0" t="0" r="0" b="0"/>
          <a:pathLst>
            <a:path>
              <a:moveTo>
                <a:pt x="0" y="0"/>
              </a:moveTo>
              <a:lnTo>
                <a:pt x="0" y="2175756"/>
              </a:lnTo>
              <a:lnTo>
                <a:pt x="117576" y="2175756"/>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1B2199F0-3BB8-4861-A089-B3A18654DFDF}">
      <dsp:nvSpPr>
        <dsp:cNvPr id="0" name=""/>
        <dsp:cNvSpPr/>
      </dsp:nvSpPr>
      <dsp:spPr>
        <a:xfrm>
          <a:off x="1062419" y="2645469"/>
          <a:ext cx="7183909" cy="287999"/>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Trabajar eficazmente para definir historias de usuario que puedan ser probadas.</a:t>
          </a:r>
          <a:endParaRPr lang="en-US" sz="1200" kern="1200"/>
        </a:p>
      </dsp:txBody>
      <dsp:txXfrm>
        <a:off x="1070854" y="2653904"/>
        <a:ext cx="7167039" cy="271129"/>
      </dsp:txXfrm>
    </dsp:sp>
    <dsp:sp modelId="{9FB34EBC-1C73-4DA3-B971-E82A7D9DA01A}">
      <dsp:nvSpPr>
        <dsp:cNvPr id="0" name=""/>
        <dsp:cNvSpPr/>
      </dsp:nvSpPr>
      <dsp:spPr>
        <a:xfrm>
          <a:off x="944843" y="613713"/>
          <a:ext cx="117576" cy="2614119"/>
        </a:xfrm>
        <a:custGeom>
          <a:avLst/>
          <a:gdLst/>
          <a:ahLst/>
          <a:cxnLst/>
          <a:rect l="0" t="0" r="0" b="0"/>
          <a:pathLst>
            <a:path>
              <a:moveTo>
                <a:pt x="0" y="0"/>
              </a:moveTo>
              <a:lnTo>
                <a:pt x="0" y="2614119"/>
              </a:lnTo>
              <a:lnTo>
                <a:pt x="117576" y="2614119"/>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B4E69D34-EC51-4CEB-8776-BB439E51E45F}">
      <dsp:nvSpPr>
        <dsp:cNvPr id="0" name=""/>
        <dsp:cNvSpPr/>
      </dsp:nvSpPr>
      <dsp:spPr>
        <a:xfrm>
          <a:off x="1062419" y="3083832"/>
          <a:ext cx="9304411" cy="287999"/>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Colaborar dentro del equipo, trabajando en pareja con los programadores y otros miembros del equipo.</a:t>
          </a:r>
          <a:endParaRPr lang="en-US" sz="1200" kern="1200"/>
        </a:p>
      </dsp:txBody>
      <dsp:txXfrm>
        <a:off x="1070854" y="3092267"/>
        <a:ext cx="9287541" cy="271129"/>
      </dsp:txXfrm>
    </dsp:sp>
    <dsp:sp modelId="{08782D88-052A-4B79-BE5A-D441225B00E8}">
      <dsp:nvSpPr>
        <dsp:cNvPr id="0" name=""/>
        <dsp:cNvSpPr/>
      </dsp:nvSpPr>
      <dsp:spPr>
        <a:xfrm>
          <a:off x="944843" y="613713"/>
          <a:ext cx="117576" cy="3052482"/>
        </a:xfrm>
        <a:custGeom>
          <a:avLst/>
          <a:gdLst/>
          <a:ahLst/>
          <a:cxnLst/>
          <a:rect l="0" t="0" r="0" b="0"/>
          <a:pathLst>
            <a:path>
              <a:moveTo>
                <a:pt x="0" y="0"/>
              </a:moveTo>
              <a:lnTo>
                <a:pt x="0" y="3052482"/>
              </a:lnTo>
              <a:lnTo>
                <a:pt x="117576" y="3052482"/>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2F867CD0-E315-4CD2-9980-ED1E5F349068}">
      <dsp:nvSpPr>
        <dsp:cNvPr id="0" name=""/>
        <dsp:cNvSpPr/>
      </dsp:nvSpPr>
      <dsp:spPr>
        <a:xfrm>
          <a:off x="1062419" y="3522195"/>
          <a:ext cx="9503997" cy="287999"/>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Responder rápidamente a los cambios, incluyendo la modificación, adición o mejora de los casos de prueba.</a:t>
          </a:r>
          <a:endParaRPr lang="en-US" sz="1200" kern="1200"/>
        </a:p>
      </dsp:txBody>
      <dsp:txXfrm>
        <a:off x="1070854" y="3530630"/>
        <a:ext cx="9487127" cy="271129"/>
      </dsp:txXfrm>
    </dsp:sp>
    <dsp:sp modelId="{4905C225-7FB9-4C5E-B148-DE2D2ECAEB36}">
      <dsp:nvSpPr>
        <dsp:cNvPr id="0" name=""/>
        <dsp:cNvSpPr/>
      </dsp:nvSpPr>
      <dsp:spPr>
        <a:xfrm>
          <a:off x="944843" y="613713"/>
          <a:ext cx="117576" cy="3490845"/>
        </a:xfrm>
        <a:custGeom>
          <a:avLst/>
          <a:gdLst/>
          <a:ahLst/>
          <a:cxnLst/>
          <a:rect l="0" t="0" r="0" b="0"/>
          <a:pathLst>
            <a:path>
              <a:moveTo>
                <a:pt x="0" y="0"/>
              </a:moveTo>
              <a:lnTo>
                <a:pt x="0" y="3490845"/>
              </a:lnTo>
              <a:lnTo>
                <a:pt x="117576" y="3490845"/>
              </a:lnTo>
            </a:path>
          </a:pathLst>
        </a:custGeom>
        <a:noFill/>
        <a:ln w="25400" cap="flat" cmpd="sng" algn="ctr">
          <a:solidFill>
            <a:srgbClr val="046A38"/>
          </a:solidFill>
          <a:prstDash val="solid"/>
        </a:ln>
        <a:effectLst/>
      </dsp:spPr>
      <dsp:style>
        <a:lnRef idx="2">
          <a:scrgbClr r="0" g="0" b="0"/>
        </a:lnRef>
        <a:fillRef idx="0">
          <a:scrgbClr r="0" g="0" b="0"/>
        </a:fillRef>
        <a:effectRef idx="0">
          <a:scrgbClr r="0" g="0" b="0"/>
        </a:effectRef>
        <a:fontRef idx="minor"/>
      </dsp:style>
    </dsp:sp>
    <dsp:sp modelId="{9786223D-83F2-48C3-B37A-A27C4BB970CF}">
      <dsp:nvSpPr>
        <dsp:cNvPr id="0" name=""/>
        <dsp:cNvSpPr/>
      </dsp:nvSpPr>
      <dsp:spPr>
        <a:xfrm>
          <a:off x="1062419" y="3960558"/>
          <a:ext cx="3707962" cy="287999"/>
        </a:xfrm>
        <a:prstGeom prst="roundRect">
          <a:avLst>
            <a:gd name="adj" fmla="val 10000"/>
          </a:avLst>
        </a:prstGeom>
        <a:solidFill>
          <a:schemeClr val="lt1">
            <a:alpha val="90000"/>
            <a:hueOff val="0"/>
            <a:satOff val="0"/>
            <a:lumOff val="0"/>
            <a:alphaOff val="0"/>
          </a:schemeClr>
        </a:solidFill>
        <a:ln w="25400" cap="flat" cmpd="sng" algn="ctr">
          <a:solidFill>
            <a:srgbClr val="046A38"/>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l" defTabSz="533400">
            <a:lnSpc>
              <a:spcPct val="90000"/>
            </a:lnSpc>
            <a:spcBef>
              <a:spcPct val="0"/>
            </a:spcBef>
            <a:spcAft>
              <a:spcPct val="35000"/>
            </a:spcAft>
            <a:buNone/>
          </a:pPr>
          <a:r>
            <a:rPr lang="es-ES" sz="1200" kern="1200"/>
            <a:t>Planificar y organizar su propio trabajo.</a:t>
          </a:r>
          <a:endParaRPr lang="en-US" sz="1200" kern="1200"/>
        </a:p>
      </dsp:txBody>
      <dsp:txXfrm>
        <a:off x="1070854" y="3968993"/>
        <a:ext cx="3691092" cy="27112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573D57-4D6C-402E-BFC2-0B82F1674D56}">
      <dsp:nvSpPr>
        <dsp:cNvPr id="0" name=""/>
        <dsp:cNvSpPr/>
      </dsp:nvSpPr>
      <dsp:spPr>
        <a:xfrm>
          <a:off x="2895661" y="1184294"/>
          <a:ext cx="2048701" cy="355559"/>
        </a:xfrm>
        <a:custGeom>
          <a:avLst/>
          <a:gdLst/>
          <a:ahLst/>
          <a:cxnLst/>
          <a:rect l="0" t="0" r="0" b="0"/>
          <a:pathLst>
            <a:path>
              <a:moveTo>
                <a:pt x="0" y="0"/>
              </a:moveTo>
              <a:lnTo>
                <a:pt x="0" y="177779"/>
              </a:lnTo>
              <a:lnTo>
                <a:pt x="2048701" y="177779"/>
              </a:lnTo>
              <a:lnTo>
                <a:pt x="2048701" y="35555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F62093B-0B05-4C80-B945-FACFBCE2A91B}">
      <dsp:nvSpPr>
        <dsp:cNvPr id="0" name=""/>
        <dsp:cNvSpPr/>
      </dsp:nvSpPr>
      <dsp:spPr>
        <a:xfrm>
          <a:off x="2849941" y="1184294"/>
          <a:ext cx="91440" cy="355559"/>
        </a:xfrm>
        <a:custGeom>
          <a:avLst/>
          <a:gdLst/>
          <a:ahLst/>
          <a:cxnLst/>
          <a:rect l="0" t="0" r="0" b="0"/>
          <a:pathLst>
            <a:path>
              <a:moveTo>
                <a:pt x="45720" y="0"/>
              </a:moveTo>
              <a:lnTo>
                <a:pt x="45720" y="35555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6D1DB8-549A-42F3-9602-D34E22E05BFB}">
      <dsp:nvSpPr>
        <dsp:cNvPr id="0" name=""/>
        <dsp:cNvSpPr/>
      </dsp:nvSpPr>
      <dsp:spPr>
        <a:xfrm>
          <a:off x="846959" y="1184294"/>
          <a:ext cx="2048701" cy="355559"/>
        </a:xfrm>
        <a:custGeom>
          <a:avLst/>
          <a:gdLst/>
          <a:ahLst/>
          <a:cxnLst/>
          <a:rect l="0" t="0" r="0" b="0"/>
          <a:pathLst>
            <a:path>
              <a:moveTo>
                <a:pt x="2048701" y="0"/>
              </a:moveTo>
              <a:lnTo>
                <a:pt x="2048701" y="177779"/>
              </a:lnTo>
              <a:lnTo>
                <a:pt x="0" y="177779"/>
              </a:lnTo>
              <a:lnTo>
                <a:pt x="0" y="35555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0A10E2-5BA8-49B2-9D60-4D4EF31FB265}">
      <dsp:nvSpPr>
        <dsp:cNvPr id="0" name=""/>
        <dsp:cNvSpPr/>
      </dsp:nvSpPr>
      <dsp:spPr>
        <a:xfrm>
          <a:off x="2049090" y="337723"/>
          <a:ext cx="1693141" cy="84657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ES_tradnl" sz="1300" b="0" kern="1200"/>
            <a:t>Tipos</a:t>
          </a:r>
          <a:endParaRPr lang="es-ES" sz="1300" b="0" kern="1200"/>
        </a:p>
      </dsp:txBody>
      <dsp:txXfrm>
        <a:off x="2049090" y="337723"/>
        <a:ext cx="1693141" cy="846570"/>
      </dsp:txXfrm>
    </dsp:sp>
    <dsp:sp modelId="{53A52E42-18C2-46DC-B96F-914785FA2FA3}">
      <dsp:nvSpPr>
        <dsp:cNvPr id="0" name=""/>
        <dsp:cNvSpPr/>
      </dsp:nvSpPr>
      <dsp:spPr>
        <a:xfrm>
          <a:off x="388" y="1539854"/>
          <a:ext cx="1693141" cy="84657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s-ES_tradnl" sz="1300" b="0" kern="1200"/>
            <a:t>Desarrollo guiado por pruebas</a:t>
          </a:r>
        </a:p>
        <a:p>
          <a:pPr marL="0" lvl="0" indent="0" algn="ctr" defTabSz="577850">
            <a:lnSpc>
              <a:spcPct val="90000"/>
            </a:lnSpc>
            <a:spcBef>
              <a:spcPct val="0"/>
            </a:spcBef>
            <a:spcAft>
              <a:spcPct val="35000"/>
            </a:spcAft>
            <a:buNone/>
          </a:pPr>
          <a:r>
            <a:rPr lang="es-ES_tradnl" sz="1300" b="0" kern="1200"/>
            <a:t>TDD</a:t>
          </a:r>
          <a:endParaRPr lang="es-ES" sz="1300" b="0" kern="1200"/>
        </a:p>
      </dsp:txBody>
      <dsp:txXfrm>
        <a:off x="388" y="1539854"/>
        <a:ext cx="1693141" cy="846570"/>
      </dsp:txXfrm>
    </dsp:sp>
    <dsp:sp modelId="{2A363701-3D12-421F-9E25-A3BFC5B0B5E3}">
      <dsp:nvSpPr>
        <dsp:cNvPr id="0" name=""/>
        <dsp:cNvSpPr/>
      </dsp:nvSpPr>
      <dsp:spPr>
        <a:xfrm>
          <a:off x="2049090" y="1539854"/>
          <a:ext cx="1693141" cy="84657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GB" altLang="en-US" sz="1300" b="0" kern="1200">
              <a:latin typeface="Verdana" pitchFamily="34" charset="0"/>
              <a:ea typeface="Arial" pitchFamily="34" charset="0"/>
              <a:cs typeface="Verdana" pitchFamily="34" charset="0"/>
            </a:rPr>
            <a:t>Desarrollo </a:t>
          </a:r>
          <a:r>
            <a:rPr lang="en-GB" altLang="en-US" sz="1300" b="0" kern="1200" err="1">
              <a:latin typeface="Verdana" pitchFamily="34" charset="0"/>
              <a:ea typeface="Arial" pitchFamily="34" charset="0"/>
              <a:cs typeface="Verdana" pitchFamily="34" charset="0"/>
            </a:rPr>
            <a:t>Guiado</a:t>
          </a:r>
          <a:r>
            <a:rPr lang="en-GB" altLang="en-US" sz="1300" b="0" kern="1200">
              <a:latin typeface="Verdana" pitchFamily="34" charset="0"/>
              <a:ea typeface="Arial" pitchFamily="34" charset="0"/>
              <a:cs typeface="Verdana" pitchFamily="34" charset="0"/>
            </a:rPr>
            <a:t> </a:t>
          </a:r>
          <a:r>
            <a:rPr lang="en-GB" altLang="en-US" sz="1300" b="0" kern="1200" err="1">
              <a:latin typeface="Verdana" pitchFamily="34" charset="0"/>
              <a:ea typeface="Arial" pitchFamily="34" charset="0"/>
              <a:cs typeface="Verdana" pitchFamily="34" charset="0"/>
            </a:rPr>
            <a:t>por</a:t>
          </a:r>
          <a:r>
            <a:rPr lang="en-GB" altLang="en-US" sz="1300" b="0" kern="1200">
              <a:latin typeface="Verdana" pitchFamily="34" charset="0"/>
              <a:ea typeface="Arial" pitchFamily="34" charset="0"/>
              <a:cs typeface="Verdana" pitchFamily="34" charset="0"/>
            </a:rPr>
            <a:t> </a:t>
          </a:r>
          <a:r>
            <a:rPr lang="en-GB" altLang="en-US" sz="1300" b="0" kern="1200" err="1">
              <a:latin typeface="Verdana" pitchFamily="34" charset="0"/>
              <a:ea typeface="Arial" pitchFamily="34" charset="0"/>
              <a:cs typeface="Verdana" pitchFamily="34" charset="0"/>
            </a:rPr>
            <a:t>Pruebas</a:t>
          </a:r>
          <a:r>
            <a:rPr lang="en-GB" altLang="en-US" sz="1300" b="0" kern="1200">
              <a:latin typeface="Verdana" pitchFamily="34" charset="0"/>
              <a:ea typeface="Arial" pitchFamily="34" charset="0"/>
              <a:cs typeface="Verdana" pitchFamily="34" charset="0"/>
            </a:rPr>
            <a:t> de </a:t>
          </a:r>
          <a:r>
            <a:rPr lang="en-GB" altLang="en-US" sz="1300" b="0" kern="1200" err="1">
              <a:latin typeface="Verdana" pitchFamily="34" charset="0"/>
              <a:ea typeface="Arial" pitchFamily="34" charset="0"/>
              <a:cs typeface="Verdana" pitchFamily="34" charset="0"/>
            </a:rPr>
            <a:t>Aceptación</a:t>
          </a:r>
          <a:r>
            <a:rPr lang="en-GB" altLang="en-US" sz="1300" b="0" kern="1200">
              <a:latin typeface="Verdana" pitchFamily="34" charset="0"/>
              <a:ea typeface="Arial" pitchFamily="34" charset="0"/>
              <a:cs typeface="Verdana" pitchFamily="34" charset="0"/>
            </a:rPr>
            <a:t> </a:t>
          </a:r>
        </a:p>
        <a:p>
          <a:pPr marL="0" lvl="0" indent="0" algn="ctr" defTabSz="577850">
            <a:lnSpc>
              <a:spcPct val="90000"/>
            </a:lnSpc>
            <a:spcBef>
              <a:spcPct val="0"/>
            </a:spcBef>
            <a:spcAft>
              <a:spcPct val="35000"/>
            </a:spcAft>
            <a:buNone/>
          </a:pPr>
          <a:r>
            <a:rPr lang="en-GB" sz="1300" b="0" kern="1200">
              <a:latin typeface="Verdana" pitchFamily="34" charset="0"/>
            </a:rPr>
            <a:t>ATDD</a:t>
          </a:r>
          <a:endParaRPr lang="es-ES" sz="1300" b="0" kern="1200"/>
        </a:p>
      </dsp:txBody>
      <dsp:txXfrm>
        <a:off x="2049090" y="1539854"/>
        <a:ext cx="1693141" cy="846570"/>
      </dsp:txXfrm>
    </dsp:sp>
    <dsp:sp modelId="{A8F93672-741E-4635-9C4B-3868A5594EDF}">
      <dsp:nvSpPr>
        <dsp:cNvPr id="0" name=""/>
        <dsp:cNvSpPr/>
      </dsp:nvSpPr>
      <dsp:spPr>
        <a:xfrm>
          <a:off x="4097791" y="1539854"/>
          <a:ext cx="1693141" cy="84657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GB" altLang="en-US" sz="1300" b="0" kern="1200">
              <a:latin typeface="Verdana" pitchFamily="34" charset="0"/>
              <a:ea typeface="Arial" pitchFamily="34" charset="0"/>
              <a:cs typeface="Verdana" pitchFamily="34" charset="0"/>
            </a:rPr>
            <a:t>Desarrollo </a:t>
          </a:r>
          <a:r>
            <a:rPr lang="en-GB" altLang="en-US" sz="1300" b="0" kern="1200" err="1">
              <a:latin typeface="Verdana" pitchFamily="34" charset="0"/>
              <a:ea typeface="Arial" pitchFamily="34" charset="0"/>
              <a:cs typeface="Verdana" pitchFamily="34" charset="0"/>
            </a:rPr>
            <a:t>Guiado</a:t>
          </a:r>
          <a:r>
            <a:rPr lang="en-GB" altLang="en-US" sz="1300" b="0" kern="1200">
              <a:latin typeface="Verdana" pitchFamily="34" charset="0"/>
              <a:ea typeface="Arial" pitchFamily="34" charset="0"/>
              <a:cs typeface="Verdana" pitchFamily="34" charset="0"/>
            </a:rPr>
            <a:t> </a:t>
          </a:r>
          <a:r>
            <a:rPr lang="en-GB" altLang="en-US" sz="1300" b="0" kern="1200" err="1">
              <a:latin typeface="Verdana" pitchFamily="34" charset="0"/>
              <a:ea typeface="Arial" pitchFamily="34" charset="0"/>
              <a:cs typeface="Verdana" pitchFamily="34" charset="0"/>
            </a:rPr>
            <a:t>por</a:t>
          </a:r>
          <a:r>
            <a:rPr lang="en-GB" altLang="en-US" sz="1300" b="0" kern="1200">
              <a:latin typeface="Verdana" pitchFamily="34" charset="0"/>
              <a:ea typeface="Arial" pitchFamily="34" charset="0"/>
              <a:cs typeface="Verdana" pitchFamily="34" charset="0"/>
            </a:rPr>
            <a:t> </a:t>
          </a:r>
          <a:r>
            <a:rPr lang="en-GB" altLang="en-US" sz="1300" b="0" kern="1200" err="1">
              <a:latin typeface="Verdana" pitchFamily="34" charset="0"/>
              <a:ea typeface="Arial" pitchFamily="34" charset="0"/>
              <a:cs typeface="Verdana" pitchFamily="34" charset="0"/>
            </a:rPr>
            <a:t>el</a:t>
          </a:r>
          <a:r>
            <a:rPr lang="en-GB" altLang="en-US" sz="1300" b="0" kern="1200">
              <a:latin typeface="Verdana" pitchFamily="34" charset="0"/>
              <a:ea typeface="Arial" pitchFamily="34" charset="0"/>
              <a:cs typeface="Verdana" pitchFamily="34" charset="0"/>
            </a:rPr>
            <a:t> </a:t>
          </a:r>
          <a:r>
            <a:rPr lang="en-GB" altLang="en-US" sz="1300" b="0" kern="1200" err="1">
              <a:latin typeface="Verdana" pitchFamily="34" charset="0"/>
              <a:ea typeface="Arial" pitchFamily="34" charset="0"/>
              <a:cs typeface="Verdana" pitchFamily="34" charset="0"/>
            </a:rPr>
            <a:t>Comportamiento</a:t>
          </a:r>
          <a:endParaRPr lang="en-GB" altLang="en-US" sz="1300" b="0" kern="1200">
            <a:latin typeface="Verdana" pitchFamily="34" charset="0"/>
            <a:ea typeface="Arial" pitchFamily="34" charset="0"/>
            <a:cs typeface="Verdana" pitchFamily="34" charset="0"/>
          </a:endParaRPr>
        </a:p>
        <a:p>
          <a:pPr marL="0" lvl="0" indent="0" algn="ctr" defTabSz="577850">
            <a:lnSpc>
              <a:spcPct val="90000"/>
            </a:lnSpc>
            <a:spcBef>
              <a:spcPct val="0"/>
            </a:spcBef>
            <a:spcAft>
              <a:spcPct val="35000"/>
            </a:spcAft>
            <a:buNone/>
          </a:pPr>
          <a:r>
            <a:rPr lang="en-GB" sz="1300" b="0" kern="1200">
              <a:latin typeface="Verdana" pitchFamily="34" charset="0"/>
            </a:rPr>
            <a:t>BDD</a:t>
          </a:r>
          <a:endParaRPr lang="es-ES" sz="1300" b="0" kern="1200"/>
        </a:p>
      </dsp:txBody>
      <dsp:txXfrm>
        <a:off x="4097791" y="1539854"/>
        <a:ext cx="1693141" cy="84657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9D202-52AE-40F2-AD46-1DD6B3A37BD0}">
      <dsp:nvSpPr>
        <dsp:cNvPr id="0" name=""/>
        <dsp:cNvSpPr/>
      </dsp:nvSpPr>
      <dsp:spPr>
        <a:xfrm>
          <a:off x="3346465" y="1769"/>
          <a:ext cx="1463643" cy="14636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s-ES" sz="700" kern="1200"/>
            <a:t>Se añade una prueba que capture el concepto del programador sobre el funcionamiento deseado de un pequeño fragmento de código.</a:t>
          </a:r>
        </a:p>
      </dsp:txBody>
      <dsp:txXfrm>
        <a:off x="3560811" y="216115"/>
        <a:ext cx="1034951" cy="1034951"/>
      </dsp:txXfrm>
    </dsp:sp>
    <dsp:sp modelId="{92B03F9F-8BCC-4665-9C0B-490733CAB72E}">
      <dsp:nvSpPr>
        <dsp:cNvPr id="0" name=""/>
        <dsp:cNvSpPr/>
      </dsp:nvSpPr>
      <dsp:spPr>
        <a:xfrm rot="2160000">
          <a:off x="4763899" y="1126143"/>
          <a:ext cx="389284" cy="49397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s-ES" sz="600" kern="1200"/>
        </a:p>
      </dsp:txBody>
      <dsp:txXfrm>
        <a:off x="4775051" y="1190617"/>
        <a:ext cx="272499" cy="296387"/>
      </dsp:txXfrm>
    </dsp:sp>
    <dsp:sp modelId="{D0FF37E1-8C8C-4AB2-A638-4729F5A4FAD0}">
      <dsp:nvSpPr>
        <dsp:cNvPr id="0" name=""/>
        <dsp:cNvSpPr/>
      </dsp:nvSpPr>
      <dsp:spPr>
        <a:xfrm>
          <a:off x="5124800" y="1293805"/>
          <a:ext cx="1463643" cy="14636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s-ES" sz="700" kern="1200"/>
            <a:t>Se ejecuta la prueba, que debería fallar ya que el código no existe.</a:t>
          </a:r>
        </a:p>
      </dsp:txBody>
      <dsp:txXfrm>
        <a:off x="5339146" y="1508151"/>
        <a:ext cx="1034951" cy="1034951"/>
      </dsp:txXfrm>
    </dsp:sp>
    <dsp:sp modelId="{860DC675-F779-46DB-AD1C-71380FE17956}">
      <dsp:nvSpPr>
        <dsp:cNvPr id="0" name=""/>
        <dsp:cNvSpPr/>
      </dsp:nvSpPr>
      <dsp:spPr>
        <a:xfrm rot="6480000">
          <a:off x="5325752" y="2813437"/>
          <a:ext cx="389284" cy="49397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s-ES" sz="600" kern="1200"/>
        </a:p>
      </dsp:txBody>
      <dsp:txXfrm rot="10800000">
        <a:off x="5402189" y="2856698"/>
        <a:ext cx="272499" cy="296387"/>
      </dsp:txXfrm>
    </dsp:sp>
    <dsp:sp modelId="{E5A1DA7C-F301-4A8E-859D-51F03F60079C}">
      <dsp:nvSpPr>
        <dsp:cNvPr id="0" name=""/>
        <dsp:cNvSpPr/>
      </dsp:nvSpPr>
      <dsp:spPr>
        <a:xfrm>
          <a:off x="4445536" y="3384362"/>
          <a:ext cx="1463643" cy="14636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s-ES" sz="700" kern="1200"/>
            <a:t>Se escribe el código y se ejecuta la prueba en un bucle cerrado hasta que la prueba pase.</a:t>
          </a:r>
        </a:p>
      </dsp:txBody>
      <dsp:txXfrm>
        <a:off x="4659882" y="3598708"/>
        <a:ext cx="1034951" cy="1034951"/>
      </dsp:txXfrm>
    </dsp:sp>
    <dsp:sp modelId="{D1EF34C4-9294-4FE6-A93A-E3D354262CAE}">
      <dsp:nvSpPr>
        <dsp:cNvPr id="0" name=""/>
        <dsp:cNvSpPr/>
      </dsp:nvSpPr>
      <dsp:spPr>
        <a:xfrm rot="10800000">
          <a:off x="3894662" y="3869194"/>
          <a:ext cx="389284" cy="49397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s-ES" sz="600" kern="1200"/>
        </a:p>
      </dsp:txBody>
      <dsp:txXfrm rot="10800000">
        <a:off x="4011447" y="3967990"/>
        <a:ext cx="272499" cy="296387"/>
      </dsp:txXfrm>
    </dsp:sp>
    <dsp:sp modelId="{D5DDFE53-2861-4CE0-AC08-E12E450329C1}">
      <dsp:nvSpPr>
        <dsp:cNvPr id="0" name=""/>
        <dsp:cNvSpPr/>
      </dsp:nvSpPr>
      <dsp:spPr>
        <a:xfrm>
          <a:off x="2247394" y="3384362"/>
          <a:ext cx="1463643" cy="14636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s-ES" sz="700" kern="1200"/>
            <a:t>Se refactoriza el código después de que la prueba haya sido superada, y vuelva a ejecutar la prueba para asegurarse de que sigue pasando contra el código refactorizado.</a:t>
          </a:r>
        </a:p>
      </dsp:txBody>
      <dsp:txXfrm>
        <a:off x="2461740" y="3598708"/>
        <a:ext cx="1034951" cy="1034951"/>
      </dsp:txXfrm>
    </dsp:sp>
    <dsp:sp modelId="{7047910E-DEB7-4909-B4CB-0DB52A2D0A81}">
      <dsp:nvSpPr>
        <dsp:cNvPr id="0" name=""/>
        <dsp:cNvSpPr/>
      </dsp:nvSpPr>
      <dsp:spPr>
        <a:xfrm rot="15120000">
          <a:off x="2448347" y="2834394"/>
          <a:ext cx="389284" cy="49397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s-ES" sz="600" kern="1200"/>
        </a:p>
      </dsp:txBody>
      <dsp:txXfrm rot="10800000">
        <a:off x="2524784" y="2988725"/>
        <a:ext cx="272499" cy="296387"/>
      </dsp:txXfrm>
    </dsp:sp>
    <dsp:sp modelId="{79C178D8-8A70-4183-BB91-F4006FF12CFE}">
      <dsp:nvSpPr>
        <dsp:cNvPr id="0" name=""/>
        <dsp:cNvSpPr/>
      </dsp:nvSpPr>
      <dsp:spPr>
        <a:xfrm>
          <a:off x="1568131" y="1293805"/>
          <a:ext cx="1463643" cy="14636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s-ES" sz="700" kern="1200"/>
            <a:t>Se repite este proceso para el siguiente pequeño fragmento de código, ejecutando las pruebas anteriores, así como las pruebas añadidas</a:t>
          </a:r>
        </a:p>
      </dsp:txBody>
      <dsp:txXfrm>
        <a:off x="1782477" y="1508151"/>
        <a:ext cx="1034951" cy="1034951"/>
      </dsp:txXfrm>
    </dsp:sp>
    <dsp:sp modelId="{D610DBCE-4E93-494D-85C9-A5F529E77D5E}">
      <dsp:nvSpPr>
        <dsp:cNvPr id="0" name=""/>
        <dsp:cNvSpPr/>
      </dsp:nvSpPr>
      <dsp:spPr>
        <a:xfrm rot="19440000">
          <a:off x="2985564" y="1139095"/>
          <a:ext cx="389284" cy="49397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s-ES" sz="600" kern="1200"/>
        </a:p>
      </dsp:txBody>
      <dsp:txXfrm>
        <a:off x="2996716" y="1272213"/>
        <a:ext cx="272499" cy="29638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979239-50E9-4E95-8427-690FD6B8C77B}">
      <dsp:nvSpPr>
        <dsp:cNvPr id="0" name=""/>
        <dsp:cNvSpPr/>
      </dsp:nvSpPr>
      <dsp:spPr>
        <a:xfrm>
          <a:off x="1314508" y="0"/>
          <a:ext cx="876339" cy="739320"/>
        </a:xfrm>
        <a:prstGeom prst="trapezoid">
          <a:avLst>
            <a:gd name="adj" fmla="val 59266"/>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s-ES_tradnl" sz="1200" kern="1200"/>
            <a:t>Aceptación</a:t>
          </a:r>
          <a:endParaRPr lang="es-ES" sz="1200" kern="1200"/>
        </a:p>
      </dsp:txBody>
      <dsp:txXfrm>
        <a:off x="1314508" y="0"/>
        <a:ext cx="876339" cy="739320"/>
      </dsp:txXfrm>
    </dsp:sp>
    <dsp:sp modelId="{93C65C30-E538-4DD0-B749-184308B1081C}">
      <dsp:nvSpPr>
        <dsp:cNvPr id="0" name=""/>
        <dsp:cNvSpPr/>
      </dsp:nvSpPr>
      <dsp:spPr>
        <a:xfrm>
          <a:off x="876339" y="739320"/>
          <a:ext cx="1752678" cy="739320"/>
        </a:xfrm>
        <a:prstGeom prst="trapezoid">
          <a:avLst>
            <a:gd name="adj" fmla="val 59266"/>
          </a:avLst>
        </a:prstGeom>
        <a:solidFill>
          <a:schemeClr val="accent1">
            <a:shade val="80000"/>
            <a:hueOff val="162522"/>
            <a:satOff val="-9208"/>
            <a:lumOff val="1047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s-ES_tradnl" sz="1200" kern="1200"/>
            <a:t>Sistema</a:t>
          </a:r>
          <a:endParaRPr lang="es-ES" sz="1200" kern="1200"/>
        </a:p>
      </dsp:txBody>
      <dsp:txXfrm>
        <a:off x="1183057" y="739320"/>
        <a:ext cx="1139241" cy="739320"/>
      </dsp:txXfrm>
    </dsp:sp>
    <dsp:sp modelId="{139FDFED-4BA7-480B-8DDB-BCCD89C61433}">
      <dsp:nvSpPr>
        <dsp:cNvPr id="0" name=""/>
        <dsp:cNvSpPr/>
      </dsp:nvSpPr>
      <dsp:spPr>
        <a:xfrm>
          <a:off x="438169" y="1478641"/>
          <a:ext cx="2629017" cy="739320"/>
        </a:xfrm>
        <a:prstGeom prst="trapezoid">
          <a:avLst>
            <a:gd name="adj" fmla="val 59266"/>
          </a:avLst>
        </a:prstGeom>
        <a:solidFill>
          <a:schemeClr val="accent1">
            <a:shade val="80000"/>
            <a:hueOff val="325044"/>
            <a:satOff val="-18416"/>
            <a:lumOff val="209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s-ES_tradnl" sz="1200" kern="1200"/>
            <a:t>Integración</a:t>
          </a:r>
          <a:endParaRPr lang="es-ES" sz="1200" kern="1200"/>
        </a:p>
      </dsp:txBody>
      <dsp:txXfrm>
        <a:off x="898247" y="1478641"/>
        <a:ext cx="1708861" cy="739320"/>
      </dsp:txXfrm>
    </dsp:sp>
    <dsp:sp modelId="{955A72A2-6991-4DD6-9704-23E9C4861001}">
      <dsp:nvSpPr>
        <dsp:cNvPr id="0" name=""/>
        <dsp:cNvSpPr/>
      </dsp:nvSpPr>
      <dsp:spPr>
        <a:xfrm>
          <a:off x="0" y="2217963"/>
          <a:ext cx="3505357" cy="739320"/>
        </a:xfrm>
        <a:prstGeom prst="trapezoid">
          <a:avLst>
            <a:gd name="adj" fmla="val 59266"/>
          </a:avLst>
        </a:prstGeom>
        <a:solidFill>
          <a:schemeClr val="accent1">
            <a:shade val="80000"/>
            <a:hueOff val="487566"/>
            <a:satOff val="-27624"/>
            <a:lumOff val="314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s-ES_tradnl" sz="1200" kern="1200"/>
            <a:t>Unidad</a:t>
          </a:r>
          <a:endParaRPr lang="es-ES" sz="1200" kern="1200"/>
        </a:p>
      </dsp:txBody>
      <dsp:txXfrm>
        <a:off x="613437" y="2217963"/>
        <a:ext cx="2278482" cy="7393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7F619C-A162-4A08-87A9-5A771585E855}">
      <dsp:nvSpPr>
        <dsp:cNvPr id="0" name=""/>
        <dsp:cNvSpPr/>
      </dsp:nvSpPr>
      <dsp:spPr>
        <a:xfrm>
          <a:off x="956555" y="1643"/>
          <a:ext cx="1767484" cy="1060490"/>
        </a:xfrm>
        <a:prstGeom prst="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s-ES" sz="1700" b="1" kern="1200">
              <a:effectLst/>
              <a:latin typeface="Calibri" panose="020F0502020204030204" pitchFamily="34" charset="0"/>
              <a:ea typeface="Calibri" panose="020F0502020204030204" pitchFamily="34" charset="0"/>
              <a:cs typeface="Times New Roman" panose="02020603050405020304" pitchFamily="18" charset="0"/>
            </a:rPr>
            <a:t>Interdisciplinario</a:t>
          </a:r>
          <a:endParaRPr lang="es-ES" sz="1700" kern="1200"/>
        </a:p>
      </dsp:txBody>
      <dsp:txXfrm>
        <a:off x="956555" y="1643"/>
        <a:ext cx="1767484" cy="1060490"/>
      </dsp:txXfrm>
    </dsp:sp>
    <dsp:sp modelId="{D65CD26A-1C93-4CFD-A6AB-AB7D622BF1C7}">
      <dsp:nvSpPr>
        <dsp:cNvPr id="0" name=""/>
        <dsp:cNvSpPr/>
      </dsp:nvSpPr>
      <dsp:spPr>
        <a:xfrm>
          <a:off x="2900788" y="1643"/>
          <a:ext cx="1767484" cy="1060490"/>
        </a:xfrm>
        <a:prstGeom prst="rect">
          <a:avLst/>
        </a:prstGeom>
        <a:solidFill>
          <a:schemeClr val="accent1">
            <a:shade val="50000"/>
            <a:hueOff val="111796"/>
            <a:satOff val="-6439"/>
            <a:lumOff val="943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s-ES" sz="1700" b="1" kern="1200">
              <a:effectLst/>
              <a:latin typeface="Calibri" panose="020F0502020204030204" pitchFamily="34" charset="0"/>
              <a:ea typeface="Calibri" panose="020F0502020204030204" pitchFamily="34" charset="0"/>
              <a:cs typeface="Times New Roman" panose="02020603050405020304" pitchFamily="18" charset="0"/>
            </a:rPr>
            <a:t>Autoorganizado</a:t>
          </a:r>
          <a:endParaRPr lang="es-ES" sz="1700" kern="1200"/>
        </a:p>
      </dsp:txBody>
      <dsp:txXfrm>
        <a:off x="2900788" y="1643"/>
        <a:ext cx="1767484" cy="1060490"/>
      </dsp:txXfrm>
    </dsp:sp>
    <dsp:sp modelId="{5C7ACBDA-20E4-4F1B-B1CD-AD5CE65BBBC3}">
      <dsp:nvSpPr>
        <dsp:cNvPr id="0" name=""/>
        <dsp:cNvSpPr/>
      </dsp:nvSpPr>
      <dsp:spPr>
        <a:xfrm>
          <a:off x="4845021" y="1643"/>
          <a:ext cx="1767484" cy="1060490"/>
        </a:xfrm>
        <a:prstGeom prst="rect">
          <a:avLst/>
        </a:prstGeom>
        <a:solidFill>
          <a:schemeClr val="accent1">
            <a:shade val="50000"/>
            <a:hueOff val="223592"/>
            <a:satOff val="-12878"/>
            <a:lumOff val="1887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s-ES" sz="1700" b="1" kern="1200">
              <a:effectLst/>
              <a:latin typeface="Calibri" panose="020F0502020204030204" pitchFamily="34" charset="0"/>
              <a:ea typeface="Calibri" panose="020F0502020204030204" pitchFamily="34" charset="0"/>
              <a:cs typeface="Times New Roman" panose="02020603050405020304" pitchFamily="18" charset="0"/>
            </a:rPr>
            <a:t>Ubicación común</a:t>
          </a:r>
          <a:endParaRPr lang="es-ES" sz="1700" kern="1200"/>
        </a:p>
      </dsp:txBody>
      <dsp:txXfrm>
        <a:off x="4845021" y="1643"/>
        <a:ext cx="1767484" cy="1060490"/>
      </dsp:txXfrm>
    </dsp:sp>
    <dsp:sp modelId="{78ECA4DC-2886-441C-B1FD-3989BA486D8F}">
      <dsp:nvSpPr>
        <dsp:cNvPr id="0" name=""/>
        <dsp:cNvSpPr/>
      </dsp:nvSpPr>
      <dsp:spPr>
        <a:xfrm>
          <a:off x="6789254" y="1643"/>
          <a:ext cx="1767484" cy="1060490"/>
        </a:xfrm>
        <a:prstGeom prst="rect">
          <a:avLst/>
        </a:prstGeom>
        <a:solidFill>
          <a:schemeClr val="accent1">
            <a:shade val="50000"/>
            <a:hueOff val="335388"/>
            <a:satOff val="-19317"/>
            <a:lumOff val="283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s-ES" sz="1700" b="1" kern="1200">
              <a:effectLst/>
              <a:latin typeface="Calibri" panose="020F0502020204030204" pitchFamily="34" charset="0"/>
              <a:ea typeface="Calibri" panose="020F0502020204030204" pitchFamily="34" charset="0"/>
              <a:cs typeface="Times New Roman" panose="02020603050405020304" pitchFamily="18" charset="0"/>
            </a:rPr>
            <a:t>Colaborativo</a:t>
          </a:r>
          <a:endParaRPr lang="es-ES" sz="1700" kern="1200"/>
        </a:p>
      </dsp:txBody>
      <dsp:txXfrm>
        <a:off x="6789254" y="1643"/>
        <a:ext cx="1767484" cy="1060490"/>
      </dsp:txXfrm>
    </dsp:sp>
    <dsp:sp modelId="{40EC81BD-623D-4F5B-AE49-A9E4D7630C4A}">
      <dsp:nvSpPr>
        <dsp:cNvPr id="0" name=""/>
        <dsp:cNvSpPr/>
      </dsp:nvSpPr>
      <dsp:spPr>
        <a:xfrm>
          <a:off x="956555" y="1238882"/>
          <a:ext cx="1767484" cy="1060490"/>
        </a:xfrm>
        <a:prstGeom prst="rect">
          <a:avLst/>
        </a:prstGeom>
        <a:solidFill>
          <a:schemeClr val="accent1">
            <a:shade val="50000"/>
            <a:hueOff val="447184"/>
            <a:satOff val="-25756"/>
            <a:lumOff val="377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s-ES" sz="1700" b="1" kern="1200">
              <a:effectLst/>
              <a:latin typeface="Calibri" panose="020F0502020204030204" pitchFamily="34" charset="0"/>
              <a:ea typeface="Calibri" panose="020F0502020204030204" pitchFamily="34" charset="0"/>
              <a:cs typeface="Times New Roman" panose="02020603050405020304" pitchFamily="18" charset="0"/>
            </a:rPr>
            <a:t>Empoderado</a:t>
          </a:r>
          <a:endParaRPr lang="es-ES" sz="1700" kern="1200"/>
        </a:p>
      </dsp:txBody>
      <dsp:txXfrm>
        <a:off x="956555" y="1238882"/>
        <a:ext cx="1767484" cy="1060490"/>
      </dsp:txXfrm>
    </dsp:sp>
    <dsp:sp modelId="{D625CBB5-01EC-4F16-BCEC-0D262AF513D7}">
      <dsp:nvSpPr>
        <dsp:cNvPr id="0" name=""/>
        <dsp:cNvSpPr/>
      </dsp:nvSpPr>
      <dsp:spPr>
        <a:xfrm>
          <a:off x="2900788" y="1238882"/>
          <a:ext cx="1767484" cy="1060490"/>
        </a:xfrm>
        <a:prstGeom prst="rect">
          <a:avLst/>
        </a:prstGeom>
        <a:solidFill>
          <a:schemeClr val="accent1">
            <a:shade val="50000"/>
            <a:hueOff val="558980"/>
            <a:satOff val="-32195"/>
            <a:lumOff val="4718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s-ES" sz="1700" b="1" kern="1200">
              <a:effectLst/>
              <a:latin typeface="Calibri" panose="020F0502020204030204" pitchFamily="34" charset="0"/>
              <a:ea typeface="Calibri" panose="020F0502020204030204" pitchFamily="34" charset="0"/>
              <a:cs typeface="Times New Roman" panose="02020603050405020304" pitchFamily="18" charset="0"/>
            </a:rPr>
            <a:t>Comprometido</a:t>
          </a:r>
          <a:endParaRPr lang="es-ES" sz="1700" kern="1200"/>
        </a:p>
      </dsp:txBody>
      <dsp:txXfrm>
        <a:off x="2900788" y="1238882"/>
        <a:ext cx="1767484" cy="1060490"/>
      </dsp:txXfrm>
    </dsp:sp>
    <dsp:sp modelId="{4CF918B7-87EE-42A8-94EF-7CA39FFED30E}">
      <dsp:nvSpPr>
        <dsp:cNvPr id="0" name=""/>
        <dsp:cNvSpPr/>
      </dsp:nvSpPr>
      <dsp:spPr>
        <a:xfrm>
          <a:off x="4845021" y="1238882"/>
          <a:ext cx="1767484" cy="1060490"/>
        </a:xfrm>
        <a:prstGeom prst="rect">
          <a:avLst/>
        </a:prstGeom>
        <a:solidFill>
          <a:schemeClr val="accent1">
            <a:shade val="50000"/>
            <a:hueOff val="447184"/>
            <a:satOff val="-25756"/>
            <a:lumOff val="377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s-ES" sz="1700" b="1" kern="1200">
              <a:effectLst/>
              <a:latin typeface="Calibri" panose="020F0502020204030204" pitchFamily="34" charset="0"/>
              <a:ea typeface="Calibri" panose="020F0502020204030204" pitchFamily="34" charset="0"/>
              <a:cs typeface="Times New Roman" panose="02020603050405020304" pitchFamily="18" charset="0"/>
            </a:rPr>
            <a:t>Transparente</a:t>
          </a:r>
          <a:endParaRPr lang="es-ES" sz="1700" kern="1200"/>
        </a:p>
      </dsp:txBody>
      <dsp:txXfrm>
        <a:off x="4845021" y="1238882"/>
        <a:ext cx="1767484" cy="1060490"/>
      </dsp:txXfrm>
    </dsp:sp>
    <dsp:sp modelId="{E616B686-BE8F-4C4D-B02F-D55A5BDE9D40}">
      <dsp:nvSpPr>
        <dsp:cNvPr id="0" name=""/>
        <dsp:cNvSpPr/>
      </dsp:nvSpPr>
      <dsp:spPr>
        <a:xfrm>
          <a:off x="6789254" y="1238882"/>
          <a:ext cx="1767484" cy="1060490"/>
        </a:xfrm>
        <a:prstGeom prst="rect">
          <a:avLst/>
        </a:prstGeom>
        <a:solidFill>
          <a:schemeClr val="accent1">
            <a:shade val="50000"/>
            <a:hueOff val="335388"/>
            <a:satOff val="-19317"/>
            <a:lumOff val="283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s-ES" sz="1700" b="1" kern="1200">
              <a:effectLst/>
              <a:latin typeface="Calibri" panose="020F0502020204030204" pitchFamily="34" charset="0"/>
              <a:ea typeface="Calibri" panose="020F0502020204030204" pitchFamily="34" charset="0"/>
              <a:cs typeface="Times New Roman" panose="02020603050405020304" pitchFamily="18" charset="0"/>
            </a:rPr>
            <a:t>Creíble</a:t>
          </a:r>
          <a:endParaRPr lang="es-ES" sz="1700" kern="1200"/>
        </a:p>
      </dsp:txBody>
      <dsp:txXfrm>
        <a:off x="6789254" y="1238882"/>
        <a:ext cx="1767484" cy="1060490"/>
      </dsp:txXfrm>
    </dsp:sp>
    <dsp:sp modelId="{1A152FE6-6C35-4142-92BF-08AC98E6EE8E}">
      <dsp:nvSpPr>
        <dsp:cNvPr id="0" name=""/>
        <dsp:cNvSpPr/>
      </dsp:nvSpPr>
      <dsp:spPr>
        <a:xfrm>
          <a:off x="2900788" y="2476121"/>
          <a:ext cx="1767484" cy="1060490"/>
        </a:xfrm>
        <a:prstGeom prst="rect">
          <a:avLst/>
        </a:prstGeom>
        <a:solidFill>
          <a:schemeClr val="accent1">
            <a:shade val="50000"/>
            <a:hueOff val="223592"/>
            <a:satOff val="-12878"/>
            <a:lumOff val="1887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s-ES" sz="1700" b="1" kern="1200">
              <a:effectLst/>
              <a:latin typeface="Calibri" panose="020F0502020204030204" pitchFamily="34" charset="0"/>
              <a:ea typeface="Calibri" panose="020F0502020204030204" pitchFamily="34" charset="0"/>
              <a:cs typeface="Times New Roman" panose="02020603050405020304" pitchFamily="18" charset="0"/>
            </a:rPr>
            <a:t>Abierto a la retroalimentación</a:t>
          </a:r>
          <a:endParaRPr lang="es-ES" sz="1700" kern="1200"/>
        </a:p>
      </dsp:txBody>
      <dsp:txXfrm>
        <a:off x="2900788" y="2476121"/>
        <a:ext cx="1767484" cy="1060490"/>
      </dsp:txXfrm>
    </dsp:sp>
    <dsp:sp modelId="{EC25121E-92BC-41B3-8760-95E448E12B23}">
      <dsp:nvSpPr>
        <dsp:cNvPr id="0" name=""/>
        <dsp:cNvSpPr/>
      </dsp:nvSpPr>
      <dsp:spPr>
        <a:xfrm>
          <a:off x="4845021" y="2476121"/>
          <a:ext cx="1767484" cy="1060490"/>
        </a:xfrm>
        <a:prstGeom prst="rect">
          <a:avLst/>
        </a:prstGeom>
        <a:solidFill>
          <a:schemeClr val="accent1">
            <a:shade val="50000"/>
            <a:hueOff val="111796"/>
            <a:satOff val="-6439"/>
            <a:lumOff val="943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Font typeface="Wingdings" panose="05000000000000000000" pitchFamily="2" charset="2"/>
            <a:buNone/>
          </a:pPr>
          <a:r>
            <a:rPr lang="es-ES" sz="1700" b="1" kern="1200">
              <a:effectLst/>
              <a:latin typeface="Calibri" panose="020F0502020204030204" pitchFamily="34" charset="0"/>
              <a:ea typeface="Calibri" panose="020F0502020204030204" pitchFamily="34" charset="0"/>
              <a:cs typeface="Times New Roman" panose="02020603050405020304" pitchFamily="18" charset="0"/>
            </a:rPr>
            <a:t>Resiliente</a:t>
          </a:r>
          <a:endParaRPr lang="es-ES" sz="1700" kern="1200"/>
        </a:p>
      </dsp:txBody>
      <dsp:txXfrm>
        <a:off x="4845021" y="2476121"/>
        <a:ext cx="1767484" cy="106049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3"/>
            <a:ext cx="2945862" cy="495873"/>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0294" y="3"/>
            <a:ext cx="2945862" cy="495873"/>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2/17/2024</a:t>
            </a:fld>
            <a:endParaRPr lang="en-US">
              <a:latin typeface="Arial" panose="020B0604020202020204" pitchFamily="34" charset="0"/>
            </a:endParaRPr>
          </a:p>
        </p:txBody>
      </p:sp>
      <p:sp>
        <p:nvSpPr>
          <p:cNvPr id="4" name="Footer Placeholder 3"/>
          <p:cNvSpPr>
            <a:spLocks noGrp="1"/>
          </p:cNvSpPr>
          <p:nvPr>
            <p:ph type="ftr" sz="quarter" idx="2"/>
          </p:nvPr>
        </p:nvSpPr>
        <p:spPr>
          <a:xfrm>
            <a:off x="6" y="9430816"/>
            <a:ext cx="2945862" cy="495873"/>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50294" y="9430816"/>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2945659" cy="49641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s-ES_tradnl"/>
          </a:p>
        </p:txBody>
      </p:sp>
      <p:sp>
        <p:nvSpPr>
          <p:cNvPr id="3" name="Date Placeholder 2"/>
          <p:cNvSpPr>
            <a:spLocks noGrp="1"/>
          </p:cNvSpPr>
          <p:nvPr>
            <p:ph type="dt" idx="1"/>
          </p:nvPr>
        </p:nvSpPr>
        <p:spPr>
          <a:xfrm>
            <a:off x="3850447" y="3"/>
            <a:ext cx="2945659" cy="49641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s-ES_tradnl" smtClean="0"/>
              <a:pPr/>
              <a:t>17/12/2024</a:t>
            </a:fld>
            <a:endParaRPr lang="es-ES_tradnl"/>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679768" y="4715910"/>
            <a:ext cx="5438140" cy="4467701"/>
          </a:xfrm>
          <a:prstGeom prst="rect">
            <a:avLst/>
          </a:prstGeom>
        </p:spPr>
        <p:txBody>
          <a:bodyPr vert="horz" lIns="98478" tIns="49238" rIns="98478" bIns="49238" rtlCol="0">
            <a:normAutofit/>
          </a:bodyPr>
          <a:lstStyle/>
          <a:p>
            <a:pPr lvl="0"/>
            <a:r>
              <a:rPr lang="es-ES_tradnl" err="1"/>
              <a:t>Click</a:t>
            </a:r>
            <a:r>
              <a:rPr lang="es-ES_tradnl"/>
              <a:t> to </a:t>
            </a:r>
            <a:r>
              <a:rPr lang="es-ES_tradnl" err="1"/>
              <a:t>edit</a:t>
            </a:r>
            <a:r>
              <a:rPr lang="es-ES_tradnl"/>
              <a:t> Master </a:t>
            </a:r>
            <a:r>
              <a:rPr lang="es-ES_tradnl" err="1"/>
              <a:t>text</a:t>
            </a:r>
            <a:r>
              <a:rPr lang="es-ES_tradnl"/>
              <a:t> </a:t>
            </a:r>
            <a:r>
              <a:rPr lang="es-ES_tradnl" err="1"/>
              <a:t>styles</a:t>
            </a:r>
            <a:endParaRPr lang="es-ES_tradnl"/>
          </a:p>
          <a:p>
            <a:pPr lvl="1"/>
            <a:r>
              <a:rPr lang="es-ES_tradnl" err="1"/>
              <a:t>Second</a:t>
            </a:r>
            <a:r>
              <a:rPr lang="es-ES_tradnl"/>
              <a:t> </a:t>
            </a:r>
            <a:r>
              <a:rPr lang="es-ES_tradnl" err="1"/>
              <a:t>level</a:t>
            </a:r>
            <a:endParaRPr lang="es-ES_tradnl"/>
          </a:p>
          <a:p>
            <a:pPr lvl="2"/>
            <a:r>
              <a:rPr lang="es-ES_tradnl" err="1"/>
              <a:t>Third</a:t>
            </a:r>
            <a:r>
              <a:rPr lang="es-ES_tradnl"/>
              <a:t> </a:t>
            </a:r>
            <a:r>
              <a:rPr lang="es-ES_tradnl" err="1"/>
              <a:t>level</a:t>
            </a:r>
            <a:endParaRPr lang="es-ES_tradnl"/>
          </a:p>
          <a:p>
            <a:pPr lvl="3"/>
            <a:r>
              <a:rPr lang="es-ES_tradnl" err="1"/>
              <a:t>Fourth</a:t>
            </a:r>
            <a:r>
              <a:rPr lang="es-ES_tradnl"/>
              <a:t> </a:t>
            </a:r>
            <a:r>
              <a:rPr lang="es-ES_tradnl" err="1"/>
              <a:t>level</a:t>
            </a:r>
            <a:endParaRPr lang="es-ES_tradnl"/>
          </a:p>
          <a:p>
            <a:pPr lvl="4"/>
            <a:r>
              <a:rPr lang="es-ES_tradnl" err="1"/>
              <a:t>Fifth</a:t>
            </a:r>
            <a:r>
              <a:rPr lang="es-ES_tradnl"/>
              <a:t> </a:t>
            </a:r>
            <a:r>
              <a:rPr lang="es-ES_tradnl" err="1"/>
              <a:t>level</a:t>
            </a:r>
            <a:endParaRPr lang="es-ES_tradnl"/>
          </a:p>
        </p:txBody>
      </p:sp>
      <p:sp>
        <p:nvSpPr>
          <p:cNvPr id="6" name="Footer Placeholder 5"/>
          <p:cNvSpPr>
            <a:spLocks noGrp="1"/>
          </p:cNvSpPr>
          <p:nvPr>
            <p:ph type="ftr" sz="quarter" idx="4"/>
          </p:nvPr>
        </p:nvSpPr>
        <p:spPr>
          <a:xfrm>
            <a:off x="2" y="9430094"/>
            <a:ext cx="2945659" cy="49641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s-ES_tradnl"/>
          </a:p>
        </p:txBody>
      </p:sp>
      <p:sp>
        <p:nvSpPr>
          <p:cNvPr id="7" name="Slide Number Placeholder 6"/>
          <p:cNvSpPr>
            <a:spLocks noGrp="1"/>
          </p:cNvSpPr>
          <p:nvPr>
            <p:ph type="sldNum" sz="quarter" idx="5"/>
          </p:nvPr>
        </p:nvSpPr>
        <p:spPr>
          <a:xfrm>
            <a:off x="3850447" y="9430094"/>
            <a:ext cx="2945659" cy="49641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s-ES_tradnl" smtClean="0"/>
              <a:pPr/>
              <a:t>‹#›</a:t>
            </a:fld>
            <a:endParaRPr lang="es-ES_tradnl"/>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263" y="793750"/>
            <a:ext cx="7029450" cy="3954463"/>
          </a:xfrm>
        </p:spPr>
      </p:sp>
      <p:sp>
        <p:nvSpPr>
          <p:cNvPr id="3" name="Notes Placeholder 2"/>
          <p:cNvSpPr>
            <a:spLocks noGrp="1"/>
          </p:cNvSpPr>
          <p:nvPr>
            <p:ph type="body" idx="1"/>
          </p:nvPr>
        </p:nvSpPr>
        <p:spPr/>
        <p:txBody>
          <a:bodyPr/>
          <a:lstStyle/>
          <a:p>
            <a:endParaRPr lang="es-ES_tradnl"/>
          </a:p>
        </p:txBody>
      </p:sp>
    </p:spTree>
    <p:extLst>
      <p:ext uri="{BB962C8B-B14F-4D97-AF65-F5344CB8AC3E}">
        <p14:creationId xmlns:p14="http://schemas.microsoft.com/office/powerpoint/2010/main" val="3496084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13</a:t>
            </a:fld>
            <a:endParaRPr lang="es-ES_tradnl"/>
          </a:p>
        </p:txBody>
      </p:sp>
    </p:spTree>
    <p:extLst>
      <p:ext uri="{BB962C8B-B14F-4D97-AF65-F5344CB8AC3E}">
        <p14:creationId xmlns:p14="http://schemas.microsoft.com/office/powerpoint/2010/main" val="21380225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14</a:t>
            </a:fld>
            <a:endParaRPr lang="es-ES_tradnl"/>
          </a:p>
        </p:txBody>
      </p:sp>
    </p:spTree>
    <p:extLst>
      <p:ext uri="{BB962C8B-B14F-4D97-AF65-F5344CB8AC3E}">
        <p14:creationId xmlns:p14="http://schemas.microsoft.com/office/powerpoint/2010/main" val="2057069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15</a:t>
            </a:fld>
            <a:endParaRPr lang="es-ES_tradnl"/>
          </a:p>
        </p:txBody>
      </p:sp>
    </p:spTree>
    <p:extLst>
      <p:ext uri="{BB962C8B-B14F-4D97-AF65-F5344CB8AC3E}">
        <p14:creationId xmlns:p14="http://schemas.microsoft.com/office/powerpoint/2010/main" val="39729654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16</a:t>
            </a:fld>
            <a:endParaRPr lang="es-ES_tradnl"/>
          </a:p>
        </p:txBody>
      </p:sp>
    </p:spTree>
    <p:extLst>
      <p:ext uri="{BB962C8B-B14F-4D97-AF65-F5344CB8AC3E}">
        <p14:creationId xmlns:p14="http://schemas.microsoft.com/office/powerpoint/2010/main" val="31745991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17</a:t>
            </a:fld>
            <a:endParaRPr lang="es-ES_tradnl"/>
          </a:p>
        </p:txBody>
      </p:sp>
    </p:spTree>
    <p:extLst>
      <p:ext uri="{BB962C8B-B14F-4D97-AF65-F5344CB8AC3E}">
        <p14:creationId xmlns:p14="http://schemas.microsoft.com/office/powerpoint/2010/main" val="1743225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18</a:t>
            </a:fld>
            <a:endParaRPr lang="es-ES_tradnl"/>
          </a:p>
        </p:txBody>
      </p:sp>
    </p:spTree>
    <p:extLst>
      <p:ext uri="{BB962C8B-B14F-4D97-AF65-F5344CB8AC3E}">
        <p14:creationId xmlns:p14="http://schemas.microsoft.com/office/powerpoint/2010/main" val="2093014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19</a:t>
            </a:fld>
            <a:endParaRPr lang="es-ES_tradnl"/>
          </a:p>
        </p:txBody>
      </p:sp>
    </p:spTree>
    <p:extLst>
      <p:ext uri="{BB962C8B-B14F-4D97-AF65-F5344CB8AC3E}">
        <p14:creationId xmlns:p14="http://schemas.microsoft.com/office/powerpoint/2010/main" val="31026725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20</a:t>
            </a:fld>
            <a:endParaRPr lang="es-ES_tradnl"/>
          </a:p>
        </p:txBody>
      </p:sp>
    </p:spTree>
    <p:extLst>
      <p:ext uri="{BB962C8B-B14F-4D97-AF65-F5344CB8AC3E}">
        <p14:creationId xmlns:p14="http://schemas.microsoft.com/office/powerpoint/2010/main" val="23972689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21</a:t>
            </a:fld>
            <a:endParaRPr lang="es-ES_tradnl"/>
          </a:p>
        </p:txBody>
      </p:sp>
    </p:spTree>
    <p:extLst>
      <p:ext uri="{BB962C8B-B14F-4D97-AF65-F5344CB8AC3E}">
        <p14:creationId xmlns:p14="http://schemas.microsoft.com/office/powerpoint/2010/main" val="30773599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22</a:t>
            </a:fld>
            <a:endParaRPr lang="es-ES_tradnl"/>
          </a:p>
        </p:txBody>
      </p:sp>
    </p:spTree>
    <p:extLst>
      <p:ext uri="{BB962C8B-B14F-4D97-AF65-F5344CB8AC3E}">
        <p14:creationId xmlns:p14="http://schemas.microsoft.com/office/powerpoint/2010/main" val="4231496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397625" cy="3598863"/>
          </a:xfrm>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3</a:t>
            </a:fld>
            <a:endParaRPr lang="es-ES_tradnl"/>
          </a:p>
        </p:txBody>
      </p:sp>
    </p:spTree>
    <p:extLst>
      <p:ext uri="{BB962C8B-B14F-4D97-AF65-F5344CB8AC3E}">
        <p14:creationId xmlns:p14="http://schemas.microsoft.com/office/powerpoint/2010/main" val="30430588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23</a:t>
            </a:fld>
            <a:endParaRPr lang="es-ES_tradnl"/>
          </a:p>
        </p:txBody>
      </p:sp>
    </p:spTree>
    <p:extLst>
      <p:ext uri="{BB962C8B-B14F-4D97-AF65-F5344CB8AC3E}">
        <p14:creationId xmlns:p14="http://schemas.microsoft.com/office/powerpoint/2010/main" val="35622229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24</a:t>
            </a:fld>
            <a:endParaRPr lang="es-ES_tradnl"/>
          </a:p>
        </p:txBody>
      </p:sp>
    </p:spTree>
    <p:extLst>
      <p:ext uri="{BB962C8B-B14F-4D97-AF65-F5344CB8AC3E}">
        <p14:creationId xmlns:p14="http://schemas.microsoft.com/office/powerpoint/2010/main" val="41973780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25</a:t>
            </a:fld>
            <a:endParaRPr lang="es-ES_tradnl"/>
          </a:p>
        </p:txBody>
      </p:sp>
    </p:spTree>
    <p:extLst>
      <p:ext uri="{BB962C8B-B14F-4D97-AF65-F5344CB8AC3E}">
        <p14:creationId xmlns:p14="http://schemas.microsoft.com/office/powerpoint/2010/main" val="6541780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26</a:t>
            </a:fld>
            <a:endParaRPr lang="es-ES_tradnl"/>
          </a:p>
        </p:txBody>
      </p:sp>
    </p:spTree>
    <p:extLst>
      <p:ext uri="{BB962C8B-B14F-4D97-AF65-F5344CB8AC3E}">
        <p14:creationId xmlns:p14="http://schemas.microsoft.com/office/powerpoint/2010/main" val="32216315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27</a:t>
            </a:fld>
            <a:endParaRPr lang="es-ES_tradnl"/>
          </a:p>
        </p:txBody>
      </p:sp>
    </p:spTree>
    <p:extLst>
      <p:ext uri="{BB962C8B-B14F-4D97-AF65-F5344CB8AC3E}">
        <p14:creationId xmlns:p14="http://schemas.microsoft.com/office/powerpoint/2010/main" val="28413665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28</a:t>
            </a:fld>
            <a:endParaRPr lang="es-ES_tradnl"/>
          </a:p>
        </p:txBody>
      </p:sp>
    </p:spTree>
    <p:extLst>
      <p:ext uri="{BB962C8B-B14F-4D97-AF65-F5344CB8AC3E}">
        <p14:creationId xmlns:p14="http://schemas.microsoft.com/office/powerpoint/2010/main" val="35608669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29</a:t>
            </a:fld>
            <a:endParaRPr lang="es-ES_tradnl"/>
          </a:p>
        </p:txBody>
      </p:sp>
    </p:spTree>
    <p:extLst>
      <p:ext uri="{BB962C8B-B14F-4D97-AF65-F5344CB8AC3E}">
        <p14:creationId xmlns:p14="http://schemas.microsoft.com/office/powerpoint/2010/main" val="13710520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30</a:t>
            </a:fld>
            <a:endParaRPr lang="es-ES_tradnl"/>
          </a:p>
        </p:txBody>
      </p:sp>
    </p:spTree>
    <p:extLst>
      <p:ext uri="{BB962C8B-B14F-4D97-AF65-F5344CB8AC3E}">
        <p14:creationId xmlns:p14="http://schemas.microsoft.com/office/powerpoint/2010/main" val="33509486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31</a:t>
            </a:fld>
            <a:endParaRPr lang="es-ES_tradnl"/>
          </a:p>
        </p:txBody>
      </p:sp>
    </p:spTree>
    <p:extLst>
      <p:ext uri="{BB962C8B-B14F-4D97-AF65-F5344CB8AC3E}">
        <p14:creationId xmlns:p14="http://schemas.microsoft.com/office/powerpoint/2010/main" val="32930036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32</a:t>
            </a:fld>
            <a:endParaRPr lang="es-ES_tradnl"/>
          </a:p>
        </p:txBody>
      </p:sp>
    </p:spTree>
    <p:extLst>
      <p:ext uri="{BB962C8B-B14F-4D97-AF65-F5344CB8AC3E}">
        <p14:creationId xmlns:p14="http://schemas.microsoft.com/office/powerpoint/2010/main" val="4161180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6</a:t>
            </a:fld>
            <a:endParaRPr lang="es-ES_tradnl"/>
          </a:p>
        </p:txBody>
      </p:sp>
    </p:spTree>
    <p:extLst>
      <p:ext uri="{BB962C8B-B14F-4D97-AF65-F5344CB8AC3E}">
        <p14:creationId xmlns:p14="http://schemas.microsoft.com/office/powerpoint/2010/main" val="11668351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33</a:t>
            </a:fld>
            <a:endParaRPr lang="es-ES_tradnl"/>
          </a:p>
        </p:txBody>
      </p:sp>
    </p:spTree>
    <p:extLst>
      <p:ext uri="{BB962C8B-B14F-4D97-AF65-F5344CB8AC3E}">
        <p14:creationId xmlns:p14="http://schemas.microsoft.com/office/powerpoint/2010/main" val="10982765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397625" cy="3598863"/>
          </a:xfrm>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34</a:t>
            </a:fld>
            <a:endParaRPr lang="es-ES_tradnl"/>
          </a:p>
        </p:txBody>
      </p:sp>
    </p:spTree>
    <p:extLst>
      <p:ext uri="{BB962C8B-B14F-4D97-AF65-F5344CB8AC3E}">
        <p14:creationId xmlns:p14="http://schemas.microsoft.com/office/powerpoint/2010/main" val="20959545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36</a:t>
            </a:fld>
            <a:endParaRPr lang="es-ES_tradnl"/>
          </a:p>
        </p:txBody>
      </p:sp>
    </p:spTree>
    <p:extLst>
      <p:ext uri="{BB962C8B-B14F-4D97-AF65-F5344CB8AC3E}">
        <p14:creationId xmlns:p14="http://schemas.microsoft.com/office/powerpoint/2010/main" val="6091137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37</a:t>
            </a:fld>
            <a:endParaRPr lang="es-ES_tradnl"/>
          </a:p>
        </p:txBody>
      </p:sp>
    </p:spTree>
    <p:extLst>
      <p:ext uri="{BB962C8B-B14F-4D97-AF65-F5344CB8AC3E}">
        <p14:creationId xmlns:p14="http://schemas.microsoft.com/office/powerpoint/2010/main" val="24899734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38</a:t>
            </a:fld>
            <a:endParaRPr lang="es-ES_tradnl"/>
          </a:p>
        </p:txBody>
      </p:sp>
    </p:spTree>
    <p:extLst>
      <p:ext uri="{BB962C8B-B14F-4D97-AF65-F5344CB8AC3E}">
        <p14:creationId xmlns:p14="http://schemas.microsoft.com/office/powerpoint/2010/main" val="16090130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39</a:t>
            </a:fld>
            <a:endParaRPr lang="es-ES_tradnl"/>
          </a:p>
        </p:txBody>
      </p:sp>
    </p:spTree>
    <p:extLst>
      <p:ext uri="{BB962C8B-B14F-4D97-AF65-F5344CB8AC3E}">
        <p14:creationId xmlns:p14="http://schemas.microsoft.com/office/powerpoint/2010/main" val="4093877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40</a:t>
            </a:fld>
            <a:endParaRPr lang="es-ES_tradnl"/>
          </a:p>
        </p:txBody>
      </p:sp>
    </p:spTree>
    <p:extLst>
      <p:ext uri="{BB962C8B-B14F-4D97-AF65-F5344CB8AC3E}">
        <p14:creationId xmlns:p14="http://schemas.microsoft.com/office/powerpoint/2010/main" val="27667376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41</a:t>
            </a:fld>
            <a:endParaRPr lang="es-ES_tradnl"/>
          </a:p>
        </p:txBody>
      </p:sp>
    </p:spTree>
    <p:extLst>
      <p:ext uri="{BB962C8B-B14F-4D97-AF65-F5344CB8AC3E}">
        <p14:creationId xmlns:p14="http://schemas.microsoft.com/office/powerpoint/2010/main" val="27110818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42</a:t>
            </a:fld>
            <a:endParaRPr lang="es-ES_tradnl"/>
          </a:p>
        </p:txBody>
      </p:sp>
    </p:spTree>
    <p:extLst>
      <p:ext uri="{BB962C8B-B14F-4D97-AF65-F5344CB8AC3E}">
        <p14:creationId xmlns:p14="http://schemas.microsoft.com/office/powerpoint/2010/main" val="42163265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43</a:t>
            </a:fld>
            <a:endParaRPr lang="es-ES_tradnl"/>
          </a:p>
        </p:txBody>
      </p:sp>
    </p:spTree>
    <p:extLst>
      <p:ext uri="{BB962C8B-B14F-4D97-AF65-F5344CB8AC3E}">
        <p14:creationId xmlns:p14="http://schemas.microsoft.com/office/powerpoint/2010/main" val="402646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7</a:t>
            </a:fld>
            <a:endParaRPr lang="es-ES_tradnl"/>
          </a:p>
        </p:txBody>
      </p:sp>
    </p:spTree>
    <p:extLst>
      <p:ext uri="{BB962C8B-B14F-4D97-AF65-F5344CB8AC3E}">
        <p14:creationId xmlns:p14="http://schemas.microsoft.com/office/powerpoint/2010/main" val="370170883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44</a:t>
            </a:fld>
            <a:endParaRPr lang="es-ES_tradnl"/>
          </a:p>
        </p:txBody>
      </p:sp>
    </p:spTree>
    <p:extLst>
      <p:ext uri="{BB962C8B-B14F-4D97-AF65-F5344CB8AC3E}">
        <p14:creationId xmlns:p14="http://schemas.microsoft.com/office/powerpoint/2010/main" val="2017588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45</a:t>
            </a:fld>
            <a:endParaRPr lang="es-ES_tradnl"/>
          </a:p>
        </p:txBody>
      </p:sp>
    </p:spTree>
    <p:extLst>
      <p:ext uri="{BB962C8B-B14F-4D97-AF65-F5344CB8AC3E}">
        <p14:creationId xmlns:p14="http://schemas.microsoft.com/office/powerpoint/2010/main" val="1788540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46</a:t>
            </a:fld>
            <a:endParaRPr lang="es-ES_tradnl"/>
          </a:p>
        </p:txBody>
      </p:sp>
    </p:spTree>
    <p:extLst>
      <p:ext uri="{BB962C8B-B14F-4D97-AF65-F5344CB8AC3E}">
        <p14:creationId xmlns:p14="http://schemas.microsoft.com/office/powerpoint/2010/main" val="34657482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47</a:t>
            </a:fld>
            <a:endParaRPr lang="es-ES_tradnl"/>
          </a:p>
        </p:txBody>
      </p:sp>
    </p:spTree>
    <p:extLst>
      <p:ext uri="{BB962C8B-B14F-4D97-AF65-F5344CB8AC3E}">
        <p14:creationId xmlns:p14="http://schemas.microsoft.com/office/powerpoint/2010/main" val="12975617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48</a:t>
            </a:fld>
            <a:endParaRPr lang="es-ES_tradnl"/>
          </a:p>
        </p:txBody>
      </p:sp>
    </p:spTree>
    <p:extLst>
      <p:ext uri="{BB962C8B-B14F-4D97-AF65-F5344CB8AC3E}">
        <p14:creationId xmlns:p14="http://schemas.microsoft.com/office/powerpoint/2010/main" val="10549511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49</a:t>
            </a:fld>
            <a:endParaRPr lang="es-ES_tradnl"/>
          </a:p>
        </p:txBody>
      </p:sp>
    </p:spTree>
    <p:extLst>
      <p:ext uri="{BB962C8B-B14F-4D97-AF65-F5344CB8AC3E}">
        <p14:creationId xmlns:p14="http://schemas.microsoft.com/office/powerpoint/2010/main" val="10773137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50</a:t>
            </a:fld>
            <a:endParaRPr lang="es-ES_tradnl"/>
          </a:p>
        </p:txBody>
      </p:sp>
    </p:spTree>
    <p:extLst>
      <p:ext uri="{BB962C8B-B14F-4D97-AF65-F5344CB8AC3E}">
        <p14:creationId xmlns:p14="http://schemas.microsoft.com/office/powerpoint/2010/main" val="9876894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51</a:t>
            </a:fld>
            <a:endParaRPr lang="es-ES_tradnl"/>
          </a:p>
        </p:txBody>
      </p:sp>
    </p:spTree>
    <p:extLst>
      <p:ext uri="{BB962C8B-B14F-4D97-AF65-F5344CB8AC3E}">
        <p14:creationId xmlns:p14="http://schemas.microsoft.com/office/powerpoint/2010/main" val="42865324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52</a:t>
            </a:fld>
            <a:endParaRPr lang="es-ES_tradnl"/>
          </a:p>
        </p:txBody>
      </p:sp>
    </p:spTree>
    <p:extLst>
      <p:ext uri="{BB962C8B-B14F-4D97-AF65-F5344CB8AC3E}">
        <p14:creationId xmlns:p14="http://schemas.microsoft.com/office/powerpoint/2010/main" val="1793841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53</a:t>
            </a:fld>
            <a:endParaRPr lang="es-ES_tradnl"/>
          </a:p>
        </p:txBody>
      </p:sp>
    </p:spTree>
    <p:extLst>
      <p:ext uri="{BB962C8B-B14F-4D97-AF65-F5344CB8AC3E}">
        <p14:creationId xmlns:p14="http://schemas.microsoft.com/office/powerpoint/2010/main" val="2327843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8</a:t>
            </a:fld>
            <a:endParaRPr lang="es-ES_tradnl"/>
          </a:p>
        </p:txBody>
      </p:sp>
    </p:spTree>
    <p:extLst>
      <p:ext uri="{BB962C8B-B14F-4D97-AF65-F5344CB8AC3E}">
        <p14:creationId xmlns:p14="http://schemas.microsoft.com/office/powerpoint/2010/main" val="1185006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54</a:t>
            </a:fld>
            <a:endParaRPr lang="es-ES_tradnl"/>
          </a:p>
        </p:txBody>
      </p:sp>
    </p:spTree>
    <p:extLst>
      <p:ext uri="{BB962C8B-B14F-4D97-AF65-F5344CB8AC3E}">
        <p14:creationId xmlns:p14="http://schemas.microsoft.com/office/powerpoint/2010/main" val="36965359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397625" cy="3598863"/>
          </a:xfrm>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55</a:t>
            </a:fld>
            <a:endParaRPr lang="es-ES_tradnl"/>
          </a:p>
        </p:txBody>
      </p:sp>
    </p:spTree>
    <p:extLst>
      <p:ext uri="{BB962C8B-B14F-4D97-AF65-F5344CB8AC3E}">
        <p14:creationId xmlns:p14="http://schemas.microsoft.com/office/powerpoint/2010/main" val="3603962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endParaRPr lang="es-ES" b="0" i="0">
              <a:solidFill>
                <a:srgbClr val="242424"/>
              </a:solidFill>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57</a:t>
            </a:fld>
            <a:endParaRPr lang="es-ES_tradnl"/>
          </a:p>
        </p:txBody>
      </p:sp>
    </p:spTree>
    <p:extLst>
      <p:ext uri="{BB962C8B-B14F-4D97-AF65-F5344CB8AC3E}">
        <p14:creationId xmlns:p14="http://schemas.microsoft.com/office/powerpoint/2010/main" val="8345969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58</a:t>
            </a:fld>
            <a:endParaRPr lang="es-ES_tradnl"/>
          </a:p>
        </p:txBody>
      </p:sp>
    </p:spTree>
    <p:extLst>
      <p:ext uri="{BB962C8B-B14F-4D97-AF65-F5344CB8AC3E}">
        <p14:creationId xmlns:p14="http://schemas.microsoft.com/office/powerpoint/2010/main" val="366472535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b="0" i="0">
              <a:solidFill>
                <a:srgbClr val="242424"/>
              </a:solidFill>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59</a:t>
            </a:fld>
            <a:endParaRPr lang="es-ES_tradnl"/>
          </a:p>
        </p:txBody>
      </p:sp>
    </p:spTree>
    <p:extLst>
      <p:ext uri="{BB962C8B-B14F-4D97-AF65-F5344CB8AC3E}">
        <p14:creationId xmlns:p14="http://schemas.microsoft.com/office/powerpoint/2010/main" val="35842688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60</a:t>
            </a:fld>
            <a:endParaRPr lang="es-ES_tradnl"/>
          </a:p>
        </p:txBody>
      </p:sp>
    </p:spTree>
    <p:extLst>
      <p:ext uri="{BB962C8B-B14F-4D97-AF65-F5344CB8AC3E}">
        <p14:creationId xmlns:p14="http://schemas.microsoft.com/office/powerpoint/2010/main" val="392912408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61</a:t>
            </a:fld>
            <a:endParaRPr lang="es-ES_tradnl"/>
          </a:p>
        </p:txBody>
      </p:sp>
    </p:spTree>
    <p:extLst>
      <p:ext uri="{BB962C8B-B14F-4D97-AF65-F5344CB8AC3E}">
        <p14:creationId xmlns:p14="http://schemas.microsoft.com/office/powerpoint/2010/main" val="326708131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62</a:t>
            </a:fld>
            <a:endParaRPr lang="es-ES_tradnl"/>
          </a:p>
        </p:txBody>
      </p:sp>
    </p:spTree>
    <p:extLst>
      <p:ext uri="{BB962C8B-B14F-4D97-AF65-F5344CB8AC3E}">
        <p14:creationId xmlns:p14="http://schemas.microsoft.com/office/powerpoint/2010/main" val="25495300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63</a:t>
            </a:fld>
            <a:endParaRPr lang="es-ES_tradnl"/>
          </a:p>
        </p:txBody>
      </p:sp>
    </p:spTree>
    <p:extLst>
      <p:ext uri="{BB962C8B-B14F-4D97-AF65-F5344CB8AC3E}">
        <p14:creationId xmlns:p14="http://schemas.microsoft.com/office/powerpoint/2010/main" val="7017344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64</a:t>
            </a:fld>
            <a:endParaRPr lang="es-ES_tradnl"/>
          </a:p>
        </p:txBody>
      </p:sp>
    </p:spTree>
    <p:extLst>
      <p:ext uri="{BB962C8B-B14F-4D97-AF65-F5344CB8AC3E}">
        <p14:creationId xmlns:p14="http://schemas.microsoft.com/office/powerpoint/2010/main" val="3597586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a:t>
            </a:fld>
            <a:endParaRPr lang="es-ES_tradnl"/>
          </a:p>
        </p:txBody>
      </p:sp>
    </p:spTree>
    <p:extLst>
      <p:ext uri="{BB962C8B-B14F-4D97-AF65-F5344CB8AC3E}">
        <p14:creationId xmlns:p14="http://schemas.microsoft.com/office/powerpoint/2010/main" val="1746967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65</a:t>
            </a:fld>
            <a:endParaRPr lang="es-ES_tradnl"/>
          </a:p>
        </p:txBody>
      </p:sp>
    </p:spTree>
    <p:extLst>
      <p:ext uri="{BB962C8B-B14F-4D97-AF65-F5344CB8AC3E}">
        <p14:creationId xmlns:p14="http://schemas.microsoft.com/office/powerpoint/2010/main" val="29755699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s-ES_tradnl" smtClean="0"/>
              <a:pPr/>
              <a:t>66</a:t>
            </a:fld>
            <a:endParaRPr lang="es-ES_tradnl"/>
          </a:p>
        </p:txBody>
      </p:sp>
    </p:spTree>
    <p:extLst>
      <p:ext uri="{BB962C8B-B14F-4D97-AF65-F5344CB8AC3E}">
        <p14:creationId xmlns:p14="http://schemas.microsoft.com/office/powerpoint/2010/main" val="42480098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67</a:t>
            </a:fld>
            <a:endParaRPr lang="es-ES_tradnl"/>
          </a:p>
        </p:txBody>
      </p:sp>
    </p:spTree>
    <p:extLst>
      <p:ext uri="{BB962C8B-B14F-4D97-AF65-F5344CB8AC3E}">
        <p14:creationId xmlns:p14="http://schemas.microsoft.com/office/powerpoint/2010/main" val="395813254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68</a:t>
            </a:fld>
            <a:endParaRPr lang="es-ES_tradnl"/>
          </a:p>
        </p:txBody>
      </p:sp>
    </p:spTree>
    <p:extLst>
      <p:ext uri="{BB962C8B-B14F-4D97-AF65-F5344CB8AC3E}">
        <p14:creationId xmlns:p14="http://schemas.microsoft.com/office/powerpoint/2010/main" val="109588270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69</a:t>
            </a:fld>
            <a:endParaRPr lang="es-ES_tradnl"/>
          </a:p>
        </p:txBody>
      </p:sp>
    </p:spTree>
    <p:extLst>
      <p:ext uri="{BB962C8B-B14F-4D97-AF65-F5344CB8AC3E}">
        <p14:creationId xmlns:p14="http://schemas.microsoft.com/office/powerpoint/2010/main" val="409137979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s-ES_tradnl" smtClean="0"/>
              <a:pPr/>
              <a:t>70</a:t>
            </a:fld>
            <a:endParaRPr lang="es-ES_tradnl"/>
          </a:p>
        </p:txBody>
      </p:sp>
    </p:spTree>
    <p:extLst>
      <p:ext uri="{BB962C8B-B14F-4D97-AF65-F5344CB8AC3E}">
        <p14:creationId xmlns:p14="http://schemas.microsoft.com/office/powerpoint/2010/main" val="78883573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71</a:t>
            </a:fld>
            <a:endParaRPr lang="es-ES_tradnl"/>
          </a:p>
        </p:txBody>
      </p:sp>
    </p:spTree>
    <p:extLst>
      <p:ext uri="{BB962C8B-B14F-4D97-AF65-F5344CB8AC3E}">
        <p14:creationId xmlns:p14="http://schemas.microsoft.com/office/powerpoint/2010/main" val="18263657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72</a:t>
            </a:fld>
            <a:endParaRPr lang="es-ES_tradnl"/>
          </a:p>
        </p:txBody>
      </p:sp>
    </p:spTree>
    <p:extLst>
      <p:ext uri="{BB962C8B-B14F-4D97-AF65-F5344CB8AC3E}">
        <p14:creationId xmlns:p14="http://schemas.microsoft.com/office/powerpoint/2010/main" val="288894693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73</a:t>
            </a:fld>
            <a:endParaRPr lang="es-ES_tradnl"/>
          </a:p>
        </p:txBody>
      </p:sp>
    </p:spTree>
    <p:extLst>
      <p:ext uri="{BB962C8B-B14F-4D97-AF65-F5344CB8AC3E}">
        <p14:creationId xmlns:p14="http://schemas.microsoft.com/office/powerpoint/2010/main" val="358009921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74</a:t>
            </a:fld>
            <a:endParaRPr lang="es-ES_tradnl"/>
          </a:p>
        </p:txBody>
      </p:sp>
    </p:spTree>
    <p:extLst>
      <p:ext uri="{BB962C8B-B14F-4D97-AF65-F5344CB8AC3E}">
        <p14:creationId xmlns:p14="http://schemas.microsoft.com/office/powerpoint/2010/main" val="9818523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10</a:t>
            </a:fld>
            <a:endParaRPr lang="es-ES_tradnl"/>
          </a:p>
        </p:txBody>
      </p:sp>
    </p:spTree>
    <p:extLst>
      <p:ext uri="{BB962C8B-B14F-4D97-AF65-F5344CB8AC3E}">
        <p14:creationId xmlns:p14="http://schemas.microsoft.com/office/powerpoint/2010/main" val="35305627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75</a:t>
            </a:fld>
            <a:endParaRPr lang="es-ES_tradnl"/>
          </a:p>
        </p:txBody>
      </p:sp>
    </p:spTree>
    <p:extLst>
      <p:ext uri="{BB962C8B-B14F-4D97-AF65-F5344CB8AC3E}">
        <p14:creationId xmlns:p14="http://schemas.microsoft.com/office/powerpoint/2010/main" val="154406996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76</a:t>
            </a:fld>
            <a:endParaRPr lang="es-ES_tradnl"/>
          </a:p>
        </p:txBody>
      </p:sp>
    </p:spTree>
    <p:extLst>
      <p:ext uri="{BB962C8B-B14F-4D97-AF65-F5344CB8AC3E}">
        <p14:creationId xmlns:p14="http://schemas.microsoft.com/office/powerpoint/2010/main" val="356593784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77</a:t>
            </a:fld>
            <a:endParaRPr lang="es-ES_tradnl"/>
          </a:p>
        </p:txBody>
      </p:sp>
    </p:spTree>
    <p:extLst>
      <p:ext uri="{BB962C8B-B14F-4D97-AF65-F5344CB8AC3E}">
        <p14:creationId xmlns:p14="http://schemas.microsoft.com/office/powerpoint/2010/main" val="14987024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78</a:t>
            </a:fld>
            <a:endParaRPr lang="es-ES_tradnl"/>
          </a:p>
        </p:txBody>
      </p:sp>
    </p:spTree>
    <p:extLst>
      <p:ext uri="{BB962C8B-B14F-4D97-AF65-F5344CB8AC3E}">
        <p14:creationId xmlns:p14="http://schemas.microsoft.com/office/powerpoint/2010/main" val="212508978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79</a:t>
            </a:fld>
            <a:endParaRPr lang="es-ES_tradnl"/>
          </a:p>
        </p:txBody>
      </p:sp>
    </p:spTree>
    <p:extLst>
      <p:ext uri="{BB962C8B-B14F-4D97-AF65-F5344CB8AC3E}">
        <p14:creationId xmlns:p14="http://schemas.microsoft.com/office/powerpoint/2010/main" val="136671340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80</a:t>
            </a:fld>
            <a:endParaRPr lang="es-ES_tradnl"/>
          </a:p>
        </p:txBody>
      </p:sp>
    </p:spTree>
    <p:extLst>
      <p:ext uri="{BB962C8B-B14F-4D97-AF65-F5344CB8AC3E}">
        <p14:creationId xmlns:p14="http://schemas.microsoft.com/office/powerpoint/2010/main" val="191240211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81</a:t>
            </a:fld>
            <a:endParaRPr lang="es-ES_tradnl"/>
          </a:p>
        </p:txBody>
      </p:sp>
    </p:spTree>
    <p:extLst>
      <p:ext uri="{BB962C8B-B14F-4D97-AF65-F5344CB8AC3E}">
        <p14:creationId xmlns:p14="http://schemas.microsoft.com/office/powerpoint/2010/main" val="77663082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s-ES_tradnl" smtClean="0"/>
              <a:pPr/>
              <a:t>82</a:t>
            </a:fld>
            <a:endParaRPr lang="es-ES_tradnl"/>
          </a:p>
        </p:txBody>
      </p:sp>
    </p:spTree>
    <p:extLst>
      <p:ext uri="{BB962C8B-B14F-4D97-AF65-F5344CB8AC3E}">
        <p14:creationId xmlns:p14="http://schemas.microsoft.com/office/powerpoint/2010/main" val="2302904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83</a:t>
            </a:fld>
            <a:endParaRPr lang="es-ES_tradnl"/>
          </a:p>
        </p:txBody>
      </p:sp>
    </p:spTree>
    <p:extLst>
      <p:ext uri="{BB962C8B-B14F-4D97-AF65-F5344CB8AC3E}">
        <p14:creationId xmlns:p14="http://schemas.microsoft.com/office/powerpoint/2010/main" val="255992679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84</a:t>
            </a:fld>
            <a:endParaRPr lang="es-ES_tradnl"/>
          </a:p>
        </p:txBody>
      </p:sp>
    </p:spTree>
    <p:extLst>
      <p:ext uri="{BB962C8B-B14F-4D97-AF65-F5344CB8AC3E}">
        <p14:creationId xmlns:p14="http://schemas.microsoft.com/office/powerpoint/2010/main" val="1860829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11</a:t>
            </a:fld>
            <a:endParaRPr lang="es-ES_tradnl"/>
          </a:p>
        </p:txBody>
      </p:sp>
    </p:spTree>
    <p:extLst>
      <p:ext uri="{BB962C8B-B14F-4D97-AF65-F5344CB8AC3E}">
        <p14:creationId xmlns:p14="http://schemas.microsoft.com/office/powerpoint/2010/main" val="242310912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85</a:t>
            </a:fld>
            <a:endParaRPr lang="es-ES_tradnl"/>
          </a:p>
        </p:txBody>
      </p:sp>
    </p:spTree>
    <p:extLst>
      <p:ext uri="{BB962C8B-B14F-4D97-AF65-F5344CB8AC3E}">
        <p14:creationId xmlns:p14="http://schemas.microsoft.com/office/powerpoint/2010/main" val="25661091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86</a:t>
            </a:fld>
            <a:endParaRPr lang="es-ES_tradnl"/>
          </a:p>
        </p:txBody>
      </p:sp>
    </p:spTree>
    <p:extLst>
      <p:ext uri="{BB962C8B-B14F-4D97-AF65-F5344CB8AC3E}">
        <p14:creationId xmlns:p14="http://schemas.microsoft.com/office/powerpoint/2010/main" val="159905801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87</a:t>
            </a:fld>
            <a:endParaRPr lang="es-ES_tradnl"/>
          </a:p>
        </p:txBody>
      </p:sp>
    </p:spTree>
    <p:extLst>
      <p:ext uri="{BB962C8B-B14F-4D97-AF65-F5344CB8AC3E}">
        <p14:creationId xmlns:p14="http://schemas.microsoft.com/office/powerpoint/2010/main" val="251683014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88</a:t>
            </a:fld>
            <a:endParaRPr lang="es-ES_tradnl"/>
          </a:p>
        </p:txBody>
      </p:sp>
    </p:spTree>
    <p:extLst>
      <p:ext uri="{BB962C8B-B14F-4D97-AF65-F5344CB8AC3E}">
        <p14:creationId xmlns:p14="http://schemas.microsoft.com/office/powerpoint/2010/main" val="214645437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89</a:t>
            </a:fld>
            <a:endParaRPr lang="es-ES_tradnl"/>
          </a:p>
        </p:txBody>
      </p:sp>
    </p:spTree>
    <p:extLst>
      <p:ext uri="{BB962C8B-B14F-4D97-AF65-F5344CB8AC3E}">
        <p14:creationId xmlns:p14="http://schemas.microsoft.com/office/powerpoint/2010/main" val="410233765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0</a:t>
            </a:fld>
            <a:endParaRPr lang="es-ES_tradnl"/>
          </a:p>
        </p:txBody>
      </p:sp>
    </p:spTree>
    <p:extLst>
      <p:ext uri="{BB962C8B-B14F-4D97-AF65-F5344CB8AC3E}">
        <p14:creationId xmlns:p14="http://schemas.microsoft.com/office/powerpoint/2010/main" val="419737805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1</a:t>
            </a:fld>
            <a:endParaRPr lang="es-ES_tradnl"/>
          </a:p>
        </p:txBody>
      </p:sp>
    </p:spTree>
    <p:extLst>
      <p:ext uri="{BB962C8B-B14F-4D97-AF65-F5344CB8AC3E}">
        <p14:creationId xmlns:p14="http://schemas.microsoft.com/office/powerpoint/2010/main" val="342107131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2</a:t>
            </a:fld>
            <a:endParaRPr lang="es-ES_tradnl"/>
          </a:p>
        </p:txBody>
      </p:sp>
    </p:spTree>
    <p:extLst>
      <p:ext uri="{BB962C8B-B14F-4D97-AF65-F5344CB8AC3E}">
        <p14:creationId xmlns:p14="http://schemas.microsoft.com/office/powerpoint/2010/main" val="79753966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3</a:t>
            </a:fld>
            <a:endParaRPr lang="es-ES_tradnl"/>
          </a:p>
        </p:txBody>
      </p:sp>
    </p:spTree>
    <p:extLst>
      <p:ext uri="{BB962C8B-B14F-4D97-AF65-F5344CB8AC3E}">
        <p14:creationId xmlns:p14="http://schemas.microsoft.com/office/powerpoint/2010/main" val="43091950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4</a:t>
            </a:fld>
            <a:endParaRPr lang="es-ES_tradnl"/>
          </a:p>
        </p:txBody>
      </p:sp>
    </p:spTree>
    <p:extLst>
      <p:ext uri="{BB962C8B-B14F-4D97-AF65-F5344CB8AC3E}">
        <p14:creationId xmlns:p14="http://schemas.microsoft.com/office/powerpoint/2010/main" val="3472915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12</a:t>
            </a:fld>
            <a:endParaRPr lang="es-ES_tradnl"/>
          </a:p>
        </p:txBody>
      </p:sp>
    </p:spTree>
    <p:extLst>
      <p:ext uri="{BB962C8B-B14F-4D97-AF65-F5344CB8AC3E}">
        <p14:creationId xmlns:p14="http://schemas.microsoft.com/office/powerpoint/2010/main" val="75759936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5</a:t>
            </a:fld>
            <a:endParaRPr lang="es-ES_tradnl"/>
          </a:p>
        </p:txBody>
      </p:sp>
    </p:spTree>
    <p:extLst>
      <p:ext uri="{BB962C8B-B14F-4D97-AF65-F5344CB8AC3E}">
        <p14:creationId xmlns:p14="http://schemas.microsoft.com/office/powerpoint/2010/main" val="295390794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6</a:t>
            </a:fld>
            <a:endParaRPr lang="es-ES_tradnl"/>
          </a:p>
        </p:txBody>
      </p:sp>
    </p:spTree>
    <p:extLst>
      <p:ext uri="{BB962C8B-B14F-4D97-AF65-F5344CB8AC3E}">
        <p14:creationId xmlns:p14="http://schemas.microsoft.com/office/powerpoint/2010/main" val="151063256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7</a:t>
            </a:fld>
            <a:endParaRPr lang="es-ES_tradnl"/>
          </a:p>
        </p:txBody>
      </p:sp>
    </p:spTree>
    <p:extLst>
      <p:ext uri="{BB962C8B-B14F-4D97-AF65-F5344CB8AC3E}">
        <p14:creationId xmlns:p14="http://schemas.microsoft.com/office/powerpoint/2010/main" val="180228634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8</a:t>
            </a:fld>
            <a:endParaRPr lang="es-ES_tradnl"/>
          </a:p>
        </p:txBody>
      </p:sp>
    </p:spTree>
    <p:extLst>
      <p:ext uri="{BB962C8B-B14F-4D97-AF65-F5344CB8AC3E}">
        <p14:creationId xmlns:p14="http://schemas.microsoft.com/office/powerpoint/2010/main" val="403522515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C0F4A2C8-6C88-4E71-83EE-698B9D4FE22F}" type="slidenum">
              <a:rPr lang="es-ES_tradnl" smtClean="0"/>
              <a:pPr/>
              <a:t>99</a:t>
            </a:fld>
            <a:endParaRPr lang="es-ES_tradnl"/>
          </a:p>
        </p:txBody>
      </p:sp>
    </p:spTree>
    <p:extLst>
      <p:ext uri="{BB962C8B-B14F-4D97-AF65-F5344CB8AC3E}">
        <p14:creationId xmlns:p14="http://schemas.microsoft.com/office/powerpoint/2010/main" val="40807127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3">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37154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s-ES_tradnl" noProof="0" err="1"/>
              <a:t>Click</a:t>
            </a:r>
            <a:r>
              <a:rPr lang="es-ES_tradnl" noProof="0"/>
              <a:t> to </a:t>
            </a:r>
            <a:r>
              <a:rPr lang="es-ES_tradnl" noProof="0" err="1"/>
              <a:t>edit</a:t>
            </a:r>
            <a:r>
              <a:rPr lang="es-ES_tradnl" noProof="0"/>
              <a:t> Master </a:t>
            </a:r>
            <a:r>
              <a:rPr lang="es-ES_tradnl" noProof="0" err="1"/>
              <a:t>title</a:t>
            </a:r>
            <a:r>
              <a:rPr lang="es-ES_tradnl" noProof="0"/>
              <a:t> </a:t>
            </a:r>
            <a:r>
              <a:rPr lang="es-ES_tradnl" noProof="0" err="1"/>
              <a:t>style</a:t>
            </a:r>
            <a:endParaRPr lang="es-ES_tradnl" noProof="0"/>
          </a:p>
          <a:p>
            <a:pPr lvl="1"/>
            <a:r>
              <a:rPr lang="es-ES_tradnl" noProof="0" err="1"/>
              <a:t>Click</a:t>
            </a:r>
            <a:r>
              <a:rPr lang="es-ES_tradnl" noProof="0"/>
              <a:t> to </a:t>
            </a:r>
            <a:r>
              <a:rPr lang="es-ES_tradnl" noProof="0" err="1"/>
              <a:t>edit</a:t>
            </a:r>
            <a:r>
              <a:rPr lang="es-ES_tradnl" noProof="0"/>
              <a:t> Master </a:t>
            </a:r>
            <a:r>
              <a:rPr lang="es-ES_tradnl" noProof="0" err="1"/>
              <a:t>subtitle</a:t>
            </a:r>
            <a:r>
              <a:rPr lang="es-ES_tradnl" noProof="0"/>
              <a:t> </a:t>
            </a:r>
            <a:r>
              <a:rPr lang="es-ES_tradnl" noProof="0" err="1"/>
              <a:t>style</a:t>
            </a:r>
            <a:endParaRPr lang="es-ES_tradnl" noProof="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_tradnl" noProof="0" err="1"/>
              <a:t>Click</a:t>
            </a:r>
            <a:r>
              <a:rPr lang="es-ES_tradnl" noProof="0"/>
              <a:t> to </a:t>
            </a:r>
            <a:r>
              <a:rPr lang="es-ES_tradnl" noProof="0" err="1"/>
              <a:t>edit</a:t>
            </a:r>
            <a:r>
              <a:rPr lang="es-ES_tradnl" noProof="0"/>
              <a:t> Master </a:t>
            </a:r>
            <a:r>
              <a:rPr lang="es-ES_tradnl" noProof="0" err="1"/>
              <a:t>text</a:t>
            </a:r>
            <a:r>
              <a:rPr lang="es-ES_tradnl" noProof="0"/>
              <a:t> </a:t>
            </a:r>
            <a:r>
              <a:rPr lang="es-ES_tradnl" noProof="0" err="1"/>
              <a:t>styles</a:t>
            </a:r>
            <a:endParaRPr lang="es-ES_tradnl" noProof="0"/>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s-ES_tradnl" noProof="0"/>
              <a:t>Click icon to add picture</a:t>
            </a:r>
          </a:p>
        </p:txBody>
      </p:sp>
      <p:grpSp>
        <p:nvGrpSpPr>
          <p:cNvPr id="8" name="Group 7"/>
          <p:cNvGrpSpPr>
            <a:grpSpLocks noChangeAspect="1"/>
          </p:cNvGrpSpPr>
          <p:nvPr userDrawn="1"/>
        </p:nvGrpSpPr>
        <p:grpSpPr>
          <a:xfrm>
            <a:off x="517992" y="504598"/>
            <a:ext cx="2202482" cy="412707"/>
            <a:chOff x="398463" y="404813"/>
            <a:chExt cx="1627187" cy="307976"/>
          </a:xfrm>
          <a:solidFill>
            <a:schemeClr val="tx1"/>
          </a:solidFill>
        </p:grpSpPr>
        <p:sp>
          <p:nvSpPr>
            <p:cNvPr id="9"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343999"/>
              <a:endParaRPr lang="en-GB" sz="2866">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343999"/>
              <a:endParaRPr lang="en-GB" sz="2866">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343999"/>
              <a:endParaRPr lang="en-GB" sz="2866">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343999"/>
              <a:endParaRPr lang="en-GB" sz="2866">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343999"/>
              <a:endParaRPr lang="en-GB" sz="2866">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343999"/>
              <a:endParaRPr lang="en-GB" sz="2866">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343999"/>
              <a:endParaRPr lang="en-GB" sz="2866">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343999"/>
              <a:endParaRPr lang="en-GB" sz="2866">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343999"/>
              <a:endParaRPr lang="en-GB" sz="2866">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343999"/>
              <a:endParaRPr lang="en-GB" sz="2866">
                <a:solidFill>
                  <a:prstClr val="white"/>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s-ES_tradnl" noProof="0" err="1"/>
              <a:t>Click</a:t>
            </a:r>
            <a:r>
              <a:rPr lang="es-ES_tradnl" noProof="0"/>
              <a:t> to </a:t>
            </a:r>
            <a:r>
              <a:rPr lang="es-ES_tradnl" noProof="0" err="1"/>
              <a:t>edit</a:t>
            </a:r>
            <a:r>
              <a:rPr lang="es-ES_tradnl" noProof="0"/>
              <a:t> Master </a:t>
            </a:r>
            <a:r>
              <a:rPr lang="es-ES_tradnl" noProof="0" err="1"/>
              <a:t>title</a:t>
            </a:r>
            <a:r>
              <a:rPr lang="es-ES_tradnl" noProof="0"/>
              <a:t> </a:t>
            </a:r>
            <a:r>
              <a:rPr lang="es-ES_tradnl" noProof="0" err="1"/>
              <a:t>style</a:t>
            </a:r>
            <a:endParaRPr lang="es-ES_tradnl" noProof="0"/>
          </a:p>
          <a:p>
            <a:pPr lvl="1"/>
            <a:r>
              <a:rPr lang="es-ES_tradnl" noProof="0" err="1"/>
              <a:t>Click</a:t>
            </a:r>
            <a:r>
              <a:rPr lang="es-ES_tradnl" noProof="0"/>
              <a:t> to </a:t>
            </a:r>
            <a:r>
              <a:rPr lang="es-ES_tradnl" noProof="0" err="1"/>
              <a:t>edit</a:t>
            </a:r>
            <a:r>
              <a:rPr lang="es-ES_tradnl" noProof="0"/>
              <a:t> Master </a:t>
            </a:r>
            <a:r>
              <a:rPr lang="es-ES_tradnl" noProof="0" err="1"/>
              <a:t>subtitle</a:t>
            </a:r>
            <a:r>
              <a:rPr lang="es-ES_tradnl" noProof="0"/>
              <a:t> </a:t>
            </a:r>
            <a:r>
              <a:rPr lang="es-ES_tradnl" noProof="0" err="1"/>
              <a:t>style</a:t>
            </a:r>
            <a:endParaRPr lang="es-ES_tradnl" noProof="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_tradnl" noProof="0" err="1"/>
              <a:t>Click</a:t>
            </a:r>
            <a:r>
              <a:rPr lang="es-ES_tradnl" noProof="0"/>
              <a:t> to </a:t>
            </a:r>
            <a:r>
              <a:rPr lang="es-ES_tradnl" noProof="0" err="1"/>
              <a:t>edit</a:t>
            </a:r>
            <a:r>
              <a:rPr lang="es-ES_tradnl" noProof="0"/>
              <a:t> Master </a:t>
            </a:r>
            <a:r>
              <a:rPr lang="es-ES_tradnl" noProof="0" err="1"/>
              <a:t>text</a:t>
            </a:r>
            <a:r>
              <a:rPr lang="es-ES_tradnl" noProof="0"/>
              <a:t> </a:t>
            </a:r>
            <a:r>
              <a:rPr lang="es-ES_tradnl" noProof="0" err="1"/>
              <a:t>styles</a:t>
            </a:r>
            <a:endParaRPr lang="es-ES_tradnl" noProof="0"/>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s-ES_tradnl" noProof="0"/>
              <a:t>Click icon to add picture</a:t>
            </a:r>
          </a:p>
        </p:txBody>
      </p:sp>
      <p:grpSp>
        <p:nvGrpSpPr>
          <p:cNvPr id="6" name="Group 5"/>
          <p:cNvGrpSpPr>
            <a:grpSpLocks noChangeAspect="1"/>
          </p:cNvGrpSpPr>
          <p:nvPr userDrawn="1"/>
        </p:nvGrpSpPr>
        <p:grpSpPr>
          <a:xfrm>
            <a:off x="475325" y="457200"/>
            <a:ext cx="1998000" cy="374400"/>
            <a:chOff x="398463" y="404813"/>
            <a:chExt cx="1627187" cy="307976"/>
          </a:xfrm>
          <a:solidFill>
            <a:schemeClr val="tx1"/>
          </a:solidFill>
        </p:grpSpPr>
        <p:sp>
          <p:nvSpPr>
            <p:cNvPr id="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ES_tradnl" sz="2600">
                <a:solidFill>
                  <a:schemeClr val="bg1"/>
                </a:solidFill>
              </a:endParaRPr>
            </a:p>
          </p:txBody>
        </p:sp>
        <p:sp>
          <p:nvSpPr>
            <p:cNvPr id="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ES_tradnl" sz="2600">
                <a:solidFill>
                  <a:schemeClr val="bg1"/>
                </a:solidFill>
              </a:endParaRPr>
            </a:p>
          </p:txBody>
        </p:sp>
        <p:sp>
          <p:nvSpPr>
            <p:cNvPr id="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ES_tradnl" sz="2600">
                <a:solidFill>
                  <a:schemeClr val="bg1"/>
                </a:solidFill>
              </a:endParaRPr>
            </a:p>
          </p:txBody>
        </p:sp>
        <p:sp>
          <p:nvSpPr>
            <p:cNvPr id="1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ES_tradnl" sz="2600">
                <a:solidFill>
                  <a:schemeClr val="bg1"/>
                </a:solidFill>
              </a:endParaRPr>
            </a:p>
          </p:txBody>
        </p:sp>
        <p:sp>
          <p:nvSpPr>
            <p:cNvPr id="1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ES_tradnl" sz="2600">
                <a:solidFill>
                  <a:schemeClr val="bg1"/>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ES_tradnl" sz="2600">
                <a:solidFill>
                  <a:schemeClr val="bg1"/>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ES_tradnl" sz="2600">
                <a:solidFill>
                  <a:schemeClr val="bg1"/>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ES_tradnl" sz="2600">
                <a:solidFill>
                  <a:schemeClr val="bg1"/>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ES_tradnl" sz="2600">
                <a:solidFill>
                  <a:schemeClr val="bg1"/>
                </a:solidFill>
              </a:endParaRPr>
            </a:p>
          </p:txBody>
        </p:sp>
        <p:sp>
          <p:nvSpPr>
            <p:cNvPr id="1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ES_tradnl" sz="2600">
                <a:solidFill>
                  <a:schemeClr val="bg1"/>
                </a:solidFill>
              </a:endParaRPr>
            </a:p>
          </p:txBody>
        </p:sp>
      </p:grpSp>
    </p:spTree>
    <p:extLst>
      <p:ext uri="{BB962C8B-B14F-4D97-AF65-F5344CB8AC3E}">
        <p14:creationId xmlns:p14="http://schemas.microsoft.com/office/powerpoint/2010/main" val="9664341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0076A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600" b="0">
                <a:solidFill>
                  <a:schemeClr val="bg1"/>
                </a:solidFill>
                <a:latin typeface="+mj-lt"/>
                <a:ea typeface="Open Sans" panose="020B0606030504020204" pitchFamily="34" charset="0"/>
                <a:cs typeface="Open Sans" panose="020B0606030504020204" pitchFamily="34" charset="0"/>
              </a:defRPr>
            </a:lvl1pPr>
          </a:lstStyle>
          <a:p>
            <a:r>
              <a:rPr lang="es-ES_tradnl" noProof="0" err="1"/>
              <a:t>Click</a:t>
            </a:r>
            <a:r>
              <a:rPr lang="es-ES_tradnl" noProof="0"/>
              <a:t> to </a:t>
            </a:r>
            <a:r>
              <a:rPr lang="es-ES_tradnl" noProof="0" err="1"/>
              <a:t>edit</a:t>
            </a:r>
            <a:r>
              <a:rPr lang="es-ES_tradnl" noProof="0"/>
              <a:t> Master </a:t>
            </a:r>
            <a:r>
              <a:rPr lang="es-ES_tradnl" noProof="0" err="1"/>
              <a:t>title</a:t>
            </a:r>
            <a:r>
              <a:rPr lang="es-ES_tradnl" noProof="0"/>
              <a:t> </a:t>
            </a:r>
            <a:r>
              <a:rPr lang="es-ES_tradnl" noProof="0" err="1"/>
              <a:t>style</a:t>
            </a:r>
            <a:endParaRPr lang="es-ES_tradnl" noProof="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rgbClr val="D0D0CE"/>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s-ES_tradnl" noProof="0" err="1"/>
              <a:t>Click</a:t>
            </a:r>
            <a:r>
              <a:rPr lang="es-ES_tradnl" noProof="0"/>
              <a:t> to </a:t>
            </a:r>
            <a:r>
              <a:rPr lang="es-ES_tradnl" noProof="0" err="1"/>
              <a:t>edit</a:t>
            </a:r>
            <a:r>
              <a:rPr lang="es-ES_tradnl" noProof="0"/>
              <a:t> Master </a:t>
            </a:r>
            <a:r>
              <a:rPr lang="es-ES_tradnl" noProof="0" err="1"/>
              <a:t>text</a:t>
            </a:r>
            <a:r>
              <a:rPr lang="es-ES_tradnl" noProof="0"/>
              <a:t> </a:t>
            </a:r>
            <a:r>
              <a:rPr lang="es-ES_tradnl" noProof="0" err="1"/>
              <a:t>styles</a:t>
            </a:r>
            <a:endParaRPr lang="es-ES_tradnl" noProof="0"/>
          </a:p>
        </p:txBody>
      </p:sp>
      <p:sp>
        <p:nvSpPr>
          <p:cNvPr id="7" name="TextBox 6"/>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s-ES_tradnl" sz="650" noProof="0">
                <a:solidFill>
                  <a:schemeClr val="bg1"/>
                </a:solidFill>
              </a:rPr>
              <a:t>Test de Rendimiento justEnough</a:t>
            </a: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lgn="l"/>
            <a:r>
              <a:rPr lang="es-ES_tradnl" sz="650">
                <a:solidFill>
                  <a:schemeClr val="bg1"/>
                </a:solidFill>
                <a:latin typeface="Verdana" panose="020B0604030504040204" pitchFamily="34" charset="0"/>
                <a:ea typeface="Verdana" panose="020B0604030504040204" pitchFamily="34" charset="0"/>
                <a:cs typeface="Verdana" panose="020B0604030504040204" pitchFamily="34" charset="0"/>
              </a:rPr>
              <a:t>© 2017 </a:t>
            </a:r>
            <a:r>
              <a:rPr lang="en-US" sz="650" b="0">
                <a:solidFill>
                  <a:schemeClr val="bg1"/>
                </a:solidFill>
                <a:latin typeface="Verdana" panose="020B0604030504040204" pitchFamily="34" charset="0"/>
                <a:ea typeface="Verdana" panose="020B0604030504040204" pitchFamily="34" charset="0"/>
                <a:cs typeface="Verdana" panose="020B0604030504040204" pitchFamily="34" charset="0"/>
              </a:rPr>
              <a:t>DXD Applications &amp; IT Solutions, S.L.U.</a:t>
            </a:r>
            <a:endParaRPr lang="es-ES" sz="65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s-ES_tradnl" sz="650" noProof="0" smtClean="0">
                <a:solidFill>
                  <a:schemeClr val="bg1"/>
                </a:solidFill>
              </a:rPr>
              <a:pPr marL="0" indent="0" algn="r">
                <a:spcBef>
                  <a:spcPts val="800"/>
                </a:spcBef>
                <a:buSzPct val="100000"/>
                <a:buFont typeface="Arial"/>
                <a:buNone/>
              </a:pPr>
              <a:t>‹#›</a:t>
            </a:fld>
            <a:endParaRPr lang="es-ES_tradnl" sz="650" noProof="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75101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s-ES_tradnl" noProof="0" err="1"/>
              <a:t>Click</a:t>
            </a:r>
            <a:r>
              <a:rPr lang="es-ES_tradnl" noProof="0"/>
              <a:t> to </a:t>
            </a:r>
            <a:r>
              <a:rPr lang="es-ES_tradnl" noProof="0" err="1"/>
              <a:t>edit</a:t>
            </a:r>
            <a:r>
              <a:rPr lang="es-ES_tradnl" noProof="0"/>
              <a:t> Master </a:t>
            </a:r>
            <a:r>
              <a:rPr lang="es-ES_tradnl" noProof="0" err="1"/>
              <a:t>title</a:t>
            </a:r>
            <a:r>
              <a:rPr lang="es-ES_tradnl" noProof="0"/>
              <a:t> </a:t>
            </a:r>
            <a:r>
              <a:rPr lang="es-ES_tradnl" noProof="0" err="1"/>
              <a:t>style</a:t>
            </a:r>
            <a:endParaRPr lang="es-ES_tradnl" noProof="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s-ES_tradnl" noProof="0" err="1"/>
              <a:t>Click</a:t>
            </a:r>
            <a:r>
              <a:rPr lang="es-ES_tradnl" noProof="0"/>
              <a:t> to </a:t>
            </a:r>
            <a:r>
              <a:rPr lang="es-ES_tradnl" noProof="0" err="1"/>
              <a:t>edit</a:t>
            </a:r>
            <a:r>
              <a:rPr lang="es-ES_tradnl" noProof="0"/>
              <a:t> Master </a:t>
            </a:r>
            <a:r>
              <a:rPr lang="es-ES_tradnl" noProof="0" err="1"/>
              <a:t>text</a:t>
            </a:r>
            <a:r>
              <a:rPr lang="es-ES_tradnl" noProof="0"/>
              <a:t> </a:t>
            </a:r>
            <a:r>
              <a:rPr lang="es-ES_tradnl" noProof="0" err="1"/>
              <a:t>styles</a:t>
            </a:r>
            <a:endParaRPr lang="es-ES_tradnl" noProof="0"/>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59239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_tradnl" err="1"/>
              <a:t>Click</a:t>
            </a:r>
            <a:r>
              <a:rPr lang="es-ES_tradnl"/>
              <a:t> to </a:t>
            </a:r>
            <a:r>
              <a:rPr lang="es-ES_tradnl" err="1"/>
              <a:t>edit</a:t>
            </a:r>
            <a:r>
              <a:rPr lang="es-ES_tradnl"/>
              <a:t> Master </a:t>
            </a:r>
            <a:r>
              <a:rPr lang="es-ES_tradnl" err="1"/>
              <a:t>text</a:t>
            </a:r>
            <a:r>
              <a:rPr lang="es-ES_tradnl"/>
              <a:t> </a:t>
            </a:r>
            <a:r>
              <a:rPr lang="es-ES_tradnl" err="1"/>
              <a:t>styles</a:t>
            </a:r>
            <a:endParaRPr lang="es-ES_tradnl"/>
          </a:p>
          <a:p>
            <a:pPr lvl="1"/>
            <a:r>
              <a:rPr lang="es-ES_tradnl" err="1"/>
              <a:t>Second</a:t>
            </a:r>
            <a:r>
              <a:rPr lang="es-ES_tradnl"/>
              <a:t> </a:t>
            </a:r>
            <a:r>
              <a:rPr lang="es-ES_tradnl" err="1"/>
              <a:t>level</a:t>
            </a:r>
            <a:endParaRPr lang="es-ES_tradnl"/>
          </a:p>
          <a:p>
            <a:pPr lvl="2"/>
            <a:r>
              <a:rPr lang="es-ES_tradnl" err="1"/>
              <a:t>Third</a:t>
            </a:r>
            <a:r>
              <a:rPr lang="es-ES_tradnl"/>
              <a:t> </a:t>
            </a:r>
            <a:r>
              <a:rPr lang="es-ES_tradnl" err="1"/>
              <a:t>level</a:t>
            </a:r>
            <a:endParaRPr lang="es-ES_tradnl"/>
          </a:p>
          <a:p>
            <a:pPr lvl="3"/>
            <a:r>
              <a:rPr lang="es-ES_tradnl" err="1"/>
              <a:t>Fourth</a:t>
            </a:r>
            <a:r>
              <a:rPr lang="es-ES_tradnl"/>
              <a:t> </a:t>
            </a:r>
            <a:r>
              <a:rPr lang="es-ES_tradnl" err="1"/>
              <a:t>level</a:t>
            </a:r>
            <a:endParaRPr lang="es-ES_tradnl"/>
          </a:p>
          <a:p>
            <a:pPr lvl="4"/>
            <a:r>
              <a:rPr lang="es-ES_tradnl" err="1"/>
              <a:t>Fifth</a:t>
            </a:r>
            <a:r>
              <a:rPr lang="es-ES_tradnl"/>
              <a:t> </a:t>
            </a:r>
            <a:r>
              <a:rPr lang="es-ES_tradnl" err="1"/>
              <a:t>level</a:t>
            </a:r>
            <a:endParaRPr lang="es-ES_tradnl"/>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s-ES_tradnl" noProof="0" err="1"/>
              <a:t>Click</a:t>
            </a:r>
            <a:r>
              <a:rPr lang="es-ES_tradnl" noProof="0"/>
              <a:t> to </a:t>
            </a:r>
            <a:r>
              <a:rPr lang="es-ES_tradnl" noProof="0" err="1"/>
              <a:t>add</a:t>
            </a:r>
            <a:r>
              <a:rPr lang="es-ES_tradnl" noProof="0"/>
              <a:t> </a:t>
            </a:r>
            <a:r>
              <a:rPr lang="es-ES_tradnl" noProof="0" err="1"/>
              <a:t>subtitle</a:t>
            </a:r>
            <a:endParaRPr lang="es-ES_tradnl" noProof="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s-ES_tradnl" noProof="0" err="1"/>
              <a:t>Click</a:t>
            </a:r>
            <a:r>
              <a:rPr lang="es-ES_tradnl" noProof="0"/>
              <a:t> to </a:t>
            </a:r>
            <a:r>
              <a:rPr lang="es-ES_tradnl" noProof="0" err="1"/>
              <a:t>edit</a:t>
            </a:r>
            <a:r>
              <a:rPr lang="es-ES_tradnl" noProof="0"/>
              <a:t> Master </a:t>
            </a:r>
            <a:r>
              <a:rPr lang="es-ES_tradnl" noProof="0" err="1"/>
              <a:t>title</a:t>
            </a:r>
            <a:r>
              <a:rPr lang="es-ES_tradnl" noProof="0"/>
              <a:t> </a:t>
            </a:r>
            <a:r>
              <a:rPr lang="es-ES_tradnl" noProof="0" err="1"/>
              <a:t>style</a:t>
            </a:r>
            <a:endParaRPr lang="es-ES_tradnl" noProof="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8275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lnSpc>
                <a:spcPct val="110000"/>
              </a:lnSpc>
              <a:spcBef>
                <a:spcPts val="0"/>
              </a:spcBef>
              <a:spcAft>
                <a:spcPts val="0"/>
              </a:spcAft>
              <a:buNone/>
              <a:defRPr sz="1800" b="0">
                <a:solidFill>
                  <a:srgbClr val="575757"/>
                </a:solidFill>
                <a:latin typeface="Verdana" panose="020B0604030504040204" pitchFamily="34" charset="0"/>
                <a:ea typeface="Verdana" panose="020B0604030504040204" pitchFamily="34" charset="0"/>
                <a:cs typeface="Verdana" panose="020B0604030504040204" pitchFamily="34" charset="0"/>
              </a:defRPr>
            </a:lvl1pPr>
          </a:lstStyle>
          <a:p>
            <a:pPr lvl="0"/>
            <a:r>
              <a:rPr lang="es-ES_tradnl" noProof="0" err="1"/>
              <a:t>Click</a:t>
            </a:r>
            <a:r>
              <a:rPr lang="es-ES_tradnl" noProof="0"/>
              <a:t> to </a:t>
            </a:r>
            <a:r>
              <a:rPr lang="es-ES_tradnl" noProof="0" err="1"/>
              <a:t>add</a:t>
            </a:r>
            <a:r>
              <a:rPr lang="es-ES_tradnl" noProof="0"/>
              <a:t> </a:t>
            </a:r>
            <a:r>
              <a:rPr lang="es-ES_tradnl" noProof="0" err="1"/>
              <a:t>subtitle</a:t>
            </a:r>
            <a:endParaRPr lang="es-ES_tradnl" noProof="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lnSpc>
                <a:spcPct val="110000"/>
              </a:lnSpc>
              <a:spcBef>
                <a:spcPts val="0"/>
              </a:spcBef>
              <a:spcAft>
                <a:spcPts val="0"/>
              </a:spcAft>
              <a:defRPr sz="1800">
                <a:latin typeface="Verdana" panose="020B0604030504040204" pitchFamily="34" charset="0"/>
                <a:ea typeface="Verdana" panose="020B0604030504040204" pitchFamily="34" charset="0"/>
                <a:cs typeface="Verdana" panose="020B0604030504040204" pitchFamily="34" charset="0"/>
              </a:defRPr>
            </a:lvl1pPr>
          </a:lstStyle>
          <a:p>
            <a:r>
              <a:rPr lang="es-ES_tradnl" noProof="0" err="1"/>
              <a:t>Click</a:t>
            </a:r>
            <a:r>
              <a:rPr lang="es-ES_tradnl" noProof="0"/>
              <a:t> to </a:t>
            </a:r>
            <a:r>
              <a:rPr lang="es-ES_tradnl" noProof="0" err="1"/>
              <a:t>edit</a:t>
            </a:r>
            <a:r>
              <a:rPr lang="es-ES_tradnl" noProof="0"/>
              <a:t> Master </a:t>
            </a:r>
            <a:r>
              <a:rPr lang="es-ES_tradnl" noProof="0" err="1"/>
              <a:t>title</a:t>
            </a:r>
            <a:r>
              <a:rPr lang="es-ES_tradnl" noProof="0"/>
              <a:t> </a:t>
            </a:r>
            <a:r>
              <a:rPr lang="es-ES_tradnl" noProof="0" err="1"/>
              <a:t>style</a:t>
            </a:r>
            <a:endParaRPr lang="es-ES_tradnl" noProof="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lnSpc>
                <a:spcPct val="120000"/>
              </a:lnSpc>
              <a:spcAft>
                <a:spcPts val="1200"/>
              </a:spcAft>
              <a:defRPr/>
            </a:lvl1pPr>
          </a:lstStyle>
          <a:p>
            <a:pPr lvl="0"/>
            <a:r>
              <a:rPr lang="es-ES_tradnl" noProof="0" err="1"/>
              <a:t>Click</a:t>
            </a:r>
            <a:r>
              <a:rPr lang="es-ES_tradnl" noProof="0"/>
              <a:t> to </a:t>
            </a:r>
            <a:r>
              <a:rPr lang="es-ES_tradnl" noProof="0" err="1"/>
              <a:t>edit</a:t>
            </a:r>
            <a:r>
              <a:rPr lang="es-ES_tradnl" noProof="0"/>
              <a:t> Master </a:t>
            </a:r>
            <a:r>
              <a:rPr lang="es-ES_tradnl" noProof="0" err="1"/>
              <a:t>text</a:t>
            </a:r>
            <a:r>
              <a:rPr lang="es-ES_tradnl" noProof="0"/>
              <a:t> </a:t>
            </a:r>
            <a:r>
              <a:rPr lang="es-ES_tradnl" noProof="0" err="1"/>
              <a:t>styles</a:t>
            </a:r>
            <a:endParaRPr lang="es-ES_tradnl" noProof="0"/>
          </a:p>
          <a:p>
            <a:pPr lvl="1"/>
            <a:r>
              <a:rPr lang="es-ES_tradnl" noProof="0" err="1"/>
              <a:t>Second</a:t>
            </a:r>
            <a:r>
              <a:rPr lang="es-ES_tradnl" noProof="0"/>
              <a:t> </a:t>
            </a:r>
            <a:r>
              <a:rPr lang="es-ES_tradnl" noProof="0" err="1"/>
              <a:t>level</a:t>
            </a:r>
            <a:endParaRPr lang="es-ES_tradnl" noProof="0"/>
          </a:p>
          <a:p>
            <a:pPr lvl="2"/>
            <a:r>
              <a:rPr lang="es-ES_tradnl" noProof="0" err="1"/>
              <a:t>Third</a:t>
            </a:r>
            <a:r>
              <a:rPr lang="es-ES_tradnl" noProof="0"/>
              <a:t> </a:t>
            </a:r>
            <a:r>
              <a:rPr lang="es-ES_tradnl" noProof="0" err="1"/>
              <a:t>level</a:t>
            </a:r>
            <a:endParaRPr lang="es-ES_tradnl" noProof="0"/>
          </a:p>
          <a:p>
            <a:pPr lvl="3"/>
            <a:r>
              <a:rPr lang="es-ES_tradnl" noProof="0" err="1"/>
              <a:t>Fourth</a:t>
            </a:r>
            <a:r>
              <a:rPr lang="es-ES_tradnl" noProof="0"/>
              <a:t> </a:t>
            </a:r>
            <a:r>
              <a:rPr lang="es-ES_tradnl" noProof="0" err="1"/>
              <a:t>level</a:t>
            </a:r>
            <a:endParaRPr lang="es-ES_tradnl" noProof="0"/>
          </a:p>
          <a:p>
            <a:pPr lvl="4"/>
            <a:r>
              <a:rPr lang="es-ES_tradnl" noProof="0" err="1"/>
              <a:t>Fifth</a:t>
            </a:r>
            <a:r>
              <a:rPr lang="es-ES_tradnl" noProof="0"/>
              <a:t> </a:t>
            </a:r>
            <a:r>
              <a:rPr lang="es-ES_tradnl" noProof="0" err="1"/>
              <a:t>level</a:t>
            </a:r>
            <a:endParaRPr lang="es-ES_tradnl" noProof="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s-ES_tradnl" noProof="0" err="1"/>
              <a:t>Click</a:t>
            </a:r>
            <a:r>
              <a:rPr lang="es-ES_tradnl" noProof="0"/>
              <a:t> to </a:t>
            </a:r>
            <a:r>
              <a:rPr lang="es-ES_tradnl" noProof="0" err="1"/>
              <a:t>edit</a:t>
            </a:r>
            <a:r>
              <a:rPr lang="es-ES_tradnl" noProof="0"/>
              <a:t> Master </a:t>
            </a:r>
            <a:r>
              <a:rPr lang="es-ES_tradnl" noProof="0" err="1"/>
              <a:t>text</a:t>
            </a:r>
            <a:r>
              <a:rPr lang="es-ES_tradnl" noProof="0"/>
              <a:t> </a:t>
            </a:r>
            <a:r>
              <a:rPr lang="es-ES_tradnl" noProof="0" err="1"/>
              <a:t>styles</a:t>
            </a:r>
            <a:endParaRPr lang="es-ES_tradnl" noProof="0"/>
          </a:p>
          <a:p>
            <a:pPr lvl="1"/>
            <a:r>
              <a:rPr lang="es-ES_tradnl" noProof="0" err="1"/>
              <a:t>Second</a:t>
            </a:r>
            <a:r>
              <a:rPr lang="es-ES_tradnl" noProof="0"/>
              <a:t> </a:t>
            </a:r>
            <a:r>
              <a:rPr lang="es-ES_tradnl" noProof="0" err="1"/>
              <a:t>level</a:t>
            </a:r>
            <a:endParaRPr lang="es-ES_tradnl" noProof="0"/>
          </a:p>
          <a:p>
            <a:pPr lvl="2"/>
            <a:r>
              <a:rPr lang="es-ES_tradnl" noProof="0" err="1"/>
              <a:t>Third</a:t>
            </a:r>
            <a:r>
              <a:rPr lang="es-ES_tradnl" noProof="0"/>
              <a:t> </a:t>
            </a:r>
            <a:r>
              <a:rPr lang="es-ES_tradnl" noProof="0" err="1"/>
              <a:t>level</a:t>
            </a:r>
            <a:endParaRPr lang="es-ES_tradnl" noProof="0"/>
          </a:p>
          <a:p>
            <a:pPr lvl="3"/>
            <a:r>
              <a:rPr lang="es-ES_tradnl" noProof="0" err="1"/>
              <a:t>Fourth</a:t>
            </a:r>
            <a:r>
              <a:rPr lang="es-ES_tradnl" noProof="0"/>
              <a:t> </a:t>
            </a:r>
            <a:r>
              <a:rPr lang="es-ES_tradnl" noProof="0" err="1"/>
              <a:t>level</a:t>
            </a:r>
            <a:endParaRPr lang="es-ES_tradnl" noProof="0"/>
          </a:p>
          <a:p>
            <a:pPr lvl="4"/>
            <a:r>
              <a:rPr lang="es-ES_tradnl" noProof="0" err="1"/>
              <a:t>Fifth</a:t>
            </a:r>
            <a:r>
              <a:rPr lang="es-ES_tradnl" noProof="0"/>
              <a:t> </a:t>
            </a:r>
            <a:r>
              <a:rPr lang="es-ES_tradnl" noProof="0" err="1"/>
              <a:t>level</a:t>
            </a:r>
            <a:endParaRPr lang="es-ES_tradnl" noProof="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s-ES_tradnl" noProof="0" err="1"/>
              <a:t>Click</a:t>
            </a:r>
            <a:r>
              <a:rPr lang="es-ES_tradnl" noProof="0"/>
              <a:t> to </a:t>
            </a:r>
            <a:r>
              <a:rPr lang="es-ES_tradnl" noProof="0" err="1"/>
              <a:t>edit</a:t>
            </a:r>
            <a:r>
              <a:rPr lang="es-ES_tradnl" noProof="0"/>
              <a:t> Master </a:t>
            </a:r>
            <a:r>
              <a:rPr lang="es-ES_tradnl" noProof="0" err="1"/>
              <a:t>text</a:t>
            </a:r>
            <a:r>
              <a:rPr lang="es-ES_tradnl" noProof="0"/>
              <a:t> </a:t>
            </a:r>
            <a:r>
              <a:rPr lang="es-ES_tradnl" noProof="0" err="1"/>
              <a:t>styles</a:t>
            </a:r>
            <a:endParaRPr lang="es-ES_tradnl" noProof="0"/>
          </a:p>
          <a:p>
            <a:pPr lvl="1"/>
            <a:r>
              <a:rPr lang="es-ES_tradnl" noProof="0" err="1"/>
              <a:t>Second</a:t>
            </a:r>
            <a:r>
              <a:rPr lang="es-ES_tradnl" noProof="0"/>
              <a:t> </a:t>
            </a:r>
            <a:r>
              <a:rPr lang="es-ES_tradnl" noProof="0" err="1"/>
              <a:t>level</a:t>
            </a:r>
            <a:endParaRPr lang="es-ES_tradnl" noProof="0"/>
          </a:p>
          <a:p>
            <a:pPr lvl="2"/>
            <a:r>
              <a:rPr lang="es-ES_tradnl" noProof="0" err="1"/>
              <a:t>Third</a:t>
            </a:r>
            <a:r>
              <a:rPr lang="es-ES_tradnl" noProof="0"/>
              <a:t> </a:t>
            </a:r>
            <a:r>
              <a:rPr lang="es-ES_tradnl" noProof="0" err="1"/>
              <a:t>level</a:t>
            </a:r>
            <a:endParaRPr lang="es-ES_tradnl" noProof="0"/>
          </a:p>
          <a:p>
            <a:pPr lvl="3"/>
            <a:r>
              <a:rPr lang="es-ES_tradnl" noProof="0" err="1"/>
              <a:t>Fourth</a:t>
            </a:r>
            <a:r>
              <a:rPr lang="es-ES_tradnl" noProof="0"/>
              <a:t> </a:t>
            </a:r>
            <a:r>
              <a:rPr lang="es-ES_tradnl" noProof="0" err="1"/>
              <a:t>level</a:t>
            </a:r>
            <a:endParaRPr lang="es-ES_tradnl" noProof="0"/>
          </a:p>
          <a:p>
            <a:pPr lvl="4"/>
            <a:r>
              <a:rPr lang="es-ES_tradnl" noProof="0" err="1"/>
              <a:t>Fifth</a:t>
            </a:r>
            <a:r>
              <a:rPr lang="es-ES_tradnl" noProof="0"/>
              <a:t> </a:t>
            </a:r>
            <a:r>
              <a:rPr lang="es-ES_tradnl" noProof="0" err="1"/>
              <a:t>level</a:t>
            </a:r>
            <a:endParaRPr lang="es-ES_tradnl" noProof="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s-ES_tradnl" noProof="0" err="1"/>
              <a:t>Click</a:t>
            </a:r>
            <a:r>
              <a:rPr lang="es-ES_tradnl" noProof="0"/>
              <a:t> to </a:t>
            </a:r>
            <a:r>
              <a:rPr lang="es-ES_tradnl" noProof="0" err="1"/>
              <a:t>add</a:t>
            </a:r>
            <a:r>
              <a:rPr lang="es-ES_tradnl" noProof="0"/>
              <a:t> </a:t>
            </a:r>
            <a:r>
              <a:rPr lang="es-ES_tradnl" noProof="0" err="1"/>
              <a:t>subtitle</a:t>
            </a:r>
            <a:endParaRPr lang="es-ES_tradnl" noProof="0"/>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s-ES_tradnl" noProof="0" err="1"/>
              <a:t>Click</a:t>
            </a:r>
            <a:r>
              <a:rPr lang="es-ES_tradnl" noProof="0"/>
              <a:t> to </a:t>
            </a:r>
            <a:r>
              <a:rPr lang="es-ES_tradnl" noProof="0" err="1"/>
              <a:t>edit</a:t>
            </a:r>
            <a:r>
              <a:rPr lang="es-ES_tradnl" noProof="0"/>
              <a:t> Master </a:t>
            </a:r>
            <a:r>
              <a:rPr lang="es-ES_tradnl" noProof="0" err="1"/>
              <a:t>title</a:t>
            </a:r>
            <a:r>
              <a:rPr lang="es-ES_tradnl" noProof="0"/>
              <a:t> </a:t>
            </a:r>
            <a:r>
              <a:rPr lang="es-ES_tradnl" noProof="0" err="1"/>
              <a:t>style</a:t>
            </a:r>
            <a:endParaRPr lang="es-ES_tradnl" noProof="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06918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lnSpc>
                <a:spcPct val="110000"/>
              </a:lnSpc>
              <a:spcBef>
                <a:spcPts val="0"/>
              </a:spcBef>
              <a:spcAft>
                <a:spcPts val="0"/>
              </a:spcAft>
              <a:buNone/>
              <a:defRPr sz="1800" b="0">
                <a:solidFill>
                  <a:srgbClr val="575757"/>
                </a:solidFill>
                <a:latin typeface="Verdana" panose="020B0604030504040204" pitchFamily="34" charset="0"/>
                <a:ea typeface="Verdana" panose="020B0604030504040204" pitchFamily="34" charset="0"/>
                <a:cs typeface="Verdana" panose="020B0604030504040204" pitchFamily="34" charset="0"/>
              </a:defRPr>
            </a:lvl1pPr>
          </a:lstStyle>
          <a:p>
            <a:pPr lvl="0"/>
            <a:r>
              <a:rPr lang="es-ES_tradnl" noProof="0" err="1"/>
              <a:t>Click</a:t>
            </a:r>
            <a:r>
              <a:rPr lang="es-ES_tradnl" noProof="0"/>
              <a:t> to </a:t>
            </a:r>
            <a:r>
              <a:rPr lang="es-ES_tradnl" noProof="0" err="1"/>
              <a:t>add</a:t>
            </a:r>
            <a:r>
              <a:rPr lang="es-ES_tradnl" noProof="0"/>
              <a:t> </a:t>
            </a:r>
            <a:r>
              <a:rPr lang="es-ES_tradnl" noProof="0" err="1"/>
              <a:t>subtitle</a:t>
            </a:r>
            <a:endParaRPr lang="es-ES_tradnl" noProof="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lnSpc>
                <a:spcPct val="110000"/>
              </a:lnSpc>
              <a:spcBef>
                <a:spcPts val="0"/>
              </a:spcBef>
              <a:spcAft>
                <a:spcPts val="0"/>
              </a:spcAft>
              <a:defRPr sz="1800">
                <a:latin typeface="Verdana" panose="020B0604030504040204" pitchFamily="34" charset="0"/>
                <a:ea typeface="Verdana" panose="020B0604030504040204" pitchFamily="34" charset="0"/>
                <a:cs typeface="Verdana" panose="020B0604030504040204" pitchFamily="34" charset="0"/>
              </a:defRPr>
            </a:lvl1pPr>
          </a:lstStyle>
          <a:p>
            <a:r>
              <a:rPr lang="es-ES_tradnl" noProof="0" err="1"/>
              <a:t>Click</a:t>
            </a:r>
            <a:r>
              <a:rPr lang="es-ES_tradnl" noProof="0"/>
              <a:t> to </a:t>
            </a:r>
            <a:r>
              <a:rPr lang="es-ES_tradnl" noProof="0" err="1"/>
              <a:t>edit</a:t>
            </a:r>
            <a:r>
              <a:rPr lang="es-ES_tradnl" noProof="0"/>
              <a:t> Master </a:t>
            </a:r>
            <a:r>
              <a:rPr lang="es-ES_tradnl" noProof="0" err="1"/>
              <a:t>title</a:t>
            </a:r>
            <a:r>
              <a:rPr lang="es-ES_tradnl" noProof="0"/>
              <a:t> </a:t>
            </a:r>
            <a:r>
              <a:rPr lang="es-ES_tradnl" noProof="0" err="1"/>
              <a:t>style</a:t>
            </a:r>
            <a:endParaRPr lang="es-ES_tradnl" noProof="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86314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Placeholder 1"/>
          <p:cNvSpPr>
            <a:spLocks noGrp="1"/>
          </p:cNvSpPr>
          <p:nvPr>
            <p:ph type="title"/>
          </p:nvPr>
        </p:nvSpPr>
        <p:spPr>
          <a:xfrm>
            <a:off x="518160" y="402586"/>
            <a:ext cx="11203940" cy="698501"/>
          </a:xfrm>
          <a:prstGeom prst="rect">
            <a:avLst/>
          </a:prstGeom>
        </p:spPr>
        <p:txBody>
          <a:bodyPr vert="horz" lIns="0" tIns="0" rIns="0" bIns="0" rtlCol="0" anchor="t" anchorCtr="0">
            <a:noAutofit/>
          </a:bodyPr>
          <a:lstStyle>
            <a:lvl1pPr>
              <a:defRPr sz="2000"/>
            </a:lvl1pPr>
          </a:lstStyle>
          <a:p>
            <a:r>
              <a:rPr lang="es-ES_tradnl" noProof="0" err="1"/>
              <a:t>Click</a:t>
            </a:r>
            <a:r>
              <a:rPr lang="es-ES_tradnl" noProof="0"/>
              <a:t> to </a:t>
            </a:r>
            <a:r>
              <a:rPr lang="es-ES_tradnl" noProof="0" err="1"/>
              <a:t>edit</a:t>
            </a:r>
            <a:r>
              <a:rPr lang="es-ES_tradnl" noProof="0"/>
              <a:t> Master </a:t>
            </a:r>
            <a:r>
              <a:rPr lang="es-ES_tradnl" noProof="0" err="1"/>
              <a:t>title</a:t>
            </a:r>
            <a:r>
              <a:rPr lang="es-ES_tradnl" noProof="0"/>
              <a:t> </a:t>
            </a:r>
            <a:r>
              <a:rPr lang="es-ES_tradnl" noProof="0" err="1"/>
              <a:t>style</a:t>
            </a:r>
            <a:endParaRPr lang="es-ES_tradnl" noProof="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89461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2393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2"/>
            </p:custDataLst>
            <p:extLst>
              <p:ext uri="{D42A27DB-BD31-4B8C-83A1-F6EECF244321}">
                <p14:modId xmlns:p14="http://schemas.microsoft.com/office/powerpoint/2010/main" val="3226129256"/>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s-ES_tradnl" noProof="0"/>
              <a:t>Clic para editar título</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s-ES_tradnl" noProof="0"/>
              <a:t>Haga clic para modificar el estilo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p>
        </p:txBody>
      </p:sp>
      <p:sp>
        <p:nvSpPr>
          <p:cNvPr id="11" name="TextBox 10"/>
          <p:cNvSpPr txBox="1"/>
          <p:nvPr userDrawn="1"/>
        </p:nvSpPr>
        <p:spPr>
          <a:xfrm>
            <a:off x="481330" y="6477000"/>
            <a:ext cx="5355167" cy="100027"/>
          </a:xfrm>
          <a:prstGeom prst="rect">
            <a:avLst/>
          </a:prstGeom>
          <a:noFill/>
        </p:spPr>
        <p:txBody>
          <a:bodyPr wrap="square" lIns="0" tIns="0" rIns="0" bIns="0" rtlCol="0">
            <a:spAutoFit/>
          </a:bodyPr>
          <a:lstStyle/>
          <a:p>
            <a:pPr algn="l"/>
            <a:r>
              <a:rPr lang="es-ES_tradnl" sz="650">
                <a:solidFill>
                  <a:schemeClr val="tx1"/>
                </a:solidFill>
                <a:latin typeface="Verdana" panose="020B0604030504040204" pitchFamily="34" charset="0"/>
                <a:ea typeface="Verdana" panose="020B0604030504040204" pitchFamily="34" charset="0"/>
                <a:cs typeface="Verdana" panose="020B0604030504040204" pitchFamily="34" charset="0"/>
              </a:rPr>
              <a:t>© 2022 </a:t>
            </a:r>
            <a:r>
              <a:rPr lang="en-US" sz="650" b="0">
                <a:solidFill>
                  <a:schemeClr val="tx1"/>
                </a:solidFill>
                <a:latin typeface="Verdana" panose="020B0604030504040204" pitchFamily="34" charset="0"/>
                <a:ea typeface="Verdana" panose="020B0604030504040204" pitchFamily="34" charset="0"/>
                <a:cs typeface="Verdana" panose="020B0604030504040204" pitchFamily="34" charset="0"/>
              </a:rPr>
              <a:t>DXD Applications &amp; IT Solutions, S.L.U.</a:t>
            </a:r>
            <a:endParaRPr lang="es-ES" sz="650" b="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s-ES_tradnl" sz="650" noProof="0" smtClean="0">
                <a:solidFill>
                  <a:schemeClr val="tx1"/>
                </a:solidFill>
              </a:rPr>
              <a:pPr marL="0" indent="0" algn="r">
                <a:spcBef>
                  <a:spcPts val="800"/>
                </a:spcBef>
                <a:buSzPct val="100000"/>
                <a:buFont typeface="Arial"/>
                <a:buNone/>
              </a:pPr>
              <a:t>‹#›</a:t>
            </a:fld>
            <a:endParaRPr lang="es-ES_tradnl" sz="650" noProof="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5" r:id="rId2"/>
    <p:sldLayoutId id="2147483713" r:id="rId3"/>
    <p:sldLayoutId id="2147483679" r:id="rId4"/>
    <p:sldLayoutId id="2147483681" r:id="rId5"/>
    <p:sldLayoutId id="2147483697" r:id="rId6"/>
    <p:sldLayoutId id="2147483695" r:id="rId7"/>
    <p:sldLayoutId id="2147483752" r:id="rId8"/>
    <p:sldLayoutId id="2147483696" r:id="rId9"/>
    <p:sldLayoutId id="2147483753" r:id="rId10"/>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968" userDrawn="1">
          <p15:clr>
            <a:srgbClr val="F26B43"/>
          </p15:clr>
        </p15:guide>
        <p15:guide id="4" pos="296" userDrawn="1">
          <p15:clr>
            <a:srgbClr val="F26B43"/>
          </p15:clr>
        </p15:guide>
        <p15:guide id="5" pos="7384" userDrawn="1">
          <p15:clr>
            <a:srgbClr val="F26B43"/>
          </p15:clr>
        </p15:guide>
        <p15:guide id="7" orient="horz" pos="245" userDrawn="1">
          <p15:clr>
            <a:srgbClr val="F26B43"/>
          </p15:clr>
        </p15:guide>
        <p15:guide id="19" pos="3840" userDrawn="1">
          <p15:clr>
            <a:srgbClr val="F26B43"/>
          </p15:clr>
        </p15:guide>
        <p15:guide id="21"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100.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6.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jpeg"/><Relationship Id="rId7" Type="http://schemas.openxmlformats.org/officeDocument/2006/relationships/image" Target="../media/image9.sv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5.jpeg"/><Relationship Id="rId10" Type="http://schemas.openxmlformats.org/officeDocument/2006/relationships/image" Target="../media/image12.png"/><Relationship Id="rId4" Type="http://schemas.openxmlformats.org/officeDocument/2006/relationships/hyperlink" Target="http://www.istqb.org/" TargetMode="External"/><Relationship Id="rId9" Type="http://schemas.openxmlformats.org/officeDocument/2006/relationships/image" Target="../media/image11.svg"/></Relationships>
</file>

<file path=ppt/slides/_rels/slide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istqb.org/" TargetMode="External"/><Relationship Id="rId1" Type="http://schemas.openxmlformats.org/officeDocument/2006/relationships/slideLayout" Target="../slideLayouts/slideLayout4.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6.jpeg"/><Relationship Id="rId7" Type="http://schemas.openxmlformats.org/officeDocument/2006/relationships/image" Target="../media/image15.sv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5.jpeg"/><Relationship Id="rId4" Type="http://schemas.openxmlformats.org/officeDocument/2006/relationships/hyperlink" Target="http://www.istqb.org/" TargetMode="External"/><Relationship Id="rId9" Type="http://schemas.openxmlformats.org/officeDocument/2006/relationships/image" Target="../media/image17.svg"/></Relationships>
</file>

<file path=ppt/slides/_rels/slide2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0.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35.xml.rels><?xml version="1.0" encoding="UTF-8" standalone="yes"?>
<Relationships xmlns="http://schemas.openxmlformats.org/package/2006/relationships"><Relationship Id="rId3" Type="http://schemas.openxmlformats.org/officeDocument/2006/relationships/hyperlink" Target="http://www.istqb.org/" TargetMode="External"/><Relationship Id="rId2" Type="http://schemas.openxmlformats.org/officeDocument/2006/relationships/image" Target="../media/image6.jpeg"/><Relationship Id="rId1" Type="http://schemas.openxmlformats.org/officeDocument/2006/relationships/slideLayout" Target="../slideLayouts/slideLayout4.xml"/><Relationship Id="rId4" Type="http://schemas.openxmlformats.org/officeDocument/2006/relationships/image" Target="../media/image5.jpeg"/></Relationships>
</file>

<file path=ppt/slides/_rels/slide3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4.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5.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www.istqb.org/" TargetMode="External"/><Relationship Id="rId2" Type="http://schemas.openxmlformats.org/officeDocument/2006/relationships/image" Target="../media/image6.jpeg"/><Relationship Id="rId1" Type="http://schemas.openxmlformats.org/officeDocument/2006/relationships/slideLayout" Target="../slideLayouts/slideLayout4.xml"/><Relationship Id="rId4" Type="http://schemas.openxmlformats.org/officeDocument/2006/relationships/image" Target="../media/image5.jpeg"/></Relationships>
</file>

<file path=ppt/slides/_rels/slide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6.jpeg"/><Relationship Id="rId7" Type="http://schemas.openxmlformats.org/officeDocument/2006/relationships/image" Target="../media/image19.svg"/><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5.jpeg"/><Relationship Id="rId4" Type="http://schemas.openxmlformats.org/officeDocument/2006/relationships/hyperlink" Target="http://www.istqb.org/" TargetMode="External"/><Relationship Id="rId9" Type="http://schemas.openxmlformats.org/officeDocument/2006/relationships/image" Target="../media/image21.svg"/></Relationships>
</file>

<file path=ppt/slides/_rels/slide41.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image" Target="../media/image6.jpeg"/><Relationship Id="rId7" Type="http://schemas.openxmlformats.org/officeDocument/2006/relationships/diagramLayout" Target="../diagrams/layout4.xml"/><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diagramData" Target="../diagrams/data4.xml"/><Relationship Id="rId11" Type="http://schemas.openxmlformats.org/officeDocument/2006/relationships/image" Target="../media/image22.jpeg"/><Relationship Id="rId5" Type="http://schemas.openxmlformats.org/officeDocument/2006/relationships/image" Target="../media/image5.jpeg"/><Relationship Id="rId10" Type="http://schemas.microsoft.com/office/2007/relationships/diagramDrawing" Target="../diagrams/drawing4.xml"/><Relationship Id="rId4" Type="http://schemas.openxmlformats.org/officeDocument/2006/relationships/hyperlink" Target="http://www.istqb.org/" TargetMode="External"/><Relationship Id="rId9" Type="http://schemas.openxmlformats.org/officeDocument/2006/relationships/diagramColors" Target="../diagrams/colors4.xml"/></Relationships>
</file>

<file path=ppt/slides/_rels/slide4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8.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43.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image" Target="../media/image6.jpeg"/><Relationship Id="rId7" Type="http://schemas.openxmlformats.org/officeDocument/2006/relationships/diagramLayout" Target="../diagrams/layout5.xml"/><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diagramData" Target="../diagrams/data5.xml"/><Relationship Id="rId5" Type="http://schemas.openxmlformats.org/officeDocument/2006/relationships/image" Target="../media/image5.jpeg"/><Relationship Id="rId10" Type="http://schemas.microsoft.com/office/2007/relationships/diagramDrawing" Target="../diagrams/drawing5.xml"/><Relationship Id="rId4" Type="http://schemas.openxmlformats.org/officeDocument/2006/relationships/hyperlink" Target="http://www.istqb.org/" TargetMode="External"/><Relationship Id="rId9" Type="http://schemas.openxmlformats.org/officeDocument/2006/relationships/diagramColors" Target="../diagrams/colors5.xml"/></Relationships>
</file>

<file path=ppt/slides/_rels/slide4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0.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1.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2.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3.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4.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5.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www.istqb.org/" TargetMode="External"/><Relationship Id="rId2" Type="http://schemas.openxmlformats.org/officeDocument/2006/relationships/image" Target="../media/image6.jpeg"/><Relationship Id="rId1" Type="http://schemas.openxmlformats.org/officeDocument/2006/relationships/slideLayout" Target="../slideLayouts/slideLayout4.xml"/><Relationship Id="rId4" Type="http://schemas.openxmlformats.org/officeDocument/2006/relationships/image" Target="../media/image5.jpeg"/></Relationships>
</file>

<file path=ppt/slides/_rels/slide5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6.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7.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8.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9.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0.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56.xml.rels><?xml version="1.0" encoding="UTF-8" standalone="yes"?>
<Relationships xmlns="http://schemas.openxmlformats.org/package/2006/relationships"><Relationship Id="rId3" Type="http://schemas.openxmlformats.org/officeDocument/2006/relationships/hyperlink" Target="http://www.istqb.org/" TargetMode="External"/><Relationship Id="rId2" Type="http://schemas.openxmlformats.org/officeDocument/2006/relationships/image" Target="../media/image6.jpeg"/><Relationship Id="rId1" Type="http://schemas.openxmlformats.org/officeDocument/2006/relationships/slideLayout" Target="../slideLayouts/slideLayout4.xml"/><Relationship Id="rId4" Type="http://schemas.openxmlformats.org/officeDocument/2006/relationships/image" Target="../media/image5.jpeg"/></Relationships>
</file>

<file path=ppt/slides/_rels/slide57.xml.rels><?xml version="1.0" encoding="UTF-8" standalone="yes"?>
<Relationships xmlns="http://schemas.openxmlformats.org/package/2006/relationships"><Relationship Id="rId8" Type="http://schemas.openxmlformats.org/officeDocument/2006/relationships/diagramQuickStyle" Target="../diagrams/quickStyle6.xml"/><Relationship Id="rId3" Type="http://schemas.openxmlformats.org/officeDocument/2006/relationships/image" Target="../media/image6.jpeg"/><Relationship Id="rId7" Type="http://schemas.openxmlformats.org/officeDocument/2006/relationships/diagramLayout" Target="../diagrams/layout6.xml"/><Relationship Id="rId2" Type="http://schemas.openxmlformats.org/officeDocument/2006/relationships/notesSlide" Target="../notesSlides/notesSlide52.xml"/><Relationship Id="rId1" Type="http://schemas.openxmlformats.org/officeDocument/2006/relationships/slideLayout" Target="../slideLayouts/slideLayout4.xml"/><Relationship Id="rId6" Type="http://schemas.openxmlformats.org/officeDocument/2006/relationships/diagramData" Target="../diagrams/data6.xml"/><Relationship Id="rId5" Type="http://schemas.openxmlformats.org/officeDocument/2006/relationships/image" Target="../media/image5.jpeg"/><Relationship Id="rId10" Type="http://schemas.microsoft.com/office/2007/relationships/diagramDrawing" Target="../diagrams/drawing6.xml"/><Relationship Id="rId4" Type="http://schemas.openxmlformats.org/officeDocument/2006/relationships/hyperlink" Target="http://www.istqb.org/" TargetMode="External"/><Relationship Id="rId9" Type="http://schemas.openxmlformats.org/officeDocument/2006/relationships/diagramColors" Target="../diagrams/colors6.xml"/></Relationships>
</file>

<file path=ppt/slides/_rels/slide58.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image" Target="../media/image6.jpeg"/><Relationship Id="rId7" Type="http://schemas.openxmlformats.org/officeDocument/2006/relationships/diagramLayout" Target="../diagrams/layout7.xml"/><Relationship Id="rId2" Type="http://schemas.openxmlformats.org/officeDocument/2006/relationships/notesSlide" Target="../notesSlides/notesSlide53.xml"/><Relationship Id="rId1" Type="http://schemas.openxmlformats.org/officeDocument/2006/relationships/slideLayout" Target="../slideLayouts/slideLayout4.xml"/><Relationship Id="rId6" Type="http://schemas.openxmlformats.org/officeDocument/2006/relationships/diagramData" Target="../diagrams/data7.xml"/><Relationship Id="rId5" Type="http://schemas.openxmlformats.org/officeDocument/2006/relationships/image" Target="../media/image5.jpeg"/><Relationship Id="rId10" Type="http://schemas.microsoft.com/office/2007/relationships/diagramDrawing" Target="../diagrams/drawing7.xml"/><Relationship Id="rId4" Type="http://schemas.openxmlformats.org/officeDocument/2006/relationships/hyperlink" Target="http://www.istqb.org/" TargetMode="External"/><Relationship Id="rId9" Type="http://schemas.openxmlformats.org/officeDocument/2006/relationships/diagramColors" Target="../diagrams/colors7.xml"/></Relationships>
</file>

<file path=ppt/slides/_rels/slide5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4.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5.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61.xml.rels><?xml version="1.0" encoding="UTF-8" standalone="yes"?>
<Relationships xmlns="http://schemas.openxmlformats.org/package/2006/relationships"><Relationship Id="rId8" Type="http://schemas.openxmlformats.org/officeDocument/2006/relationships/diagramQuickStyle" Target="../diagrams/quickStyle8.xml"/><Relationship Id="rId3" Type="http://schemas.openxmlformats.org/officeDocument/2006/relationships/image" Target="../media/image6.jpeg"/><Relationship Id="rId7" Type="http://schemas.openxmlformats.org/officeDocument/2006/relationships/diagramLayout" Target="../diagrams/layout8.xml"/><Relationship Id="rId2" Type="http://schemas.openxmlformats.org/officeDocument/2006/relationships/notesSlide" Target="../notesSlides/notesSlide56.xml"/><Relationship Id="rId1" Type="http://schemas.openxmlformats.org/officeDocument/2006/relationships/slideLayout" Target="../slideLayouts/slideLayout4.xml"/><Relationship Id="rId6" Type="http://schemas.openxmlformats.org/officeDocument/2006/relationships/diagramData" Target="../diagrams/data8.xml"/><Relationship Id="rId5" Type="http://schemas.openxmlformats.org/officeDocument/2006/relationships/image" Target="../media/image5.jpeg"/><Relationship Id="rId10" Type="http://schemas.microsoft.com/office/2007/relationships/diagramDrawing" Target="../diagrams/drawing8.xml"/><Relationship Id="rId4" Type="http://schemas.openxmlformats.org/officeDocument/2006/relationships/hyperlink" Target="http://www.istqb.org/" TargetMode="External"/><Relationship Id="rId9" Type="http://schemas.openxmlformats.org/officeDocument/2006/relationships/diagramColors" Target="../diagrams/colors8.xml"/></Relationships>
</file>

<file path=ppt/slides/_rels/slide6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7.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63.xml.rels><?xml version="1.0" encoding="UTF-8" standalone="yes"?>
<Relationships xmlns="http://schemas.openxmlformats.org/package/2006/relationships"><Relationship Id="rId8" Type="http://schemas.openxmlformats.org/officeDocument/2006/relationships/diagramQuickStyle" Target="../diagrams/quickStyle9.xml"/><Relationship Id="rId3" Type="http://schemas.openxmlformats.org/officeDocument/2006/relationships/image" Target="../media/image6.jpeg"/><Relationship Id="rId7" Type="http://schemas.openxmlformats.org/officeDocument/2006/relationships/diagramLayout" Target="../diagrams/layout9.xml"/><Relationship Id="rId2" Type="http://schemas.openxmlformats.org/officeDocument/2006/relationships/notesSlide" Target="../notesSlides/notesSlide58.xml"/><Relationship Id="rId1" Type="http://schemas.openxmlformats.org/officeDocument/2006/relationships/slideLayout" Target="../slideLayouts/slideLayout4.xml"/><Relationship Id="rId6" Type="http://schemas.openxmlformats.org/officeDocument/2006/relationships/diagramData" Target="../diagrams/data9.xml"/><Relationship Id="rId5" Type="http://schemas.openxmlformats.org/officeDocument/2006/relationships/image" Target="../media/image5.jpeg"/><Relationship Id="rId10" Type="http://schemas.microsoft.com/office/2007/relationships/diagramDrawing" Target="../diagrams/drawing9.xml"/><Relationship Id="rId4" Type="http://schemas.openxmlformats.org/officeDocument/2006/relationships/hyperlink" Target="http://www.istqb.org/" TargetMode="External"/><Relationship Id="rId9" Type="http://schemas.openxmlformats.org/officeDocument/2006/relationships/diagramColors" Target="../diagrams/colors9.xml"/></Relationships>
</file>

<file path=ppt/slides/_rels/slide64.xml.rels><?xml version="1.0" encoding="UTF-8" standalone="yes"?>
<Relationships xmlns="http://schemas.openxmlformats.org/package/2006/relationships"><Relationship Id="rId8" Type="http://schemas.openxmlformats.org/officeDocument/2006/relationships/diagramQuickStyle" Target="../diagrams/quickStyle10.xml"/><Relationship Id="rId3" Type="http://schemas.openxmlformats.org/officeDocument/2006/relationships/image" Target="../media/image6.jpeg"/><Relationship Id="rId7" Type="http://schemas.openxmlformats.org/officeDocument/2006/relationships/diagramLayout" Target="../diagrams/layout10.xml"/><Relationship Id="rId2" Type="http://schemas.openxmlformats.org/officeDocument/2006/relationships/notesSlide" Target="../notesSlides/notesSlide59.xml"/><Relationship Id="rId1" Type="http://schemas.openxmlformats.org/officeDocument/2006/relationships/slideLayout" Target="../slideLayouts/slideLayout4.xml"/><Relationship Id="rId6" Type="http://schemas.openxmlformats.org/officeDocument/2006/relationships/diagramData" Target="../diagrams/data10.xml"/><Relationship Id="rId5" Type="http://schemas.openxmlformats.org/officeDocument/2006/relationships/image" Target="../media/image5.jpeg"/><Relationship Id="rId10" Type="http://schemas.microsoft.com/office/2007/relationships/diagramDrawing" Target="../diagrams/drawing10.xml"/><Relationship Id="rId4" Type="http://schemas.openxmlformats.org/officeDocument/2006/relationships/hyperlink" Target="http://www.istqb.org/" TargetMode="External"/><Relationship Id="rId9" Type="http://schemas.openxmlformats.org/officeDocument/2006/relationships/diagramColors" Target="../diagrams/colors10.xml"/></Relationships>
</file>

<file path=ppt/slides/_rels/slide6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0.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1.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2.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68.xml.rels><?xml version="1.0" encoding="UTF-8" standalone="yes"?>
<Relationships xmlns="http://schemas.openxmlformats.org/package/2006/relationships"><Relationship Id="rId8" Type="http://schemas.openxmlformats.org/officeDocument/2006/relationships/diagramQuickStyle" Target="../diagrams/quickStyle11.xml"/><Relationship Id="rId3" Type="http://schemas.openxmlformats.org/officeDocument/2006/relationships/image" Target="../media/image6.jpeg"/><Relationship Id="rId7" Type="http://schemas.openxmlformats.org/officeDocument/2006/relationships/diagramLayout" Target="../diagrams/layout11.xml"/><Relationship Id="rId2" Type="http://schemas.openxmlformats.org/officeDocument/2006/relationships/notesSlide" Target="../notesSlides/notesSlide63.xml"/><Relationship Id="rId1" Type="http://schemas.openxmlformats.org/officeDocument/2006/relationships/slideLayout" Target="../slideLayouts/slideLayout4.xml"/><Relationship Id="rId6" Type="http://schemas.openxmlformats.org/officeDocument/2006/relationships/diagramData" Target="../diagrams/data11.xml"/><Relationship Id="rId5" Type="http://schemas.openxmlformats.org/officeDocument/2006/relationships/image" Target="../media/image5.jpeg"/><Relationship Id="rId10" Type="http://schemas.microsoft.com/office/2007/relationships/diagramDrawing" Target="../diagrams/drawing11.xml"/><Relationship Id="rId4" Type="http://schemas.openxmlformats.org/officeDocument/2006/relationships/hyperlink" Target="http://www.istqb.org/" TargetMode="External"/><Relationship Id="rId9" Type="http://schemas.openxmlformats.org/officeDocument/2006/relationships/diagramColors" Target="../diagrams/colors11.xml"/></Relationships>
</file>

<file path=ppt/slides/_rels/slide6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4.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6.jpeg"/><Relationship Id="rId7" Type="http://schemas.openxmlformats.org/officeDocument/2006/relationships/diagramLayout" Target="../diagrams/layout1.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Data" Target="../diagrams/data1.xml"/><Relationship Id="rId5" Type="http://schemas.openxmlformats.org/officeDocument/2006/relationships/image" Target="../media/image5.jpeg"/><Relationship Id="rId10" Type="http://schemas.microsoft.com/office/2007/relationships/diagramDrawing" Target="../diagrams/drawing1.xml"/><Relationship Id="rId4" Type="http://schemas.openxmlformats.org/officeDocument/2006/relationships/hyperlink" Target="http://www.istqb.org/" TargetMode="External"/><Relationship Id="rId9" Type="http://schemas.openxmlformats.org/officeDocument/2006/relationships/diagramColors" Target="../diagrams/colors1.xml"/></Relationships>
</file>

<file path=ppt/slides/_rels/slide7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5.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71.xml.rels><?xml version="1.0" encoding="UTF-8" standalone="yes"?>
<Relationships xmlns="http://schemas.openxmlformats.org/package/2006/relationships"><Relationship Id="rId8" Type="http://schemas.openxmlformats.org/officeDocument/2006/relationships/diagramQuickStyle" Target="../diagrams/quickStyle12.xml"/><Relationship Id="rId3" Type="http://schemas.openxmlformats.org/officeDocument/2006/relationships/image" Target="../media/image6.jpeg"/><Relationship Id="rId7" Type="http://schemas.openxmlformats.org/officeDocument/2006/relationships/diagramLayout" Target="../diagrams/layout12.xml"/><Relationship Id="rId2" Type="http://schemas.openxmlformats.org/officeDocument/2006/relationships/notesSlide" Target="../notesSlides/notesSlide66.xml"/><Relationship Id="rId1" Type="http://schemas.openxmlformats.org/officeDocument/2006/relationships/slideLayout" Target="../slideLayouts/slideLayout4.xml"/><Relationship Id="rId6" Type="http://schemas.openxmlformats.org/officeDocument/2006/relationships/diagramData" Target="../diagrams/data12.xml"/><Relationship Id="rId5" Type="http://schemas.openxmlformats.org/officeDocument/2006/relationships/image" Target="../media/image5.jpeg"/><Relationship Id="rId10" Type="http://schemas.microsoft.com/office/2007/relationships/diagramDrawing" Target="../diagrams/drawing12.xml"/><Relationship Id="rId4" Type="http://schemas.openxmlformats.org/officeDocument/2006/relationships/hyperlink" Target="http://www.istqb.org/" TargetMode="External"/><Relationship Id="rId9" Type="http://schemas.openxmlformats.org/officeDocument/2006/relationships/diagramColors" Target="../diagrams/colors12.xml"/></Relationships>
</file>

<file path=ppt/slides/_rels/slide72.xml.rels><?xml version="1.0" encoding="UTF-8" standalone="yes"?>
<Relationships xmlns="http://schemas.openxmlformats.org/package/2006/relationships"><Relationship Id="rId8" Type="http://schemas.openxmlformats.org/officeDocument/2006/relationships/diagramQuickStyle" Target="../diagrams/quickStyle13.xml"/><Relationship Id="rId3" Type="http://schemas.openxmlformats.org/officeDocument/2006/relationships/image" Target="../media/image6.jpeg"/><Relationship Id="rId7" Type="http://schemas.openxmlformats.org/officeDocument/2006/relationships/diagramLayout" Target="../diagrams/layout13.xml"/><Relationship Id="rId2" Type="http://schemas.openxmlformats.org/officeDocument/2006/relationships/notesSlide" Target="../notesSlides/notesSlide67.xml"/><Relationship Id="rId1" Type="http://schemas.openxmlformats.org/officeDocument/2006/relationships/slideLayout" Target="../slideLayouts/slideLayout4.xml"/><Relationship Id="rId6" Type="http://schemas.openxmlformats.org/officeDocument/2006/relationships/diagramData" Target="../diagrams/data13.xml"/><Relationship Id="rId5" Type="http://schemas.openxmlformats.org/officeDocument/2006/relationships/image" Target="../media/image5.jpeg"/><Relationship Id="rId10" Type="http://schemas.microsoft.com/office/2007/relationships/diagramDrawing" Target="../diagrams/drawing13.xml"/><Relationship Id="rId4" Type="http://schemas.openxmlformats.org/officeDocument/2006/relationships/hyperlink" Target="http://www.istqb.org/" TargetMode="External"/><Relationship Id="rId9" Type="http://schemas.openxmlformats.org/officeDocument/2006/relationships/diagramColors" Target="../diagrams/colors13.xml"/></Relationships>
</file>

<file path=ppt/slides/_rels/slide73.xml.rels><?xml version="1.0" encoding="UTF-8" standalone="yes"?>
<Relationships xmlns="http://schemas.openxmlformats.org/package/2006/relationships"><Relationship Id="rId8" Type="http://schemas.openxmlformats.org/officeDocument/2006/relationships/diagramQuickStyle" Target="../diagrams/quickStyle14.xml"/><Relationship Id="rId3" Type="http://schemas.openxmlformats.org/officeDocument/2006/relationships/image" Target="../media/image6.jpeg"/><Relationship Id="rId7" Type="http://schemas.openxmlformats.org/officeDocument/2006/relationships/diagramLayout" Target="../diagrams/layout14.xml"/><Relationship Id="rId2" Type="http://schemas.openxmlformats.org/officeDocument/2006/relationships/notesSlide" Target="../notesSlides/notesSlide68.xml"/><Relationship Id="rId1" Type="http://schemas.openxmlformats.org/officeDocument/2006/relationships/slideLayout" Target="../slideLayouts/slideLayout4.xml"/><Relationship Id="rId6" Type="http://schemas.openxmlformats.org/officeDocument/2006/relationships/diagramData" Target="../diagrams/data14.xml"/><Relationship Id="rId5" Type="http://schemas.openxmlformats.org/officeDocument/2006/relationships/image" Target="../media/image5.jpeg"/><Relationship Id="rId10" Type="http://schemas.microsoft.com/office/2007/relationships/diagramDrawing" Target="../diagrams/drawing14.xml"/><Relationship Id="rId4" Type="http://schemas.openxmlformats.org/officeDocument/2006/relationships/hyperlink" Target="http://www.istqb.org/" TargetMode="External"/><Relationship Id="rId9" Type="http://schemas.openxmlformats.org/officeDocument/2006/relationships/diagramColors" Target="../diagrams/colors14.xml"/></Relationships>
</file>

<file path=ppt/slides/_rels/slide74.xml.rels><?xml version="1.0" encoding="UTF-8" standalone="yes"?>
<Relationships xmlns="http://schemas.openxmlformats.org/package/2006/relationships"><Relationship Id="rId8" Type="http://schemas.openxmlformats.org/officeDocument/2006/relationships/diagramQuickStyle" Target="../diagrams/quickStyle15.xml"/><Relationship Id="rId3" Type="http://schemas.openxmlformats.org/officeDocument/2006/relationships/image" Target="../media/image6.jpeg"/><Relationship Id="rId7" Type="http://schemas.openxmlformats.org/officeDocument/2006/relationships/diagramLayout" Target="../diagrams/layout15.xml"/><Relationship Id="rId2" Type="http://schemas.openxmlformats.org/officeDocument/2006/relationships/notesSlide" Target="../notesSlides/notesSlide69.xml"/><Relationship Id="rId1" Type="http://schemas.openxmlformats.org/officeDocument/2006/relationships/slideLayout" Target="../slideLayouts/slideLayout4.xml"/><Relationship Id="rId6" Type="http://schemas.openxmlformats.org/officeDocument/2006/relationships/diagramData" Target="../diagrams/data15.xml"/><Relationship Id="rId5" Type="http://schemas.openxmlformats.org/officeDocument/2006/relationships/image" Target="../media/image5.jpeg"/><Relationship Id="rId10" Type="http://schemas.microsoft.com/office/2007/relationships/diagramDrawing" Target="../diagrams/drawing15.xml"/><Relationship Id="rId4" Type="http://schemas.openxmlformats.org/officeDocument/2006/relationships/hyperlink" Target="http://www.istqb.org/" TargetMode="External"/><Relationship Id="rId9" Type="http://schemas.openxmlformats.org/officeDocument/2006/relationships/diagramColors" Target="../diagrams/colors15.xml"/></Relationships>
</file>

<file path=ppt/slides/_rels/slide75.xml.rels><?xml version="1.0" encoding="UTF-8" standalone="yes"?>
<Relationships xmlns="http://schemas.openxmlformats.org/package/2006/relationships"><Relationship Id="rId8" Type="http://schemas.openxmlformats.org/officeDocument/2006/relationships/diagramQuickStyle" Target="../diagrams/quickStyle16.xml"/><Relationship Id="rId3" Type="http://schemas.openxmlformats.org/officeDocument/2006/relationships/image" Target="../media/image6.jpeg"/><Relationship Id="rId7" Type="http://schemas.openxmlformats.org/officeDocument/2006/relationships/diagramLayout" Target="../diagrams/layout16.xml"/><Relationship Id="rId2" Type="http://schemas.openxmlformats.org/officeDocument/2006/relationships/notesSlide" Target="../notesSlides/notesSlide70.xml"/><Relationship Id="rId1" Type="http://schemas.openxmlformats.org/officeDocument/2006/relationships/slideLayout" Target="../slideLayouts/slideLayout4.xml"/><Relationship Id="rId6" Type="http://schemas.openxmlformats.org/officeDocument/2006/relationships/diagramData" Target="../diagrams/data16.xml"/><Relationship Id="rId5" Type="http://schemas.openxmlformats.org/officeDocument/2006/relationships/image" Target="../media/image5.jpeg"/><Relationship Id="rId10" Type="http://schemas.microsoft.com/office/2007/relationships/diagramDrawing" Target="../diagrams/drawing16.xml"/><Relationship Id="rId4" Type="http://schemas.openxmlformats.org/officeDocument/2006/relationships/hyperlink" Target="http://www.istqb.org/" TargetMode="External"/><Relationship Id="rId9" Type="http://schemas.openxmlformats.org/officeDocument/2006/relationships/diagramColors" Target="../diagrams/colors16.xml"/></Relationships>
</file>

<file path=ppt/slides/_rels/slide76.xml.rels><?xml version="1.0" encoding="UTF-8" standalone="yes"?>
<Relationships xmlns="http://schemas.openxmlformats.org/package/2006/relationships"><Relationship Id="rId8" Type="http://schemas.openxmlformats.org/officeDocument/2006/relationships/diagramQuickStyle" Target="../diagrams/quickStyle17.xml"/><Relationship Id="rId3" Type="http://schemas.openxmlformats.org/officeDocument/2006/relationships/image" Target="../media/image6.jpeg"/><Relationship Id="rId7" Type="http://schemas.openxmlformats.org/officeDocument/2006/relationships/diagramLayout" Target="../diagrams/layout17.xml"/><Relationship Id="rId2" Type="http://schemas.openxmlformats.org/officeDocument/2006/relationships/notesSlide" Target="../notesSlides/notesSlide71.xml"/><Relationship Id="rId1" Type="http://schemas.openxmlformats.org/officeDocument/2006/relationships/slideLayout" Target="../slideLayouts/slideLayout4.xml"/><Relationship Id="rId6" Type="http://schemas.openxmlformats.org/officeDocument/2006/relationships/diagramData" Target="../diagrams/data17.xml"/><Relationship Id="rId5" Type="http://schemas.openxmlformats.org/officeDocument/2006/relationships/image" Target="../media/image5.jpeg"/><Relationship Id="rId10" Type="http://schemas.microsoft.com/office/2007/relationships/diagramDrawing" Target="../diagrams/drawing17.xml"/><Relationship Id="rId4" Type="http://schemas.openxmlformats.org/officeDocument/2006/relationships/hyperlink" Target="http://www.istqb.org/" TargetMode="External"/><Relationship Id="rId9" Type="http://schemas.openxmlformats.org/officeDocument/2006/relationships/diagramColors" Target="../diagrams/colors17.xml"/></Relationships>
</file>

<file path=ppt/slides/_rels/slide77.xml.rels><?xml version="1.0" encoding="UTF-8" standalone="yes"?>
<Relationships xmlns="http://schemas.openxmlformats.org/package/2006/relationships"><Relationship Id="rId8" Type="http://schemas.openxmlformats.org/officeDocument/2006/relationships/diagramQuickStyle" Target="../diagrams/quickStyle18.xml"/><Relationship Id="rId3" Type="http://schemas.openxmlformats.org/officeDocument/2006/relationships/image" Target="../media/image6.jpeg"/><Relationship Id="rId7" Type="http://schemas.openxmlformats.org/officeDocument/2006/relationships/diagramLayout" Target="../diagrams/layout18.xml"/><Relationship Id="rId2" Type="http://schemas.openxmlformats.org/officeDocument/2006/relationships/notesSlide" Target="../notesSlides/notesSlide72.xml"/><Relationship Id="rId1" Type="http://schemas.openxmlformats.org/officeDocument/2006/relationships/slideLayout" Target="../slideLayouts/slideLayout4.xml"/><Relationship Id="rId6" Type="http://schemas.openxmlformats.org/officeDocument/2006/relationships/diagramData" Target="../diagrams/data18.xml"/><Relationship Id="rId5" Type="http://schemas.openxmlformats.org/officeDocument/2006/relationships/image" Target="../media/image5.jpeg"/><Relationship Id="rId10" Type="http://schemas.microsoft.com/office/2007/relationships/diagramDrawing" Target="../diagrams/drawing18.xml"/><Relationship Id="rId4" Type="http://schemas.openxmlformats.org/officeDocument/2006/relationships/hyperlink" Target="http://www.istqb.org/" TargetMode="External"/><Relationship Id="rId9" Type="http://schemas.openxmlformats.org/officeDocument/2006/relationships/diagramColors" Target="../diagrams/colors18.xml"/></Relationships>
</file>

<file path=ppt/slides/_rels/slide7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3.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4.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6.jpeg"/><Relationship Id="rId7" Type="http://schemas.openxmlformats.org/officeDocument/2006/relationships/diagramLayout" Target="../diagrams/layout2.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Data" Target="../diagrams/data2.xml"/><Relationship Id="rId5" Type="http://schemas.openxmlformats.org/officeDocument/2006/relationships/image" Target="../media/image5.jpeg"/><Relationship Id="rId10" Type="http://schemas.microsoft.com/office/2007/relationships/diagramDrawing" Target="../diagrams/drawing2.xml"/><Relationship Id="rId4" Type="http://schemas.openxmlformats.org/officeDocument/2006/relationships/hyperlink" Target="http://www.istqb.org/" TargetMode="External"/><Relationship Id="rId9" Type="http://schemas.openxmlformats.org/officeDocument/2006/relationships/diagramColors" Target="../diagrams/colors2.xml"/></Relationships>
</file>

<file path=ppt/slides/_rels/slide80.xml.rels><?xml version="1.0" encoding="UTF-8" standalone="yes"?>
<Relationships xmlns="http://schemas.openxmlformats.org/package/2006/relationships"><Relationship Id="rId8" Type="http://schemas.openxmlformats.org/officeDocument/2006/relationships/diagramQuickStyle" Target="../diagrams/quickStyle19.xml"/><Relationship Id="rId3" Type="http://schemas.openxmlformats.org/officeDocument/2006/relationships/image" Target="../media/image6.jpeg"/><Relationship Id="rId7" Type="http://schemas.openxmlformats.org/officeDocument/2006/relationships/diagramLayout" Target="../diagrams/layout19.xml"/><Relationship Id="rId2" Type="http://schemas.openxmlformats.org/officeDocument/2006/relationships/notesSlide" Target="../notesSlides/notesSlide75.xml"/><Relationship Id="rId1" Type="http://schemas.openxmlformats.org/officeDocument/2006/relationships/slideLayout" Target="../slideLayouts/slideLayout4.xml"/><Relationship Id="rId6" Type="http://schemas.openxmlformats.org/officeDocument/2006/relationships/diagramData" Target="../diagrams/data19.xml"/><Relationship Id="rId5" Type="http://schemas.openxmlformats.org/officeDocument/2006/relationships/image" Target="../media/image5.jpeg"/><Relationship Id="rId10" Type="http://schemas.microsoft.com/office/2007/relationships/diagramDrawing" Target="../diagrams/drawing19.xml"/><Relationship Id="rId4" Type="http://schemas.openxmlformats.org/officeDocument/2006/relationships/hyperlink" Target="http://www.istqb.org/" TargetMode="External"/><Relationship Id="rId9" Type="http://schemas.openxmlformats.org/officeDocument/2006/relationships/diagramColors" Target="../diagrams/colors19.xml"/></Relationships>
</file>

<file path=ppt/slides/_rels/slide8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6.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7.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83.xml.rels><?xml version="1.0" encoding="UTF-8" standalone="yes"?>
<Relationships xmlns="http://schemas.openxmlformats.org/package/2006/relationships"><Relationship Id="rId8" Type="http://schemas.openxmlformats.org/officeDocument/2006/relationships/diagramQuickStyle" Target="../diagrams/quickStyle20.xml"/><Relationship Id="rId3" Type="http://schemas.openxmlformats.org/officeDocument/2006/relationships/image" Target="../media/image6.jpeg"/><Relationship Id="rId7" Type="http://schemas.openxmlformats.org/officeDocument/2006/relationships/diagramLayout" Target="../diagrams/layout20.xml"/><Relationship Id="rId2" Type="http://schemas.openxmlformats.org/officeDocument/2006/relationships/notesSlide" Target="../notesSlides/notesSlide78.xml"/><Relationship Id="rId1" Type="http://schemas.openxmlformats.org/officeDocument/2006/relationships/slideLayout" Target="../slideLayouts/slideLayout4.xml"/><Relationship Id="rId6" Type="http://schemas.openxmlformats.org/officeDocument/2006/relationships/diagramData" Target="../diagrams/data20.xml"/><Relationship Id="rId5" Type="http://schemas.openxmlformats.org/officeDocument/2006/relationships/image" Target="../media/image5.jpeg"/><Relationship Id="rId10" Type="http://schemas.microsoft.com/office/2007/relationships/diagramDrawing" Target="../diagrams/drawing20.xml"/><Relationship Id="rId4" Type="http://schemas.openxmlformats.org/officeDocument/2006/relationships/hyperlink" Target="http://www.istqb.org/" TargetMode="External"/><Relationship Id="rId9" Type="http://schemas.openxmlformats.org/officeDocument/2006/relationships/diagramColors" Target="../diagrams/colors20.xml"/></Relationships>
</file>

<file path=ppt/slides/_rels/slide84.xml.rels><?xml version="1.0" encoding="UTF-8" standalone="yes"?>
<Relationships xmlns="http://schemas.openxmlformats.org/package/2006/relationships"><Relationship Id="rId8" Type="http://schemas.openxmlformats.org/officeDocument/2006/relationships/diagramQuickStyle" Target="../diagrams/quickStyle21.xml"/><Relationship Id="rId3" Type="http://schemas.openxmlformats.org/officeDocument/2006/relationships/image" Target="../media/image6.jpeg"/><Relationship Id="rId7" Type="http://schemas.openxmlformats.org/officeDocument/2006/relationships/diagramLayout" Target="../diagrams/layout21.xml"/><Relationship Id="rId2" Type="http://schemas.openxmlformats.org/officeDocument/2006/relationships/notesSlide" Target="../notesSlides/notesSlide79.xml"/><Relationship Id="rId1" Type="http://schemas.openxmlformats.org/officeDocument/2006/relationships/slideLayout" Target="../slideLayouts/slideLayout4.xml"/><Relationship Id="rId6" Type="http://schemas.openxmlformats.org/officeDocument/2006/relationships/diagramData" Target="../diagrams/data21.xml"/><Relationship Id="rId5" Type="http://schemas.openxmlformats.org/officeDocument/2006/relationships/image" Target="../media/image5.jpeg"/><Relationship Id="rId10" Type="http://schemas.microsoft.com/office/2007/relationships/diagramDrawing" Target="../diagrams/drawing21.xml"/><Relationship Id="rId4" Type="http://schemas.openxmlformats.org/officeDocument/2006/relationships/hyperlink" Target="http://www.istqb.org/" TargetMode="External"/><Relationship Id="rId9" Type="http://schemas.openxmlformats.org/officeDocument/2006/relationships/diagramColors" Target="../diagrams/colors21.xml"/></Relationships>
</file>

<file path=ppt/slides/_rels/slide8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0.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86.xml.rels><?xml version="1.0" encoding="UTF-8" standalone="yes"?>
<Relationships xmlns="http://schemas.openxmlformats.org/package/2006/relationships"><Relationship Id="rId8" Type="http://schemas.openxmlformats.org/officeDocument/2006/relationships/diagramQuickStyle" Target="../diagrams/quickStyle22.xml"/><Relationship Id="rId3" Type="http://schemas.openxmlformats.org/officeDocument/2006/relationships/image" Target="../media/image6.jpeg"/><Relationship Id="rId7" Type="http://schemas.openxmlformats.org/officeDocument/2006/relationships/diagramLayout" Target="../diagrams/layout22.xml"/><Relationship Id="rId2" Type="http://schemas.openxmlformats.org/officeDocument/2006/relationships/notesSlide" Target="../notesSlides/notesSlide81.xml"/><Relationship Id="rId1" Type="http://schemas.openxmlformats.org/officeDocument/2006/relationships/slideLayout" Target="../slideLayouts/slideLayout4.xml"/><Relationship Id="rId6" Type="http://schemas.openxmlformats.org/officeDocument/2006/relationships/diagramData" Target="../diagrams/data22.xml"/><Relationship Id="rId5" Type="http://schemas.openxmlformats.org/officeDocument/2006/relationships/image" Target="../media/image5.jpeg"/><Relationship Id="rId10" Type="http://schemas.microsoft.com/office/2007/relationships/diagramDrawing" Target="../diagrams/drawing22.xml"/><Relationship Id="rId4" Type="http://schemas.openxmlformats.org/officeDocument/2006/relationships/hyperlink" Target="http://www.istqb.org/" TargetMode="External"/><Relationship Id="rId9" Type="http://schemas.openxmlformats.org/officeDocument/2006/relationships/diagramColors" Target="../diagrams/colors22.xml"/></Relationships>
</file>

<file path=ppt/slides/_rels/slide8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2.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3.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4.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9.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6.jpeg"/><Relationship Id="rId7" Type="http://schemas.openxmlformats.org/officeDocument/2006/relationships/diagramLayout" Target="../diagrams/layout3.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Data" Target="../diagrams/data3.xml"/><Relationship Id="rId5" Type="http://schemas.openxmlformats.org/officeDocument/2006/relationships/image" Target="../media/image5.jpeg"/><Relationship Id="rId10" Type="http://schemas.microsoft.com/office/2007/relationships/diagramDrawing" Target="../diagrams/drawing3.xml"/><Relationship Id="rId4" Type="http://schemas.openxmlformats.org/officeDocument/2006/relationships/hyperlink" Target="http://www.istqb.org/" TargetMode="External"/><Relationship Id="rId9" Type="http://schemas.openxmlformats.org/officeDocument/2006/relationships/diagramColors" Target="../diagrams/colors3.xml"/></Relationships>
</file>

<file path=ppt/slides/_rels/slide9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5.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6.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7.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9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8.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9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9.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90.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91.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92.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93.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94.xml"/><Relationship Id="rId1" Type="http://schemas.openxmlformats.org/officeDocument/2006/relationships/slideLayout" Target="../slideLayouts/slideLayout4.xml"/><Relationship Id="rId5" Type="http://schemas.openxmlformats.org/officeDocument/2006/relationships/image" Target="../media/image5.jpeg"/><Relationship Id="rId4" Type="http://schemas.openxmlformats.org/officeDocument/2006/relationships/hyperlink" Target="http://www.istqb.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p:cNvSpPr>
            <a:spLocks noGrp="1"/>
          </p:cNvSpPr>
          <p:nvPr>
            <p:ph type="subTitle" idx="1"/>
          </p:nvPr>
        </p:nvSpPr>
        <p:spPr>
          <a:xfrm>
            <a:off x="501649" y="5568579"/>
            <a:ext cx="5594348" cy="505645"/>
          </a:xfrm>
        </p:spPr>
        <p:txBody>
          <a:bodyPr/>
          <a:lstStyle/>
          <a:p>
            <a:r>
              <a:rPr lang="es-ES_tradnl"/>
              <a:t>Deloitte</a:t>
            </a:r>
            <a:endParaRPr lang="es-ES"/>
          </a:p>
        </p:txBody>
      </p:sp>
      <p:sp>
        <p:nvSpPr>
          <p:cNvPr id="9" name="Text Placeholder 8"/>
          <p:cNvSpPr>
            <a:spLocks noGrp="1"/>
          </p:cNvSpPr>
          <p:nvPr>
            <p:ph type="body" sz="quarter" idx="10"/>
          </p:nvPr>
        </p:nvSpPr>
        <p:spPr>
          <a:xfrm>
            <a:off x="501647" y="6074224"/>
            <a:ext cx="7807851" cy="298451"/>
          </a:xfrm>
        </p:spPr>
        <p:txBody>
          <a:bodyPr/>
          <a:lstStyle/>
          <a:p>
            <a:r>
              <a:rPr lang="es-ES" sz="1600"/>
              <a:t>ISTQB Programa de Estudio de Nivel Básico Extensión Ágil</a:t>
            </a:r>
          </a:p>
        </p:txBody>
      </p:sp>
      <p:pic>
        <p:nvPicPr>
          <p:cNvPr id="4" name="Picture 3" descr="Logo, company name&#10;&#10;Description automatically generated">
            <a:extLst>
              <a:ext uri="{FF2B5EF4-FFF2-40B4-BE49-F238E27FC236}">
                <a16:creationId xmlns:a16="http://schemas.microsoft.com/office/drawing/2014/main" id="{AD2539FF-D1AF-4944-ADCD-73C6B91C1B3A}"/>
              </a:ext>
            </a:extLst>
          </p:cNvPr>
          <p:cNvPicPr>
            <a:picLocks noChangeAspect="1"/>
          </p:cNvPicPr>
          <p:nvPr/>
        </p:nvPicPr>
        <p:blipFill>
          <a:blip r:embed="rId3"/>
          <a:stretch>
            <a:fillRect/>
          </a:stretch>
        </p:blipFill>
        <p:spPr>
          <a:xfrm>
            <a:off x="3843504" y="1257491"/>
            <a:ext cx="4102768" cy="3042607"/>
          </a:xfrm>
          <a:prstGeom prst="rect">
            <a:avLst/>
          </a:prstGeom>
          <a:effectLst>
            <a:reflection stA="34000" endPos="30000" dir="5400000" sy="-100000" algn="bl" rotWithShape="0"/>
          </a:effectLst>
        </p:spPr>
      </p:pic>
    </p:spTree>
    <p:extLst>
      <p:ext uri="{BB962C8B-B14F-4D97-AF65-F5344CB8AC3E}">
        <p14:creationId xmlns:p14="http://schemas.microsoft.com/office/powerpoint/2010/main" val="360341162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2267388"/>
            <a:ext cx="4053575" cy="246221"/>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Ø"/>
            </a:pPr>
            <a:r>
              <a:rPr lang="es-ES" sz="1600" b="1">
                <a:effectLst/>
                <a:latin typeface="+mj-lt"/>
                <a:ea typeface="Calibri" panose="020F0502020204030204" pitchFamily="34" charset="0"/>
                <a:cs typeface="Times New Roman" panose="02020603050405020304" pitchFamily="18" charset="0"/>
              </a:rPr>
              <a:t>Programación Extrema (XP)</a:t>
            </a:r>
            <a:endParaRPr lang="es-ES_tradnl" sz="1200" b="1">
              <a:latin typeface="+mj-lt"/>
              <a:sym typeface="Wingdings" panose="05000000000000000000" pitchFamily="2" charset="2"/>
            </a:endParaRPr>
          </a:p>
        </p:txBody>
      </p:sp>
      <p:sp>
        <p:nvSpPr>
          <p:cNvPr id="13" name="TextBox 12">
            <a:extLst>
              <a:ext uri="{FF2B5EF4-FFF2-40B4-BE49-F238E27FC236}">
                <a16:creationId xmlns:a16="http://schemas.microsoft.com/office/drawing/2014/main" id="{62AFD390-8BC9-422E-9C8D-56452AE8D56A}"/>
              </a:ext>
            </a:extLst>
          </p:cNvPr>
          <p:cNvSpPr txBox="1"/>
          <p:nvPr/>
        </p:nvSpPr>
        <p:spPr>
          <a:xfrm>
            <a:off x="937400" y="2694159"/>
            <a:ext cx="3704138" cy="533031"/>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Enfoque ágil basado en </a:t>
            </a:r>
            <a:r>
              <a:rPr lang="es-ES" sz="1400" b="1">
                <a:effectLst/>
                <a:latin typeface="+mj-lt"/>
                <a:ea typeface="Calibri" panose="020F0502020204030204" pitchFamily="34" charset="0"/>
                <a:cs typeface="Times New Roman" panose="02020603050405020304" pitchFamily="18" charset="0"/>
              </a:rPr>
              <a:t>valores, principios </a:t>
            </a:r>
            <a:r>
              <a:rPr lang="es-ES" sz="1400">
                <a:effectLst/>
                <a:latin typeface="+mj-lt"/>
                <a:ea typeface="Calibri" panose="020F0502020204030204" pitchFamily="34" charset="0"/>
                <a:cs typeface="Times New Roman" panose="02020603050405020304" pitchFamily="18" charset="0"/>
              </a:rPr>
              <a:t>y </a:t>
            </a:r>
            <a:r>
              <a:rPr lang="es-ES" sz="1400" b="1">
                <a:effectLst/>
                <a:latin typeface="+mj-lt"/>
                <a:ea typeface="Calibri" panose="020F0502020204030204" pitchFamily="34" charset="0"/>
                <a:cs typeface="Times New Roman" panose="02020603050405020304" pitchFamily="18" charset="0"/>
              </a:rPr>
              <a:t>prácticas.</a:t>
            </a:r>
            <a:endParaRPr lang="es-ES" sz="1400">
              <a:latin typeface="+mj-lt"/>
              <a:ea typeface="Calibri" panose="020F0502020204030204" pitchFamily="34" charset="0"/>
              <a:cs typeface="Times New Roman" panose="02020603050405020304" pitchFamily="18" charset="0"/>
            </a:endParaRPr>
          </a:p>
        </p:txBody>
      </p:sp>
      <p:sp>
        <p:nvSpPr>
          <p:cNvPr id="4" name="Rectangle: Rounded Corners 3">
            <a:extLst>
              <a:ext uri="{FF2B5EF4-FFF2-40B4-BE49-F238E27FC236}">
                <a16:creationId xmlns:a16="http://schemas.microsoft.com/office/drawing/2014/main" id="{CC8E1BD1-F2BF-65E2-788C-5CD93E485C62}"/>
              </a:ext>
            </a:extLst>
          </p:cNvPr>
          <p:cNvSpPr/>
          <p:nvPr/>
        </p:nvSpPr>
        <p:spPr bwMode="gray">
          <a:xfrm>
            <a:off x="427537" y="1663155"/>
            <a:ext cx="5448330"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1. Enfoques de desarrollo ágil de software</a:t>
            </a:r>
          </a:p>
        </p:txBody>
      </p:sp>
      <p:sp>
        <p:nvSpPr>
          <p:cNvPr id="5" name="Rectangle: Rounded Corners 4">
            <a:extLst>
              <a:ext uri="{FF2B5EF4-FFF2-40B4-BE49-F238E27FC236}">
                <a16:creationId xmlns:a16="http://schemas.microsoft.com/office/drawing/2014/main" id="{81F7D494-E3BD-534E-5D33-A8EEC976814D}"/>
              </a:ext>
            </a:extLst>
          </p:cNvPr>
          <p:cNvSpPr/>
          <p:nvPr/>
        </p:nvSpPr>
        <p:spPr bwMode="gray">
          <a:xfrm>
            <a:off x="460375" y="3781184"/>
            <a:ext cx="4181163" cy="2302376"/>
          </a:xfrm>
          <a:prstGeom prst="roundRect">
            <a:avLst/>
          </a:prstGeom>
          <a:solidFill>
            <a:schemeClr val="bg1"/>
          </a:solidFill>
          <a:ln w="254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Rectangle: Rounded Corners 6">
            <a:extLst>
              <a:ext uri="{FF2B5EF4-FFF2-40B4-BE49-F238E27FC236}">
                <a16:creationId xmlns:a16="http://schemas.microsoft.com/office/drawing/2014/main" id="{B2BC9430-3E6E-415D-C5EB-CD9200BB9518}"/>
              </a:ext>
            </a:extLst>
          </p:cNvPr>
          <p:cNvSpPr/>
          <p:nvPr/>
        </p:nvSpPr>
        <p:spPr bwMode="gray">
          <a:xfrm>
            <a:off x="1800072" y="3582179"/>
            <a:ext cx="1501768" cy="387220"/>
          </a:xfrm>
          <a:prstGeom prst="roundRect">
            <a:avLst>
              <a:gd name="adj" fmla="val 50000"/>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Valores</a:t>
            </a:r>
          </a:p>
        </p:txBody>
      </p:sp>
      <p:sp>
        <p:nvSpPr>
          <p:cNvPr id="9" name="Rectangle: Rounded Corners 8">
            <a:extLst>
              <a:ext uri="{FF2B5EF4-FFF2-40B4-BE49-F238E27FC236}">
                <a16:creationId xmlns:a16="http://schemas.microsoft.com/office/drawing/2014/main" id="{07A202C8-DCBA-9046-2D8B-A253B4D1B6FC}"/>
              </a:ext>
            </a:extLst>
          </p:cNvPr>
          <p:cNvSpPr/>
          <p:nvPr/>
        </p:nvSpPr>
        <p:spPr bwMode="gray">
          <a:xfrm>
            <a:off x="754468" y="4203420"/>
            <a:ext cx="1987846" cy="387220"/>
          </a:xfrm>
          <a:prstGeom prst="roundRect">
            <a:avLst>
              <a:gd name="adj" fmla="val 50000"/>
            </a:avLst>
          </a:prstGeom>
          <a:solidFill>
            <a:schemeClr val="bg1"/>
          </a:solidFill>
          <a:ln w="22225"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Comunicación</a:t>
            </a:r>
          </a:p>
        </p:txBody>
      </p:sp>
      <p:sp>
        <p:nvSpPr>
          <p:cNvPr id="10" name="Rectangle: Rounded Corners 9">
            <a:extLst>
              <a:ext uri="{FF2B5EF4-FFF2-40B4-BE49-F238E27FC236}">
                <a16:creationId xmlns:a16="http://schemas.microsoft.com/office/drawing/2014/main" id="{EC9199B3-A263-EBA5-B769-690D8189BAA6}"/>
              </a:ext>
            </a:extLst>
          </p:cNvPr>
          <p:cNvSpPr/>
          <p:nvPr/>
        </p:nvSpPr>
        <p:spPr bwMode="gray">
          <a:xfrm>
            <a:off x="956188" y="4794475"/>
            <a:ext cx="1584405" cy="387220"/>
          </a:xfrm>
          <a:prstGeom prst="roundRect">
            <a:avLst>
              <a:gd name="adj" fmla="val 50000"/>
            </a:avLst>
          </a:prstGeom>
          <a:solidFill>
            <a:schemeClr val="bg1"/>
          </a:solidFill>
          <a:ln w="22225"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Simplicidad</a:t>
            </a:r>
          </a:p>
        </p:txBody>
      </p:sp>
      <p:sp>
        <p:nvSpPr>
          <p:cNvPr id="11" name="Rectangle: Rounded Corners 10">
            <a:extLst>
              <a:ext uri="{FF2B5EF4-FFF2-40B4-BE49-F238E27FC236}">
                <a16:creationId xmlns:a16="http://schemas.microsoft.com/office/drawing/2014/main" id="{75A7B318-D22E-EC7F-9CA2-5002209070A7}"/>
              </a:ext>
            </a:extLst>
          </p:cNvPr>
          <p:cNvSpPr/>
          <p:nvPr/>
        </p:nvSpPr>
        <p:spPr bwMode="gray">
          <a:xfrm>
            <a:off x="789583" y="5385530"/>
            <a:ext cx="1952731" cy="387220"/>
          </a:xfrm>
          <a:prstGeom prst="roundRect">
            <a:avLst>
              <a:gd name="adj" fmla="val 50000"/>
            </a:avLst>
          </a:prstGeom>
          <a:solidFill>
            <a:schemeClr val="bg1"/>
          </a:solidFill>
          <a:ln w="22225"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Retroalimentación</a:t>
            </a:r>
          </a:p>
        </p:txBody>
      </p:sp>
      <p:sp>
        <p:nvSpPr>
          <p:cNvPr id="12" name="Rectangle: Rounded Corners 11">
            <a:extLst>
              <a:ext uri="{FF2B5EF4-FFF2-40B4-BE49-F238E27FC236}">
                <a16:creationId xmlns:a16="http://schemas.microsoft.com/office/drawing/2014/main" id="{4715884F-F1F6-78B6-C5C8-FCD1F326AEAA}"/>
              </a:ext>
            </a:extLst>
          </p:cNvPr>
          <p:cNvSpPr/>
          <p:nvPr/>
        </p:nvSpPr>
        <p:spPr bwMode="gray">
          <a:xfrm>
            <a:off x="3044428" y="4514869"/>
            <a:ext cx="1238323" cy="387220"/>
          </a:xfrm>
          <a:prstGeom prst="roundRect">
            <a:avLst>
              <a:gd name="adj" fmla="val 50000"/>
            </a:avLst>
          </a:prstGeom>
          <a:solidFill>
            <a:schemeClr val="bg1"/>
          </a:solidFill>
          <a:ln w="22225"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Valor</a:t>
            </a:r>
          </a:p>
        </p:txBody>
      </p:sp>
      <p:sp>
        <p:nvSpPr>
          <p:cNvPr id="14" name="Rectangle: Rounded Corners 13">
            <a:extLst>
              <a:ext uri="{FF2B5EF4-FFF2-40B4-BE49-F238E27FC236}">
                <a16:creationId xmlns:a16="http://schemas.microsoft.com/office/drawing/2014/main" id="{356391DB-D18E-9505-916F-0375174623B7}"/>
              </a:ext>
            </a:extLst>
          </p:cNvPr>
          <p:cNvSpPr/>
          <p:nvPr/>
        </p:nvSpPr>
        <p:spPr bwMode="gray">
          <a:xfrm>
            <a:off x="3054179" y="5094287"/>
            <a:ext cx="1238323" cy="387220"/>
          </a:xfrm>
          <a:prstGeom prst="roundRect">
            <a:avLst>
              <a:gd name="adj" fmla="val 50000"/>
            </a:avLst>
          </a:prstGeom>
          <a:solidFill>
            <a:schemeClr val="bg1"/>
          </a:solidFill>
          <a:ln w="22225"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Respeto</a:t>
            </a:r>
          </a:p>
        </p:txBody>
      </p:sp>
      <p:sp>
        <p:nvSpPr>
          <p:cNvPr id="16" name="Rectangle: Rounded Corners 15">
            <a:extLst>
              <a:ext uri="{FF2B5EF4-FFF2-40B4-BE49-F238E27FC236}">
                <a16:creationId xmlns:a16="http://schemas.microsoft.com/office/drawing/2014/main" id="{1E60E08C-7EF9-9B0E-9120-121B2A52DB52}"/>
              </a:ext>
            </a:extLst>
          </p:cNvPr>
          <p:cNvSpPr/>
          <p:nvPr/>
        </p:nvSpPr>
        <p:spPr bwMode="gray">
          <a:xfrm>
            <a:off x="6096000" y="1901044"/>
            <a:ext cx="5565775" cy="2068351"/>
          </a:xfrm>
          <a:prstGeom prst="roundRect">
            <a:avLst/>
          </a:prstGeom>
          <a:solidFill>
            <a:schemeClr val="bg1"/>
          </a:solidFill>
          <a:ln w="25400"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7" name="Rectangle: Rounded Corners 16">
            <a:extLst>
              <a:ext uri="{FF2B5EF4-FFF2-40B4-BE49-F238E27FC236}">
                <a16:creationId xmlns:a16="http://schemas.microsoft.com/office/drawing/2014/main" id="{AD7B7268-822E-ABA8-6678-3671DF55E5BC}"/>
              </a:ext>
            </a:extLst>
          </p:cNvPr>
          <p:cNvSpPr/>
          <p:nvPr/>
        </p:nvSpPr>
        <p:spPr bwMode="gray">
          <a:xfrm>
            <a:off x="8128003" y="1706537"/>
            <a:ext cx="1501768" cy="387220"/>
          </a:xfrm>
          <a:prstGeom prst="roundRect">
            <a:avLst>
              <a:gd name="adj" fmla="val 50000"/>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Principios</a:t>
            </a:r>
          </a:p>
        </p:txBody>
      </p:sp>
      <p:sp>
        <p:nvSpPr>
          <p:cNvPr id="19" name="TextBox 18">
            <a:extLst>
              <a:ext uri="{FF2B5EF4-FFF2-40B4-BE49-F238E27FC236}">
                <a16:creationId xmlns:a16="http://schemas.microsoft.com/office/drawing/2014/main" id="{2B22B69B-C41D-C77F-DBAF-D015BA9B5CBA}"/>
              </a:ext>
            </a:extLst>
          </p:cNvPr>
          <p:cNvSpPr txBox="1"/>
          <p:nvPr/>
        </p:nvSpPr>
        <p:spPr>
          <a:xfrm>
            <a:off x="6326153" y="2286469"/>
            <a:ext cx="1819470" cy="149271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s-ES" sz="1200">
                <a:solidFill>
                  <a:srgbClr val="313131"/>
                </a:solidFill>
              </a:rPr>
              <a:t>Humanidad</a:t>
            </a:r>
          </a:p>
          <a:p>
            <a:pPr marL="203200" indent="-203200">
              <a:spcBef>
                <a:spcPts val="600"/>
              </a:spcBef>
              <a:buSzPct val="100000"/>
              <a:buFont typeface="Arial"/>
              <a:buChar char="•"/>
            </a:pPr>
            <a:r>
              <a:rPr lang="es-ES" sz="1200">
                <a:solidFill>
                  <a:srgbClr val="313131"/>
                </a:solidFill>
              </a:rPr>
              <a:t>Economía</a:t>
            </a:r>
          </a:p>
          <a:p>
            <a:pPr marL="203200" indent="-203200">
              <a:spcBef>
                <a:spcPts val="600"/>
              </a:spcBef>
              <a:buSzPct val="100000"/>
              <a:buFont typeface="Arial"/>
              <a:buChar char="•"/>
            </a:pPr>
            <a:r>
              <a:rPr lang="es-ES" sz="1200">
                <a:solidFill>
                  <a:srgbClr val="313131"/>
                </a:solidFill>
              </a:rPr>
              <a:t>Beneficio mutuo</a:t>
            </a:r>
          </a:p>
          <a:p>
            <a:pPr marL="203200" indent="-203200">
              <a:spcBef>
                <a:spcPts val="600"/>
              </a:spcBef>
              <a:buSzPct val="100000"/>
              <a:buFont typeface="Arial"/>
              <a:buChar char="•"/>
            </a:pPr>
            <a:r>
              <a:rPr lang="es-ES" sz="1200">
                <a:solidFill>
                  <a:srgbClr val="313131"/>
                </a:solidFill>
              </a:rPr>
              <a:t>Autosimilitud</a:t>
            </a:r>
          </a:p>
          <a:p>
            <a:pPr marL="203200" indent="-203200">
              <a:spcBef>
                <a:spcPts val="600"/>
              </a:spcBef>
              <a:buSzPct val="100000"/>
              <a:buFont typeface="Arial"/>
              <a:buChar char="•"/>
            </a:pPr>
            <a:r>
              <a:rPr lang="es-ES" sz="1200">
                <a:solidFill>
                  <a:srgbClr val="313131"/>
                </a:solidFill>
              </a:rPr>
              <a:t>Mejora</a:t>
            </a:r>
          </a:p>
          <a:p>
            <a:pPr marL="203200" indent="-203200">
              <a:spcBef>
                <a:spcPts val="600"/>
              </a:spcBef>
              <a:buSzPct val="100000"/>
              <a:buFont typeface="Arial"/>
              <a:buChar char="•"/>
            </a:pPr>
            <a:r>
              <a:rPr lang="es-ES" sz="1200">
                <a:solidFill>
                  <a:srgbClr val="313131"/>
                </a:solidFill>
              </a:rPr>
              <a:t>Diversidad </a:t>
            </a:r>
          </a:p>
        </p:txBody>
      </p:sp>
      <p:sp>
        <p:nvSpPr>
          <p:cNvPr id="20" name="TextBox 19">
            <a:extLst>
              <a:ext uri="{FF2B5EF4-FFF2-40B4-BE49-F238E27FC236}">
                <a16:creationId xmlns:a16="http://schemas.microsoft.com/office/drawing/2014/main" id="{2F42C8E1-4017-64D6-F6F9-3D123F6F9BFC}"/>
              </a:ext>
            </a:extLst>
          </p:cNvPr>
          <p:cNvSpPr txBox="1"/>
          <p:nvPr/>
        </p:nvSpPr>
        <p:spPr>
          <a:xfrm>
            <a:off x="8402236" y="2286469"/>
            <a:ext cx="1501768" cy="149271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s-ES" sz="1200">
                <a:solidFill>
                  <a:srgbClr val="313131"/>
                </a:solidFill>
              </a:rPr>
              <a:t>Reflexión</a:t>
            </a:r>
          </a:p>
          <a:p>
            <a:pPr marL="203200" indent="-203200">
              <a:spcBef>
                <a:spcPts val="600"/>
              </a:spcBef>
              <a:buSzPct val="100000"/>
              <a:buFont typeface="Arial"/>
              <a:buChar char="•"/>
            </a:pPr>
            <a:r>
              <a:rPr lang="es-ES" sz="1200">
                <a:solidFill>
                  <a:srgbClr val="313131"/>
                </a:solidFill>
              </a:rPr>
              <a:t>Flujo</a:t>
            </a:r>
          </a:p>
          <a:p>
            <a:pPr marL="203200" indent="-203200">
              <a:spcBef>
                <a:spcPts val="600"/>
              </a:spcBef>
              <a:buSzPct val="100000"/>
              <a:buFont typeface="Arial"/>
              <a:buChar char="•"/>
            </a:pPr>
            <a:r>
              <a:rPr lang="es-ES" sz="1200">
                <a:solidFill>
                  <a:srgbClr val="313131"/>
                </a:solidFill>
              </a:rPr>
              <a:t>Oportunidad</a:t>
            </a:r>
          </a:p>
          <a:p>
            <a:pPr marL="203200" indent="-203200">
              <a:spcBef>
                <a:spcPts val="600"/>
              </a:spcBef>
              <a:buSzPct val="100000"/>
              <a:buFont typeface="Arial"/>
              <a:buChar char="•"/>
            </a:pPr>
            <a:r>
              <a:rPr lang="es-ES" sz="1200">
                <a:solidFill>
                  <a:srgbClr val="313131"/>
                </a:solidFill>
              </a:rPr>
              <a:t>Redundancia</a:t>
            </a:r>
          </a:p>
          <a:p>
            <a:pPr marL="203200" indent="-203200">
              <a:spcBef>
                <a:spcPts val="600"/>
              </a:spcBef>
              <a:buSzPct val="100000"/>
              <a:buFont typeface="Arial"/>
              <a:buChar char="•"/>
            </a:pPr>
            <a:r>
              <a:rPr lang="es-ES" sz="1200">
                <a:solidFill>
                  <a:srgbClr val="313131"/>
                </a:solidFill>
              </a:rPr>
              <a:t>Fallo</a:t>
            </a:r>
          </a:p>
          <a:p>
            <a:pPr marL="203200" indent="-203200">
              <a:spcBef>
                <a:spcPts val="600"/>
              </a:spcBef>
              <a:buSzPct val="100000"/>
              <a:buFont typeface="Arial"/>
              <a:buChar char="•"/>
            </a:pPr>
            <a:r>
              <a:rPr lang="es-ES" sz="1200">
                <a:solidFill>
                  <a:srgbClr val="313131"/>
                </a:solidFill>
              </a:rPr>
              <a:t>Calidad</a:t>
            </a:r>
          </a:p>
        </p:txBody>
      </p:sp>
      <p:sp>
        <p:nvSpPr>
          <p:cNvPr id="21" name="TextBox 20">
            <a:extLst>
              <a:ext uri="{FF2B5EF4-FFF2-40B4-BE49-F238E27FC236}">
                <a16:creationId xmlns:a16="http://schemas.microsoft.com/office/drawing/2014/main" id="{3F01445E-EED0-535B-8CF8-8EE8ADA8D598}"/>
              </a:ext>
            </a:extLst>
          </p:cNvPr>
          <p:cNvSpPr txBox="1"/>
          <p:nvPr/>
        </p:nvSpPr>
        <p:spPr>
          <a:xfrm>
            <a:off x="10086874" y="2286469"/>
            <a:ext cx="1501768" cy="63094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s-ES" sz="1200">
                <a:solidFill>
                  <a:srgbClr val="313131"/>
                </a:solidFill>
              </a:rPr>
              <a:t>Pasos de bebé</a:t>
            </a:r>
          </a:p>
          <a:p>
            <a:pPr marL="203200" indent="-203200">
              <a:spcBef>
                <a:spcPts val="600"/>
              </a:spcBef>
              <a:buSzPct val="100000"/>
              <a:buFont typeface="Arial"/>
              <a:buChar char="•"/>
            </a:pPr>
            <a:r>
              <a:rPr lang="es-ES" sz="1200">
                <a:solidFill>
                  <a:srgbClr val="313131"/>
                </a:solidFill>
              </a:rPr>
              <a:t>Responsabilidad aceptada</a:t>
            </a:r>
          </a:p>
        </p:txBody>
      </p:sp>
      <p:sp>
        <p:nvSpPr>
          <p:cNvPr id="22" name="Rectangle: Rounded Corners 21">
            <a:extLst>
              <a:ext uri="{FF2B5EF4-FFF2-40B4-BE49-F238E27FC236}">
                <a16:creationId xmlns:a16="http://schemas.microsoft.com/office/drawing/2014/main" id="{A29ED199-AA78-E253-4A42-62ADFE4D4477}"/>
              </a:ext>
            </a:extLst>
          </p:cNvPr>
          <p:cNvSpPr/>
          <p:nvPr/>
        </p:nvSpPr>
        <p:spPr bwMode="gray">
          <a:xfrm>
            <a:off x="6165850" y="4355159"/>
            <a:ext cx="5565775" cy="2068351"/>
          </a:xfrm>
          <a:prstGeom prst="roundRect">
            <a:avLst/>
          </a:prstGeom>
          <a:solidFill>
            <a:schemeClr val="bg1"/>
          </a:solidFill>
          <a:ln w="25400" algn="ctr">
            <a:solidFill>
              <a:srgbClr val="0097A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23" name="Rectangle: Rounded Corners 22">
            <a:extLst>
              <a:ext uri="{FF2B5EF4-FFF2-40B4-BE49-F238E27FC236}">
                <a16:creationId xmlns:a16="http://schemas.microsoft.com/office/drawing/2014/main" id="{0CFCAD66-3351-9142-3D39-0D85CD855858}"/>
              </a:ext>
            </a:extLst>
          </p:cNvPr>
          <p:cNvSpPr/>
          <p:nvPr/>
        </p:nvSpPr>
        <p:spPr bwMode="gray">
          <a:xfrm>
            <a:off x="8197853" y="4160652"/>
            <a:ext cx="1501768" cy="387220"/>
          </a:xfrm>
          <a:prstGeom prst="roundRect">
            <a:avLst>
              <a:gd name="adj" fmla="val 50000"/>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Prácticas</a:t>
            </a:r>
          </a:p>
        </p:txBody>
      </p:sp>
      <p:sp>
        <p:nvSpPr>
          <p:cNvPr id="24" name="TextBox 23">
            <a:extLst>
              <a:ext uri="{FF2B5EF4-FFF2-40B4-BE49-F238E27FC236}">
                <a16:creationId xmlns:a16="http://schemas.microsoft.com/office/drawing/2014/main" id="{C0693647-72F5-0E0E-0ED8-6B0C49C0D8DA}"/>
              </a:ext>
            </a:extLst>
          </p:cNvPr>
          <p:cNvSpPr txBox="1"/>
          <p:nvPr/>
        </p:nvSpPr>
        <p:spPr>
          <a:xfrm>
            <a:off x="6396003" y="4740584"/>
            <a:ext cx="1819470" cy="160043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s-ES" sz="1200">
                <a:solidFill>
                  <a:srgbClr val="313131"/>
                </a:solidFill>
              </a:rPr>
              <a:t>Sentarse juntos</a:t>
            </a:r>
          </a:p>
          <a:p>
            <a:pPr marL="203200" indent="-203200">
              <a:spcBef>
                <a:spcPts val="600"/>
              </a:spcBef>
              <a:buSzPct val="100000"/>
              <a:buFont typeface="Arial"/>
              <a:buChar char="•"/>
            </a:pPr>
            <a:r>
              <a:rPr lang="es-ES" sz="1200">
                <a:solidFill>
                  <a:srgbClr val="313131"/>
                </a:solidFill>
              </a:rPr>
              <a:t>Equipo completo</a:t>
            </a:r>
          </a:p>
          <a:p>
            <a:pPr marL="203200" indent="-203200">
              <a:spcBef>
                <a:spcPts val="600"/>
              </a:spcBef>
              <a:buSzPct val="100000"/>
              <a:buFont typeface="Arial"/>
              <a:buChar char="•"/>
            </a:pPr>
            <a:r>
              <a:rPr lang="es-ES" sz="1200">
                <a:solidFill>
                  <a:srgbClr val="313131"/>
                </a:solidFill>
              </a:rPr>
              <a:t>Espacio de trabajo informativo</a:t>
            </a:r>
          </a:p>
          <a:p>
            <a:pPr marL="203200" indent="-203200">
              <a:spcBef>
                <a:spcPts val="600"/>
              </a:spcBef>
              <a:buSzPct val="100000"/>
              <a:buFont typeface="Arial"/>
              <a:buChar char="•"/>
            </a:pPr>
            <a:r>
              <a:rPr lang="es-ES" sz="1200">
                <a:solidFill>
                  <a:srgbClr val="313131"/>
                </a:solidFill>
              </a:rPr>
              <a:t>Trabajo energizado</a:t>
            </a:r>
          </a:p>
          <a:p>
            <a:pPr marL="203200" indent="-203200">
              <a:spcBef>
                <a:spcPts val="600"/>
              </a:spcBef>
              <a:buSzPct val="100000"/>
              <a:buFont typeface="Arial"/>
              <a:buChar char="•"/>
            </a:pPr>
            <a:r>
              <a:rPr lang="es-ES" sz="1200">
                <a:solidFill>
                  <a:srgbClr val="313131"/>
                </a:solidFill>
              </a:rPr>
              <a:t>Programación en pareja </a:t>
            </a:r>
          </a:p>
        </p:txBody>
      </p:sp>
      <p:sp>
        <p:nvSpPr>
          <p:cNvPr id="25" name="TextBox 24">
            <a:extLst>
              <a:ext uri="{FF2B5EF4-FFF2-40B4-BE49-F238E27FC236}">
                <a16:creationId xmlns:a16="http://schemas.microsoft.com/office/drawing/2014/main" id="{C1C473CD-6321-0700-C22A-0F761E108585}"/>
              </a:ext>
            </a:extLst>
          </p:cNvPr>
          <p:cNvSpPr txBox="1"/>
          <p:nvPr/>
        </p:nvSpPr>
        <p:spPr>
          <a:xfrm>
            <a:off x="8472086" y="4740584"/>
            <a:ext cx="1501768" cy="141577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s-ES" sz="1200">
                <a:solidFill>
                  <a:srgbClr val="313131"/>
                </a:solidFill>
              </a:rPr>
              <a:t>Historias</a:t>
            </a:r>
          </a:p>
          <a:p>
            <a:pPr marL="203200" indent="-203200">
              <a:spcBef>
                <a:spcPts val="600"/>
              </a:spcBef>
              <a:buSzPct val="100000"/>
              <a:buFont typeface="Arial"/>
              <a:buChar char="•"/>
            </a:pPr>
            <a:r>
              <a:rPr lang="es-ES" sz="1200">
                <a:solidFill>
                  <a:srgbClr val="313131"/>
                </a:solidFill>
              </a:rPr>
              <a:t>Ciclo semana</a:t>
            </a:r>
          </a:p>
          <a:p>
            <a:pPr marL="203200" indent="-203200">
              <a:spcBef>
                <a:spcPts val="600"/>
              </a:spcBef>
              <a:buSzPct val="100000"/>
              <a:buFont typeface="Arial"/>
              <a:buChar char="•"/>
            </a:pPr>
            <a:r>
              <a:rPr lang="es-ES" sz="1200">
                <a:solidFill>
                  <a:srgbClr val="313131"/>
                </a:solidFill>
              </a:rPr>
              <a:t>Ciclo trimestral</a:t>
            </a:r>
          </a:p>
          <a:p>
            <a:pPr marL="203200" indent="-203200">
              <a:spcBef>
                <a:spcPts val="600"/>
              </a:spcBef>
              <a:buSzPct val="100000"/>
              <a:buFont typeface="Arial"/>
              <a:buChar char="•"/>
            </a:pPr>
            <a:r>
              <a:rPr lang="es-ES" sz="1200">
                <a:solidFill>
                  <a:srgbClr val="313131"/>
                </a:solidFill>
              </a:rPr>
              <a:t>Holgura</a:t>
            </a:r>
          </a:p>
          <a:p>
            <a:pPr marL="203200" indent="-203200">
              <a:spcBef>
                <a:spcPts val="600"/>
              </a:spcBef>
              <a:buSzPct val="100000"/>
              <a:buFont typeface="Arial"/>
              <a:buChar char="•"/>
            </a:pPr>
            <a:r>
              <a:rPr lang="es-ES" sz="1200">
                <a:solidFill>
                  <a:srgbClr val="313131"/>
                </a:solidFill>
              </a:rPr>
              <a:t>Construcción en 10 minutos</a:t>
            </a:r>
          </a:p>
        </p:txBody>
      </p:sp>
      <p:sp>
        <p:nvSpPr>
          <p:cNvPr id="26" name="TextBox 25">
            <a:extLst>
              <a:ext uri="{FF2B5EF4-FFF2-40B4-BE49-F238E27FC236}">
                <a16:creationId xmlns:a16="http://schemas.microsoft.com/office/drawing/2014/main" id="{3CA25B9A-9912-9421-FEC0-A36E6ADF134A}"/>
              </a:ext>
            </a:extLst>
          </p:cNvPr>
          <p:cNvSpPr txBox="1"/>
          <p:nvPr/>
        </p:nvSpPr>
        <p:spPr>
          <a:xfrm>
            <a:off x="10156724" y="4740584"/>
            <a:ext cx="1501768" cy="1446550"/>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s-ES" sz="1200">
                <a:solidFill>
                  <a:srgbClr val="313131"/>
                </a:solidFill>
              </a:rPr>
              <a:t>Integración continua</a:t>
            </a:r>
          </a:p>
          <a:p>
            <a:pPr marL="203200" indent="-203200">
              <a:spcBef>
                <a:spcPts val="600"/>
              </a:spcBef>
              <a:buSzPct val="100000"/>
              <a:buFont typeface="Arial"/>
              <a:buChar char="•"/>
            </a:pPr>
            <a:r>
              <a:rPr lang="es-ES" sz="1200">
                <a:solidFill>
                  <a:srgbClr val="313131"/>
                </a:solidFill>
              </a:rPr>
              <a:t>Programar probando primero</a:t>
            </a:r>
          </a:p>
          <a:p>
            <a:pPr marL="203200" indent="-203200">
              <a:spcBef>
                <a:spcPts val="600"/>
              </a:spcBef>
              <a:buSzPct val="100000"/>
              <a:buFont typeface="Arial"/>
              <a:buChar char="•"/>
            </a:pPr>
            <a:r>
              <a:rPr lang="es-ES" sz="1200">
                <a:solidFill>
                  <a:srgbClr val="313131"/>
                </a:solidFill>
              </a:rPr>
              <a:t>Diseño incremental</a:t>
            </a:r>
          </a:p>
        </p:txBody>
      </p:sp>
    </p:spTree>
    <p:extLst>
      <p:ext uri="{BB962C8B-B14F-4D97-AF65-F5344CB8AC3E}">
        <p14:creationId xmlns:p14="http://schemas.microsoft.com/office/powerpoint/2010/main" val="1547164237"/>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2">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sp>
        <p:nvSpPr>
          <p:cNvPr id="8" name="Marcador de texto 1"/>
          <p:cNvSpPr>
            <a:spLocks noGrp="1"/>
          </p:cNvSpPr>
          <p:nvPr>
            <p:ph type="body" sz="quarter" idx="13"/>
          </p:nvPr>
        </p:nvSpPr>
        <p:spPr>
          <a:xfrm>
            <a:off x="1034533" y="4201323"/>
            <a:ext cx="6050075" cy="2169796"/>
          </a:xfrm>
        </p:spPr>
        <p:txBody>
          <a:bodyPr/>
          <a:lstStyle/>
          <a:p>
            <a:r>
              <a:rPr lang="en-GB" sz="726"/>
              <a:t>Deloitte </a:t>
            </a:r>
            <a:r>
              <a:rPr lang="en-GB" sz="726" err="1"/>
              <a:t>hace</a:t>
            </a:r>
            <a:r>
              <a:rPr lang="en-GB" sz="726"/>
              <a:t> </a:t>
            </a:r>
            <a:r>
              <a:rPr lang="en-GB" sz="726" err="1"/>
              <a:t>referencia</a:t>
            </a:r>
            <a:r>
              <a:rPr lang="en-GB" sz="726"/>
              <a:t>, individual o </a:t>
            </a:r>
            <a:r>
              <a:rPr lang="en-GB" sz="726" err="1"/>
              <a:t>conjuntamente</a:t>
            </a:r>
            <a:r>
              <a:rPr lang="en-GB" sz="726"/>
              <a:t>, a Deloitte </a:t>
            </a:r>
            <a:r>
              <a:rPr lang="en-GB" sz="726" err="1"/>
              <a:t>Touche</a:t>
            </a:r>
            <a:r>
              <a:rPr lang="en-GB" sz="726"/>
              <a:t> Tohmatsu Limited (“DTTL”) (</a:t>
            </a:r>
            <a:r>
              <a:rPr lang="en-GB" sz="726" i="1"/>
              <a:t>private company limited by guarantee</a:t>
            </a:r>
            <a:r>
              <a:rPr lang="en-GB" sz="726"/>
              <a:t>, de </a:t>
            </a:r>
            <a:r>
              <a:rPr lang="en-GB" sz="726" err="1"/>
              <a:t>acuerdo</a:t>
            </a:r>
            <a:r>
              <a:rPr lang="en-GB" sz="726"/>
              <a:t> con la </a:t>
            </a:r>
            <a:r>
              <a:rPr lang="en-GB" sz="726" err="1"/>
              <a:t>legislación</a:t>
            </a:r>
            <a:r>
              <a:rPr lang="en-GB" sz="726"/>
              <a:t> del </a:t>
            </a:r>
            <a:r>
              <a:rPr lang="en-GB" sz="726" err="1"/>
              <a:t>Reino</a:t>
            </a:r>
            <a:r>
              <a:rPr lang="en-GB" sz="726"/>
              <a:t> </a:t>
            </a:r>
            <a:r>
              <a:rPr lang="en-GB" sz="726" err="1"/>
              <a:t>Unido</a:t>
            </a:r>
            <a:r>
              <a:rPr lang="en-GB" sz="726"/>
              <a:t>), y a </a:t>
            </a:r>
            <a:r>
              <a:rPr lang="en-GB" sz="726" err="1"/>
              <a:t>su</a:t>
            </a:r>
            <a:r>
              <a:rPr lang="en-GB" sz="726"/>
              <a:t> red de </a:t>
            </a:r>
            <a:r>
              <a:rPr lang="en-GB" sz="726" err="1"/>
              <a:t>firmas</a:t>
            </a:r>
            <a:r>
              <a:rPr lang="en-GB" sz="726"/>
              <a:t> </a:t>
            </a:r>
            <a:r>
              <a:rPr lang="en-GB" sz="726" err="1"/>
              <a:t>miembro</a:t>
            </a:r>
            <a:r>
              <a:rPr lang="en-GB" sz="726"/>
              <a:t> y sus </a:t>
            </a:r>
            <a:r>
              <a:rPr lang="en-GB" sz="726" err="1"/>
              <a:t>entidades</a:t>
            </a:r>
            <a:r>
              <a:rPr lang="en-GB" sz="726"/>
              <a:t> </a:t>
            </a:r>
            <a:r>
              <a:rPr lang="en-GB" sz="726" err="1"/>
              <a:t>asociadas</a:t>
            </a:r>
            <a:r>
              <a:rPr lang="en-GB" sz="726"/>
              <a:t>. DTTL y </a:t>
            </a:r>
            <a:r>
              <a:rPr lang="en-GB" sz="726" err="1"/>
              <a:t>cada</a:t>
            </a:r>
            <a:r>
              <a:rPr lang="en-GB" sz="726"/>
              <a:t> </a:t>
            </a:r>
            <a:r>
              <a:rPr lang="en-GB" sz="726" err="1"/>
              <a:t>una</a:t>
            </a:r>
            <a:r>
              <a:rPr lang="en-GB" sz="726"/>
              <a:t> de sus </a:t>
            </a:r>
            <a:r>
              <a:rPr lang="en-GB" sz="726" err="1"/>
              <a:t>firmas</a:t>
            </a:r>
            <a:r>
              <a:rPr lang="en-GB" sz="726"/>
              <a:t> </a:t>
            </a:r>
            <a:r>
              <a:rPr lang="en-GB" sz="726" err="1"/>
              <a:t>miembro</a:t>
            </a:r>
            <a:r>
              <a:rPr lang="en-GB" sz="726"/>
              <a:t> son </a:t>
            </a:r>
            <a:r>
              <a:rPr lang="en-GB" sz="726" err="1"/>
              <a:t>entidades</a:t>
            </a:r>
            <a:r>
              <a:rPr lang="en-GB" sz="726"/>
              <a:t> con </a:t>
            </a:r>
            <a:r>
              <a:rPr lang="en-GB" sz="726" err="1"/>
              <a:t>personalidad</a:t>
            </a:r>
            <a:r>
              <a:rPr lang="en-GB" sz="726"/>
              <a:t> </a:t>
            </a:r>
            <a:r>
              <a:rPr lang="en-GB" sz="726" err="1"/>
              <a:t>jurídica</a:t>
            </a:r>
            <a:r>
              <a:rPr lang="en-GB" sz="726"/>
              <a:t> </a:t>
            </a:r>
            <a:r>
              <a:rPr lang="en-GB" sz="726" err="1"/>
              <a:t>propia</a:t>
            </a:r>
            <a:r>
              <a:rPr lang="en-GB" sz="726"/>
              <a:t> e </a:t>
            </a:r>
            <a:r>
              <a:rPr lang="en-GB" sz="726" err="1"/>
              <a:t>independiente</a:t>
            </a:r>
            <a:r>
              <a:rPr lang="en-GB" sz="726"/>
              <a:t>. DTTL (</a:t>
            </a:r>
            <a:r>
              <a:rPr lang="en-GB" sz="726" err="1"/>
              <a:t>también</a:t>
            </a:r>
            <a:r>
              <a:rPr lang="en-GB" sz="726"/>
              <a:t> </a:t>
            </a:r>
            <a:r>
              <a:rPr lang="en-GB" sz="726" err="1"/>
              <a:t>denominada</a:t>
            </a:r>
            <a:r>
              <a:rPr lang="en-GB" sz="726"/>
              <a:t> "Deloitte Global") no </a:t>
            </a:r>
            <a:r>
              <a:rPr lang="en-GB" sz="726" err="1"/>
              <a:t>presta</a:t>
            </a:r>
            <a:r>
              <a:rPr lang="en-GB" sz="726"/>
              <a:t> </a:t>
            </a:r>
            <a:r>
              <a:rPr lang="en-GB" sz="726" err="1"/>
              <a:t>servicios</a:t>
            </a:r>
            <a:r>
              <a:rPr lang="en-GB" sz="726"/>
              <a:t> a </a:t>
            </a:r>
            <a:r>
              <a:rPr lang="en-GB" sz="726" err="1"/>
              <a:t>clientes</a:t>
            </a:r>
            <a:r>
              <a:rPr lang="en-GB" sz="726"/>
              <a:t>. </a:t>
            </a:r>
            <a:r>
              <a:rPr lang="en-GB" sz="726" err="1"/>
              <a:t>Consulte</a:t>
            </a:r>
            <a:r>
              <a:rPr lang="en-GB" sz="726"/>
              <a:t> la </a:t>
            </a:r>
            <a:r>
              <a:rPr lang="en-GB" sz="726" err="1"/>
              <a:t>página</a:t>
            </a:r>
            <a:r>
              <a:rPr lang="en-GB" sz="726"/>
              <a:t> </a:t>
            </a:r>
            <a:r>
              <a:rPr lang="en-GB" sz="726" u="sng">
                <a:hlinkClick r:id="rId3"/>
              </a:rPr>
              <a:t>http://www.deloitte.com/about</a:t>
            </a:r>
            <a:r>
              <a:rPr lang="en-GB" sz="726"/>
              <a:t> </a:t>
            </a:r>
            <a:r>
              <a:rPr lang="en-GB" sz="726" err="1"/>
              <a:t>si</a:t>
            </a:r>
            <a:r>
              <a:rPr lang="en-GB" sz="726"/>
              <a:t> </a:t>
            </a:r>
            <a:r>
              <a:rPr lang="en-GB" sz="726" err="1"/>
              <a:t>desea</a:t>
            </a:r>
            <a:r>
              <a:rPr lang="en-GB" sz="726"/>
              <a:t> </a:t>
            </a:r>
            <a:r>
              <a:rPr lang="en-GB" sz="726" err="1"/>
              <a:t>obtener</a:t>
            </a:r>
            <a:r>
              <a:rPr lang="en-GB" sz="726"/>
              <a:t> </a:t>
            </a:r>
            <a:r>
              <a:rPr lang="en-GB" sz="726" err="1"/>
              <a:t>una</a:t>
            </a:r>
            <a:r>
              <a:rPr lang="en-GB" sz="726"/>
              <a:t> </a:t>
            </a:r>
            <a:r>
              <a:rPr lang="en-GB" sz="726" err="1"/>
              <a:t>descripción</a:t>
            </a:r>
            <a:r>
              <a:rPr lang="en-GB" sz="726"/>
              <a:t> </a:t>
            </a:r>
            <a:r>
              <a:rPr lang="en-GB" sz="726" err="1"/>
              <a:t>detallada</a:t>
            </a:r>
            <a:r>
              <a:rPr lang="en-GB" sz="726"/>
              <a:t> de DTTL y sus </a:t>
            </a:r>
            <a:r>
              <a:rPr lang="en-GB" sz="726" err="1"/>
              <a:t>firmas</a:t>
            </a:r>
            <a:r>
              <a:rPr lang="en-GB" sz="726"/>
              <a:t> </a:t>
            </a:r>
            <a:r>
              <a:rPr lang="en-GB" sz="726" err="1"/>
              <a:t>miembro</a:t>
            </a:r>
            <a:r>
              <a:rPr lang="en-GB" sz="726"/>
              <a:t>.</a:t>
            </a:r>
          </a:p>
          <a:p>
            <a:r>
              <a:rPr lang="en-GB" sz="726"/>
              <a:t>Deloitte </a:t>
            </a:r>
            <a:r>
              <a:rPr lang="en-GB" sz="726" err="1"/>
              <a:t>presta</a:t>
            </a:r>
            <a:r>
              <a:rPr lang="en-GB" sz="726"/>
              <a:t> </a:t>
            </a:r>
            <a:r>
              <a:rPr lang="en-GB" sz="726" err="1"/>
              <a:t>servicios</a:t>
            </a:r>
            <a:r>
              <a:rPr lang="en-GB" sz="726"/>
              <a:t> de </a:t>
            </a:r>
            <a:r>
              <a:rPr lang="en-GB" sz="726" err="1"/>
              <a:t>auditoría</a:t>
            </a:r>
            <a:r>
              <a:rPr lang="en-GB" sz="726"/>
              <a:t>, </a:t>
            </a:r>
            <a:r>
              <a:rPr lang="en-GB" sz="726" err="1"/>
              <a:t>consultoría</a:t>
            </a:r>
            <a:r>
              <a:rPr lang="en-GB" sz="726"/>
              <a:t>, </a:t>
            </a:r>
            <a:r>
              <a:rPr lang="en-GB" sz="726" err="1"/>
              <a:t>asesoramiento</a:t>
            </a:r>
            <a:r>
              <a:rPr lang="en-GB" sz="726"/>
              <a:t> </a:t>
            </a:r>
            <a:r>
              <a:rPr lang="en-GB" sz="726" err="1"/>
              <a:t>financiero</a:t>
            </a:r>
            <a:r>
              <a:rPr lang="en-GB" sz="726"/>
              <a:t>, </a:t>
            </a:r>
            <a:r>
              <a:rPr lang="en-GB" sz="726" err="1"/>
              <a:t>gestión</a:t>
            </a:r>
            <a:r>
              <a:rPr lang="en-GB" sz="726"/>
              <a:t> del </a:t>
            </a:r>
            <a:r>
              <a:rPr lang="en-GB" sz="726" err="1"/>
              <a:t>riesgo</a:t>
            </a:r>
            <a:r>
              <a:rPr lang="en-GB" sz="726"/>
              <a:t>, </a:t>
            </a:r>
            <a:r>
              <a:rPr lang="en-GB" sz="726" err="1"/>
              <a:t>tributación</a:t>
            </a:r>
            <a:r>
              <a:rPr lang="en-GB" sz="726"/>
              <a:t> y </a:t>
            </a:r>
            <a:r>
              <a:rPr lang="en-GB" sz="726" err="1"/>
              <a:t>otros</a:t>
            </a:r>
            <a:r>
              <a:rPr lang="en-GB" sz="726"/>
              <a:t> </a:t>
            </a:r>
            <a:r>
              <a:rPr lang="en-GB" sz="726" err="1"/>
              <a:t>servicios</a:t>
            </a:r>
            <a:r>
              <a:rPr lang="en-GB" sz="726"/>
              <a:t> </a:t>
            </a:r>
            <a:r>
              <a:rPr lang="en-GB" sz="726" err="1"/>
              <a:t>relacionados</a:t>
            </a:r>
            <a:r>
              <a:rPr lang="en-GB" sz="726"/>
              <a:t>, a </a:t>
            </a:r>
            <a:r>
              <a:rPr lang="en-GB" sz="726" err="1"/>
              <a:t>clientes</a:t>
            </a:r>
            <a:r>
              <a:rPr lang="en-GB" sz="726"/>
              <a:t> </a:t>
            </a:r>
            <a:r>
              <a:rPr lang="en-GB" sz="726" err="1"/>
              <a:t>públicos</a:t>
            </a:r>
            <a:r>
              <a:rPr lang="en-GB" sz="726"/>
              <a:t> y </a:t>
            </a:r>
            <a:r>
              <a:rPr lang="en-GB" sz="726" err="1"/>
              <a:t>privados</a:t>
            </a:r>
            <a:r>
              <a:rPr lang="en-GB" sz="726"/>
              <a:t> </a:t>
            </a:r>
            <a:r>
              <a:rPr lang="en-GB" sz="726" err="1"/>
              <a:t>en</a:t>
            </a:r>
            <a:r>
              <a:rPr lang="en-GB" sz="726"/>
              <a:t> un </a:t>
            </a:r>
            <a:r>
              <a:rPr lang="en-GB" sz="726" err="1"/>
              <a:t>amplio</a:t>
            </a:r>
            <a:r>
              <a:rPr lang="en-GB" sz="726"/>
              <a:t> </a:t>
            </a:r>
            <a:r>
              <a:rPr lang="en-GB" sz="726" err="1"/>
              <a:t>número</a:t>
            </a:r>
            <a:r>
              <a:rPr lang="en-GB" sz="726"/>
              <a:t> de </a:t>
            </a:r>
            <a:r>
              <a:rPr lang="en-GB" sz="726" err="1"/>
              <a:t>sectores</a:t>
            </a:r>
            <a:r>
              <a:rPr lang="en-GB" sz="726"/>
              <a:t>. Con </a:t>
            </a:r>
            <a:r>
              <a:rPr lang="en-GB" sz="726" err="1"/>
              <a:t>una</a:t>
            </a:r>
            <a:r>
              <a:rPr lang="en-GB" sz="726"/>
              <a:t> red de </a:t>
            </a:r>
            <a:r>
              <a:rPr lang="en-GB" sz="726" err="1"/>
              <a:t>firmas</a:t>
            </a:r>
            <a:r>
              <a:rPr lang="en-GB" sz="726"/>
              <a:t> </a:t>
            </a:r>
            <a:r>
              <a:rPr lang="en-GB" sz="726" err="1"/>
              <a:t>miembro</a:t>
            </a:r>
            <a:r>
              <a:rPr lang="en-GB" sz="726"/>
              <a:t> </a:t>
            </a:r>
            <a:r>
              <a:rPr lang="en-GB" sz="726" err="1"/>
              <a:t>interconectadas</a:t>
            </a:r>
            <a:r>
              <a:rPr lang="en-GB" sz="726"/>
              <a:t> a </a:t>
            </a:r>
            <a:r>
              <a:rPr lang="en-GB" sz="726" err="1"/>
              <a:t>escala</a:t>
            </a:r>
            <a:r>
              <a:rPr lang="en-GB" sz="726"/>
              <a:t> global que se </a:t>
            </a:r>
            <a:r>
              <a:rPr lang="en-GB" sz="726" err="1"/>
              <a:t>extiende</a:t>
            </a:r>
            <a:r>
              <a:rPr lang="en-GB" sz="726"/>
              <a:t> </a:t>
            </a:r>
            <a:r>
              <a:rPr lang="en-GB" sz="726" err="1"/>
              <a:t>por</a:t>
            </a:r>
            <a:r>
              <a:rPr lang="en-GB" sz="726"/>
              <a:t> </a:t>
            </a:r>
            <a:r>
              <a:rPr lang="en-GB" sz="726" err="1"/>
              <a:t>más</a:t>
            </a:r>
            <a:r>
              <a:rPr lang="en-GB" sz="726"/>
              <a:t> de 150 </a:t>
            </a:r>
            <a:r>
              <a:rPr lang="en-GB" sz="726" err="1"/>
              <a:t>países</a:t>
            </a:r>
            <a:r>
              <a:rPr lang="en-GB" sz="726"/>
              <a:t> y </a:t>
            </a:r>
            <a:r>
              <a:rPr lang="en-GB" sz="726" err="1"/>
              <a:t>territorios</a:t>
            </a:r>
            <a:r>
              <a:rPr lang="en-GB" sz="726"/>
              <a:t>, Deloitte </a:t>
            </a:r>
            <a:r>
              <a:rPr lang="en-GB" sz="726" err="1"/>
              <a:t>aporta</a:t>
            </a:r>
            <a:r>
              <a:rPr lang="en-GB" sz="726"/>
              <a:t> las </a:t>
            </a:r>
            <a:r>
              <a:rPr lang="en-GB" sz="726" err="1"/>
              <a:t>mejores</a:t>
            </a:r>
            <a:r>
              <a:rPr lang="en-GB" sz="726"/>
              <a:t> </a:t>
            </a:r>
            <a:r>
              <a:rPr lang="en-GB" sz="726" err="1"/>
              <a:t>capacidades</a:t>
            </a:r>
            <a:r>
              <a:rPr lang="en-GB" sz="726"/>
              <a:t> y un </a:t>
            </a:r>
            <a:r>
              <a:rPr lang="en-GB" sz="726" err="1"/>
              <a:t>servicio</a:t>
            </a:r>
            <a:r>
              <a:rPr lang="en-GB" sz="726"/>
              <a:t> de </a:t>
            </a:r>
            <a:r>
              <a:rPr lang="en-GB" sz="726" err="1"/>
              <a:t>máxima</a:t>
            </a:r>
            <a:r>
              <a:rPr lang="en-GB" sz="726"/>
              <a:t> </a:t>
            </a:r>
            <a:r>
              <a:rPr lang="en-GB" sz="726" err="1"/>
              <a:t>calidad</a:t>
            </a:r>
            <a:r>
              <a:rPr lang="en-GB" sz="726"/>
              <a:t> a sus </a:t>
            </a:r>
            <a:r>
              <a:rPr lang="en-GB" sz="726" err="1"/>
              <a:t>clientes</a:t>
            </a:r>
            <a:r>
              <a:rPr lang="en-GB" sz="726"/>
              <a:t>, </a:t>
            </a:r>
            <a:r>
              <a:rPr lang="en-GB" sz="726" err="1"/>
              <a:t>ofreciéndoles</a:t>
            </a:r>
            <a:r>
              <a:rPr lang="en-GB" sz="726"/>
              <a:t> la </a:t>
            </a:r>
            <a:r>
              <a:rPr lang="en-GB" sz="726" err="1"/>
              <a:t>ayuda</a:t>
            </a:r>
            <a:r>
              <a:rPr lang="en-GB" sz="726"/>
              <a:t> que </a:t>
            </a:r>
            <a:r>
              <a:rPr lang="en-GB" sz="726" err="1"/>
              <a:t>necesitan</a:t>
            </a:r>
            <a:r>
              <a:rPr lang="en-GB" sz="726"/>
              <a:t> para </a:t>
            </a:r>
            <a:r>
              <a:rPr lang="en-GB" sz="726" err="1"/>
              <a:t>abordar</a:t>
            </a:r>
            <a:r>
              <a:rPr lang="en-GB" sz="726"/>
              <a:t> </a:t>
            </a:r>
            <a:r>
              <a:rPr lang="en-GB" sz="726" err="1"/>
              <a:t>los</a:t>
            </a:r>
            <a:r>
              <a:rPr lang="en-GB" sz="726"/>
              <a:t> </a:t>
            </a:r>
            <a:r>
              <a:rPr lang="en-GB" sz="726" err="1"/>
              <a:t>complejos</a:t>
            </a:r>
            <a:r>
              <a:rPr lang="en-GB" sz="726"/>
              <a:t> </a:t>
            </a:r>
            <a:r>
              <a:rPr lang="en-GB" sz="726" err="1"/>
              <a:t>desafíos</a:t>
            </a:r>
            <a:r>
              <a:rPr lang="en-GB" sz="726"/>
              <a:t> a </a:t>
            </a:r>
            <a:r>
              <a:rPr lang="en-GB" sz="726" err="1"/>
              <a:t>los</a:t>
            </a:r>
            <a:r>
              <a:rPr lang="en-GB" sz="726"/>
              <a:t> que se </a:t>
            </a:r>
            <a:r>
              <a:rPr lang="en-GB" sz="726" err="1"/>
              <a:t>enfrentan</a:t>
            </a:r>
            <a:r>
              <a:rPr lang="en-GB" sz="726"/>
              <a:t>. Los </a:t>
            </a:r>
            <a:r>
              <a:rPr lang="en-GB" sz="726" err="1"/>
              <a:t>más</a:t>
            </a:r>
            <a:r>
              <a:rPr lang="en-GB" sz="726"/>
              <a:t> de 225.000 </a:t>
            </a:r>
            <a:r>
              <a:rPr lang="en-GB" sz="726" err="1"/>
              <a:t>profesionales</a:t>
            </a:r>
            <a:r>
              <a:rPr lang="en-GB" sz="726"/>
              <a:t> de Deloitte </a:t>
            </a:r>
            <a:r>
              <a:rPr lang="en-GB" sz="726" err="1"/>
              <a:t>han</a:t>
            </a:r>
            <a:r>
              <a:rPr lang="en-GB" sz="726"/>
              <a:t> </a:t>
            </a:r>
            <a:r>
              <a:rPr lang="en-GB" sz="726" err="1"/>
              <a:t>asumido</a:t>
            </a:r>
            <a:r>
              <a:rPr lang="en-GB" sz="726"/>
              <a:t> el </a:t>
            </a:r>
            <a:r>
              <a:rPr lang="en-GB" sz="726" err="1"/>
              <a:t>compromiso</a:t>
            </a:r>
            <a:r>
              <a:rPr lang="en-GB" sz="726"/>
              <a:t> de </a:t>
            </a:r>
            <a:r>
              <a:rPr lang="en-GB" sz="726" err="1"/>
              <a:t>crear</a:t>
            </a:r>
            <a:r>
              <a:rPr lang="en-GB" sz="726"/>
              <a:t> un </a:t>
            </a:r>
            <a:r>
              <a:rPr lang="en-GB" sz="726" err="1"/>
              <a:t>verdadero</a:t>
            </a:r>
            <a:r>
              <a:rPr lang="en-GB" sz="726"/>
              <a:t> </a:t>
            </a:r>
            <a:r>
              <a:rPr lang="en-GB" sz="726" err="1"/>
              <a:t>impacto</a:t>
            </a:r>
            <a:r>
              <a:rPr lang="en-GB" sz="726"/>
              <a:t>.</a:t>
            </a:r>
            <a:endParaRPr lang="es-ES_tradnl"/>
          </a:p>
        </p:txBody>
      </p:sp>
    </p:spTree>
    <p:extLst>
      <p:ext uri="{BB962C8B-B14F-4D97-AF65-F5344CB8AC3E}">
        <p14:creationId xmlns:p14="http://schemas.microsoft.com/office/powerpoint/2010/main" val="9137363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4" name="TextBox 3">
            <a:extLst>
              <a:ext uri="{FF2B5EF4-FFF2-40B4-BE49-F238E27FC236}">
                <a16:creationId xmlns:a16="http://schemas.microsoft.com/office/drawing/2014/main" id="{D77E1D12-11CF-3CF9-406B-4A4893650F06}"/>
              </a:ext>
            </a:extLst>
          </p:cNvPr>
          <p:cNvSpPr txBox="1"/>
          <p:nvPr/>
        </p:nvSpPr>
        <p:spPr>
          <a:xfrm>
            <a:off x="399892" y="2267388"/>
            <a:ext cx="4053575" cy="246221"/>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Ø"/>
            </a:pPr>
            <a:r>
              <a:rPr lang="es-ES" sz="1600" b="1">
                <a:effectLst/>
                <a:latin typeface="+mj-lt"/>
                <a:ea typeface="Calibri" panose="020F0502020204030204" pitchFamily="34" charset="0"/>
                <a:cs typeface="Times New Roman" panose="02020603050405020304" pitchFamily="18" charset="0"/>
              </a:rPr>
              <a:t>Scrum</a:t>
            </a:r>
            <a:endParaRPr lang="es-ES_tradnl" sz="1200" b="1">
              <a:latin typeface="+mj-lt"/>
              <a:sym typeface="Wingdings" panose="05000000000000000000" pitchFamily="2" charset="2"/>
            </a:endParaRPr>
          </a:p>
        </p:txBody>
      </p:sp>
      <p:sp>
        <p:nvSpPr>
          <p:cNvPr id="5" name="TextBox 4">
            <a:extLst>
              <a:ext uri="{FF2B5EF4-FFF2-40B4-BE49-F238E27FC236}">
                <a16:creationId xmlns:a16="http://schemas.microsoft.com/office/drawing/2014/main" id="{7A0A1D92-F5D9-CC0A-A7E4-54B7EC98DBEC}"/>
              </a:ext>
            </a:extLst>
          </p:cNvPr>
          <p:cNvSpPr txBox="1"/>
          <p:nvPr/>
        </p:nvSpPr>
        <p:spPr>
          <a:xfrm>
            <a:off x="937399" y="2694159"/>
            <a:ext cx="5448329"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Enfoque que contiene varios </a:t>
            </a:r>
            <a:r>
              <a:rPr lang="es-ES" sz="1400" b="1">
                <a:effectLst/>
                <a:latin typeface="+mj-lt"/>
                <a:ea typeface="Calibri" panose="020F0502020204030204" pitchFamily="34" charset="0"/>
                <a:cs typeface="Times New Roman" panose="02020603050405020304" pitchFamily="18" charset="0"/>
              </a:rPr>
              <a:t>instrumentos y prácticas:</a:t>
            </a:r>
            <a:endParaRPr lang="es-ES" sz="1400">
              <a:latin typeface="+mj-lt"/>
              <a:ea typeface="Calibri" panose="020F0502020204030204" pitchFamily="34" charset="0"/>
              <a:cs typeface="Times New Roman" panose="02020603050405020304" pitchFamily="18" charset="0"/>
            </a:endParaRPr>
          </a:p>
        </p:txBody>
      </p:sp>
      <p:sp>
        <p:nvSpPr>
          <p:cNvPr id="7" name="Rectangle: Rounded Corners 6">
            <a:extLst>
              <a:ext uri="{FF2B5EF4-FFF2-40B4-BE49-F238E27FC236}">
                <a16:creationId xmlns:a16="http://schemas.microsoft.com/office/drawing/2014/main" id="{1A559B9B-9DDC-52F7-D7FA-E366CC21568B}"/>
              </a:ext>
            </a:extLst>
          </p:cNvPr>
          <p:cNvSpPr/>
          <p:nvPr/>
        </p:nvSpPr>
        <p:spPr bwMode="gray">
          <a:xfrm>
            <a:off x="427537" y="1663155"/>
            <a:ext cx="5448330"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1. Enfoques de desarrollo ágil de software</a:t>
            </a:r>
          </a:p>
        </p:txBody>
      </p:sp>
      <p:sp>
        <p:nvSpPr>
          <p:cNvPr id="9" name="Rectangle: Rounded Corners 8">
            <a:extLst>
              <a:ext uri="{FF2B5EF4-FFF2-40B4-BE49-F238E27FC236}">
                <a16:creationId xmlns:a16="http://schemas.microsoft.com/office/drawing/2014/main" id="{462481C8-A705-D63A-C905-C4B14B222E53}"/>
              </a:ext>
            </a:extLst>
          </p:cNvPr>
          <p:cNvSpPr/>
          <p:nvPr/>
        </p:nvSpPr>
        <p:spPr bwMode="gray">
          <a:xfrm>
            <a:off x="460375" y="3356412"/>
            <a:ext cx="6649552" cy="388800"/>
          </a:xfrm>
          <a:prstGeom prst="roundRect">
            <a:avLst>
              <a:gd name="adj" fmla="val 50000"/>
            </a:avLst>
          </a:prstGeom>
          <a:solidFill>
            <a:schemeClr val="bg1"/>
          </a:solidFill>
          <a:ln w="254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0" name="Rectangle: Rounded Corners 9">
            <a:extLst>
              <a:ext uri="{FF2B5EF4-FFF2-40B4-BE49-F238E27FC236}">
                <a16:creationId xmlns:a16="http://schemas.microsoft.com/office/drawing/2014/main" id="{6BE1BE96-8E90-ADFF-BFB6-D53033BF04E8}"/>
              </a:ext>
            </a:extLst>
          </p:cNvPr>
          <p:cNvSpPr/>
          <p:nvPr/>
        </p:nvSpPr>
        <p:spPr bwMode="gray">
          <a:xfrm>
            <a:off x="460375" y="3357992"/>
            <a:ext cx="1501768" cy="387220"/>
          </a:xfrm>
          <a:prstGeom prst="roundRect">
            <a:avLst>
              <a:gd name="adj" fmla="val 50000"/>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err="1">
                <a:solidFill>
                  <a:schemeClr val="bg1"/>
                </a:solidFill>
              </a:rPr>
              <a:t>Sprints</a:t>
            </a:r>
            <a:endParaRPr lang="es-ES" sz="1400" b="1">
              <a:solidFill>
                <a:schemeClr val="bg1"/>
              </a:solidFill>
            </a:endParaRPr>
          </a:p>
        </p:txBody>
      </p:sp>
      <p:sp>
        <p:nvSpPr>
          <p:cNvPr id="11" name="TextBox 10">
            <a:extLst>
              <a:ext uri="{FF2B5EF4-FFF2-40B4-BE49-F238E27FC236}">
                <a16:creationId xmlns:a16="http://schemas.microsoft.com/office/drawing/2014/main" id="{4E3638A5-BC33-1A2B-D666-70A6810D3304}"/>
              </a:ext>
            </a:extLst>
          </p:cNvPr>
          <p:cNvSpPr txBox="1"/>
          <p:nvPr/>
        </p:nvSpPr>
        <p:spPr>
          <a:xfrm>
            <a:off x="2106839" y="3399552"/>
            <a:ext cx="4863131"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Iteraciones de duración fija (entre 2 y 4 semanas).</a:t>
            </a:r>
            <a:endParaRPr lang="es-ES" sz="1400">
              <a:latin typeface="+mj-lt"/>
              <a:ea typeface="Calibri" panose="020F0502020204030204" pitchFamily="34" charset="0"/>
              <a:cs typeface="Times New Roman" panose="02020603050405020304" pitchFamily="18" charset="0"/>
            </a:endParaRPr>
          </a:p>
        </p:txBody>
      </p:sp>
      <p:sp>
        <p:nvSpPr>
          <p:cNvPr id="3" name="Rectangle: Rounded Corners 2">
            <a:extLst>
              <a:ext uri="{FF2B5EF4-FFF2-40B4-BE49-F238E27FC236}">
                <a16:creationId xmlns:a16="http://schemas.microsoft.com/office/drawing/2014/main" id="{1B849772-7041-B070-5EC4-C80A38708D3C}"/>
              </a:ext>
            </a:extLst>
          </p:cNvPr>
          <p:cNvSpPr/>
          <p:nvPr/>
        </p:nvSpPr>
        <p:spPr bwMode="gray">
          <a:xfrm>
            <a:off x="460374" y="3965602"/>
            <a:ext cx="9813179" cy="388800"/>
          </a:xfrm>
          <a:prstGeom prst="roundRect">
            <a:avLst>
              <a:gd name="adj" fmla="val 50000"/>
            </a:avLst>
          </a:prstGeom>
          <a:solidFill>
            <a:schemeClr val="bg1"/>
          </a:solidFill>
          <a:ln w="254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8" name="Rectangle: Rounded Corners 7">
            <a:extLst>
              <a:ext uri="{FF2B5EF4-FFF2-40B4-BE49-F238E27FC236}">
                <a16:creationId xmlns:a16="http://schemas.microsoft.com/office/drawing/2014/main" id="{680F8DED-0AD9-FB63-2C5E-06D1406A56AB}"/>
              </a:ext>
            </a:extLst>
          </p:cNvPr>
          <p:cNvSpPr/>
          <p:nvPr/>
        </p:nvSpPr>
        <p:spPr bwMode="gray">
          <a:xfrm>
            <a:off x="460374" y="3967181"/>
            <a:ext cx="3116544" cy="388800"/>
          </a:xfrm>
          <a:prstGeom prst="roundRect">
            <a:avLst>
              <a:gd name="adj" fmla="val 50000"/>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Incremento de producto</a:t>
            </a:r>
          </a:p>
        </p:txBody>
      </p:sp>
      <p:sp>
        <p:nvSpPr>
          <p:cNvPr id="12" name="TextBox 11">
            <a:extLst>
              <a:ext uri="{FF2B5EF4-FFF2-40B4-BE49-F238E27FC236}">
                <a16:creationId xmlns:a16="http://schemas.microsoft.com/office/drawing/2014/main" id="{C62D82F5-6DD6-5680-6C45-BC3DA5272176}"/>
              </a:ext>
            </a:extLst>
          </p:cNvPr>
          <p:cNvSpPr txBox="1"/>
          <p:nvPr/>
        </p:nvSpPr>
        <p:spPr>
          <a:xfrm>
            <a:off x="3702422" y="4008742"/>
            <a:ext cx="6418730"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Producto obtenido tras una iteración que puede entregarse al cliente.</a:t>
            </a:r>
            <a:endParaRPr lang="es-ES" sz="1400">
              <a:latin typeface="+mj-lt"/>
              <a:ea typeface="Calibri" panose="020F0502020204030204" pitchFamily="34" charset="0"/>
              <a:cs typeface="Times New Roman" panose="02020603050405020304" pitchFamily="18" charset="0"/>
            </a:endParaRPr>
          </a:p>
        </p:txBody>
      </p:sp>
      <p:sp>
        <p:nvSpPr>
          <p:cNvPr id="13" name="Rectangle: Rounded Corners 12">
            <a:extLst>
              <a:ext uri="{FF2B5EF4-FFF2-40B4-BE49-F238E27FC236}">
                <a16:creationId xmlns:a16="http://schemas.microsoft.com/office/drawing/2014/main" id="{7674FFE1-466B-3E61-9D8B-0DBDBF279D94}"/>
              </a:ext>
            </a:extLst>
          </p:cNvPr>
          <p:cNvSpPr/>
          <p:nvPr/>
        </p:nvSpPr>
        <p:spPr bwMode="gray">
          <a:xfrm>
            <a:off x="460375" y="4580564"/>
            <a:ext cx="11201400" cy="388800"/>
          </a:xfrm>
          <a:prstGeom prst="roundRect">
            <a:avLst>
              <a:gd name="adj" fmla="val 50000"/>
            </a:avLst>
          </a:prstGeom>
          <a:solidFill>
            <a:schemeClr val="bg1"/>
          </a:solidFill>
          <a:ln w="254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4" name="Rectangle: Rounded Corners 13">
            <a:extLst>
              <a:ext uri="{FF2B5EF4-FFF2-40B4-BE49-F238E27FC236}">
                <a16:creationId xmlns:a16="http://schemas.microsoft.com/office/drawing/2014/main" id="{DEBEDDEE-0661-F4EE-5FE3-FDCCE6BDCB69}"/>
              </a:ext>
            </a:extLst>
          </p:cNvPr>
          <p:cNvSpPr/>
          <p:nvPr/>
        </p:nvSpPr>
        <p:spPr bwMode="gray">
          <a:xfrm>
            <a:off x="460374" y="4582143"/>
            <a:ext cx="3615545" cy="388800"/>
          </a:xfrm>
          <a:prstGeom prst="roundRect">
            <a:avLst>
              <a:gd name="adj" fmla="val 50000"/>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Trabajo acumulado del Producto</a:t>
            </a:r>
          </a:p>
        </p:txBody>
      </p:sp>
      <p:sp>
        <p:nvSpPr>
          <p:cNvPr id="16" name="TextBox 15">
            <a:extLst>
              <a:ext uri="{FF2B5EF4-FFF2-40B4-BE49-F238E27FC236}">
                <a16:creationId xmlns:a16="http://schemas.microsoft.com/office/drawing/2014/main" id="{1AA89579-541E-1901-71A4-F1EED93363B4}"/>
              </a:ext>
            </a:extLst>
          </p:cNvPr>
          <p:cNvSpPr txBox="1"/>
          <p:nvPr/>
        </p:nvSpPr>
        <p:spPr>
          <a:xfrm>
            <a:off x="4150662" y="4623704"/>
            <a:ext cx="7279340"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Lista de elementos del producto, gestionada por el </a:t>
            </a:r>
            <a:r>
              <a:rPr lang="es-ES" sz="1400" b="1">
                <a:latin typeface="+mj-lt"/>
                <a:ea typeface="Calibri" panose="020F0502020204030204" pitchFamily="34" charset="0"/>
                <a:cs typeface="Times New Roman" panose="02020603050405020304" pitchFamily="18" charset="0"/>
              </a:rPr>
              <a:t>propietario del producto.</a:t>
            </a:r>
            <a:endParaRPr lang="es-ES" sz="1400">
              <a:latin typeface="+mj-lt"/>
              <a:ea typeface="Calibri" panose="020F0502020204030204" pitchFamily="34" charset="0"/>
              <a:cs typeface="Times New Roman" panose="02020603050405020304" pitchFamily="18" charset="0"/>
            </a:endParaRPr>
          </a:p>
        </p:txBody>
      </p:sp>
      <p:sp>
        <p:nvSpPr>
          <p:cNvPr id="20" name="Rectangle: Rounded Corners 19">
            <a:extLst>
              <a:ext uri="{FF2B5EF4-FFF2-40B4-BE49-F238E27FC236}">
                <a16:creationId xmlns:a16="http://schemas.microsoft.com/office/drawing/2014/main" id="{25CB128A-88FB-3003-1041-684E51C67833}"/>
              </a:ext>
            </a:extLst>
          </p:cNvPr>
          <p:cNvSpPr/>
          <p:nvPr/>
        </p:nvSpPr>
        <p:spPr bwMode="gray">
          <a:xfrm>
            <a:off x="427538" y="5209794"/>
            <a:ext cx="11201400" cy="638161"/>
          </a:xfrm>
          <a:prstGeom prst="roundRect">
            <a:avLst>
              <a:gd name="adj" fmla="val 50000"/>
            </a:avLst>
          </a:prstGeom>
          <a:solidFill>
            <a:schemeClr val="bg1"/>
          </a:solidFill>
          <a:ln w="254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21" name="Rectangle: Rounded Corners 20">
            <a:extLst>
              <a:ext uri="{FF2B5EF4-FFF2-40B4-BE49-F238E27FC236}">
                <a16:creationId xmlns:a16="http://schemas.microsoft.com/office/drawing/2014/main" id="{C0C4388D-18FB-5C7F-7E50-82E731841E2F}"/>
              </a:ext>
            </a:extLst>
          </p:cNvPr>
          <p:cNvSpPr/>
          <p:nvPr/>
        </p:nvSpPr>
        <p:spPr bwMode="gray">
          <a:xfrm>
            <a:off x="427537" y="5211373"/>
            <a:ext cx="3615545" cy="636581"/>
          </a:xfrm>
          <a:prstGeom prst="roundRect">
            <a:avLst>
              <a:gd name="adj" fmla="val 50000"/>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Trabajo acumulado del Sprint</a:t>
            </a:r>
          </a:p>
        </p:txBody>
      </p:sp>
      <p:sp>
        <p:nvSpPr>
          <p:cNvPr id="22" name="TextBox 21">
            <a:extLst>
              <a:ext uri="{FF2B5EF4-FFF2-40B4-BE49-F238E27FC236}">
                <a16:creationId xmlns:a16="http://schemas.microsoft.com/office/drawing/2014/main" id="{05CB6F97-E98D-9F1F-1620-CCA5A1D71F42}"/>
              </a:ext>
            </a:extLst>
          </p:cNvPr>
          <p:cNvSpPr txBox="1"/>
          <p:nvPr/>
        </p:nvSpPr>
        <p:spPr>
          <a:xfrm>
            <a:off x="4150662" y="5252935"/>
            <a:ext cx="7279340" cy="533031"/>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Lista de elementos que se realizarán en el sprint, gestionada por el </a:t>
            </a:r>
            <a:r>
              <a:rPr lang="es-ES" sz="1400" b="1">
                <a:latin typeface="+mj-lt"/>
                <a:ea typeface="Calibri" panose="020F0502020204030204" pitchFamily="34" charset="0"/>
                <a:cs typeface="Times New Roman" panose="02020603050405020304" pitchFamily="18" charset="0"/>
              </a:rPr>
              <a:t>equipo de desarrollo.</a:t>
            </a:r>
            <a:endParaRPr lang="es-ES" sz="1400">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2152782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4" name="TextBox 3">
            <a:extLst>
              <a:ext uri="{FF2B5EF4-FFF2-40B4-BE49-F238E27FC236}">
                <a16:creationId xmlns:a16="http://schemas.microsoft.com/office/drawing/2014/main" id="{D77E1D12-11CF-3CF9-406B-4A4893650F06}"/>
              </a:ext>
            </a:extLst>
          </p:cNvPr>
          <p:cNvSpPr txBox="1"/>
          <p:nvPr/>
        </p:nvSpPr>
        <p:spPr>
          <a:xfrm>
            <a:off x="399892" y="2267388"/>
            <a:ext cx="4053575" cy="246221"/>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Ø"/>
            </a:pPr>
            <a:r>
              <a:rPr lang="es-ES" sz="1600" b="1">
                <a:effectLst/>
                <a:latin typeface="+mj-lt"/>
                <a:ea typeface="Calibri" panose="020F0502020204030204" pitchFamily="34" charset="0"/>
                <a:cs typeface="Times New Roman" panose="02020603050405020304" pitchFamily="18" charset="0"/>
              </a:rPr>
              <a:t>Scrum</a:t>
            </a:r>
            <a:endParaRPr lang="es-ES_tradnl" sz="1200" b="1">
              <a:latin typeface="+mj-lt"/>
              <a:sym typeface="Wingdings" panose="05000000000000000000" pitchFamily="2" charset="2"/>
            </a:endParaRPr>
          </a:p>
        </p:txBody>
      </p:sp>
      <p:sp>
        <p:nvSpPr>
          <p:cNvPr id="5" name="TextBox 4">
            <a:extLst>
              <a:ext uri="{FF2B5EF4-FFF2-40B4-BE49-F238E27FC236}">
                <a16:creationId xmlns:a16="http://schemas.microsoft.com/office/drawing/2014/main" id="{7A0A1D92-F5D9-CC0A-A7E4-54B7EC98DBEC}"/>
              </a:ext>
            </a:extLst>
          </p:cNvPr>
          <p:cNvSpPr txBox="1"/>
          <p:nvPr/>
        </p:nvSpPr>
        <p:spPr>
          <a:xfrm>
            <a:off x="937399" y="2694159"/>
            <a:ext cx="5448329"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Enfoque que contiene varios </a:t>
            </a:r>
            <a:r>
              <a:rPr lang="es-ES" sz="1400" b="1">
                <a:effectLst/>
                <a:latin typeface="+mj-lt"/>
                <a:ea typeface="Calibri" panose="020F0502020204030204" pitchFamily="34" charset="0"/>
                <a:cs typeface="Times New Roman" panose="02020603050405020304" pitchFamily="18" charset="0"/>
              </a:rPr>
              <a:t>instrumentos y prácticas:</a:t>
            </a:r>
            <a:endParaRPr lang="es-ES" sz="1400">
              <a:latin typeface="+mj-lt"/>
              <a:ea typeface="Calibri" panose="020F0502020204030204" pitchFamily="34" charset="0"/>
              <a:cs typeface="Times New Roman" panose="02020603050405020304" pitchFamily="18" charset="0"/>
            </a:endParaRPr>
          </a:p>
        </p:txBody>
      </p:sp>
      <p:sp>
        <p:nvSpPr>
          <p:cNvPr id="7" name="Rectangle: Rounded Corners 6">
            <a:extLst>
              <a:ext uri="{FF2B5EF4-FFF2-40B4-BE49-F238E27FC236}">
                <a16:creationId xmlns:a16="http://schemas.microsoft.com/office/drawing/2014/main" id="{1A559B9B-9DDC-52F7-D7FA-E366CC21568B}"/>
              </a:ext>
            </a:extLst>
          </p:cNvPr>
          <p:cNvSpPr/>
          <p:nvPr/>
        </p:nvSpPr>
        <p:spPr bwMode="gray">
          <a:xfrm>
            <a:off x="427537" y="1663155"/>
            <a:ext cx="5448330"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1. Enfoques de desarrollo ágil de software</a:t>
            </a:r>
          </a:p>
        </p:txBody>
      </p:sp>
      <p:sp>
        <p:nvSpPr>
          <p:cNvPr id="9" name="Rectangle: Rounded Corners 8">
            <a:extLst>
              <a:ext uri="{FF2B5EF4-FFF2-40B4-BE49-F238E27FC236}">
                <a16:creationId xmlns:a16="http://schemas.microsoft.com/office/drawing/2014/main" id="{462481C8-A705-D63A-C905-C4B14B222E53}"/>
              </a:ext>
            </a:extLst>
          </p:cNvPr>
          <p:cNvSpPr/>
          <p:nvPr/>
        </p:nvSpPr>
        <p:spPr bwMode="gray">
          <a:xfrm>
            <a:off x="460375" y="3356412"/>
            <a:ext cx="8899776" cy="388800"/>
          </a:xfrm>
          <a:prstGeom prst="roundRect">
            <a:avLst>
              <a:gd name="adj" fmla="val 50000"/>
            </a:avLst>
          </a:prstGeom>
          <a:solidFill>
            <a:schemeClr val="bg1"/>
          </a:solidFill>
          <a:ln w="254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0" name="Rectangle: Rounded Corners 9">
            <a:extLst>
              <a:ext uri="{FF2B5EF4-FFF2-40B4-BE49-F238E27FC236}">
                <a16:creationId xmlns:a16="http://schemas.microsoft.com/office/drawing/2014/main" id="{6BE1BE96-8E90-ADFF-BFB6-D53033BF04E8}"/>
              </a:ext>
            </a:extLst>
          </p:cNvPr>
          <p:cNvSpPr/>
          <p:nvPr/>
        </p:nvSpPr>
        <p:spPr bwMode="gray">
          <a:xfrm>
            <a:off x="460375" y="3357992"/>
            <a:ext cx="2621492" cy="387220"/>
          </a:xfrm>
          <a:prstGeom prst="roundRect">
            <a:avLst>
              <a:gd name="adj" fmla="val 50000"/>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Definición de hecho</a:t>
            </a:r>
          </a:p>
        </p:txBody>
      </p:sp>
      <p:sp>
        <p:nvSpPr>
          <p:cNvPr id="11" name="TextBox 10">
            <a:extLst>
              <a:ext uri="{FF2B5EF4-FFF2-40B4-BE49-F238E27FC236}">
                <a16:creationId xmlns:a16="http://schemas.microsoft.com/office/drawing/2014/main" id="{4E3638A5-BC33-1A2B-D666-70A6810D3304}"/>
              </a:ext>
            </a:extLst>
          </p:cNvPr>
          <p:cNvSpPr txBox="1"/>
          <p:nvPr/>
        </p:nvSpPr>
        <p:spPr>
          <a:xfrm>
            <a:off x="3251200" y="3399552"/>
            <a:ext cx="6055575"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Criterios para asegurar un producto potencialmente entregable.</a:t>
            </a:r>
            <a:endParaRPr lang="es-ES" sz="1400">
              <a:latin typeface="+mj-lt"/>
              <a:ea typeface="Calibri" panose="020F0502020204030204" pitchFamily="34" charset="0"/>
              <a:cs typeface="Times New Roman" panose="02020603050405020304" pitchFamily="18" charset="0"/>
            </a:endParaRPr>
          </a:p>
        </p:txBody>
      </p:sp>
      <p:sp>
        <p:nvSpPr>
          <p:cNvPr id="3" name="Rectangle: Rounded Corners 2">
            <a:extLst>
              <a:ext uri="{FF2B5EF4-FFF2-40B4-BE49-F238E27FC236}">
                <a16:creationId xmlns:a16="http://schemas.microsoft.com/office/drawing/2014/main" id="{1B849772-7041-B070-5EC4-C80A38708D3C}"/>
              </a:ext>
            </a:extLst>
          </p:cNvPr>
          <p:cNvSpPr/>
          <p:nvPr/>
        </p:nvSpPr>
        <p:spPr bwMode="gray">
          <a:xfrm>
            <a:off x="460374" y="3965602"/>
            <a:ext cx="10241492" cy="388800"/>
          </a:xfrm>
          <a:prstGeom prst="roundRect">
            <a:avLst>
              <a:gd name="adj" fmla="val 50000"/>
            </a:avLst>
          </a:prstGeom>
          <a:solidFill>
            <a:schemeClr val="bg1"/>
          </a:solidFill>
          <a:ln w="254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8" name="Rectangle: Rounded Corners 7">
            <a:extLst>
              <a:ext uri="{FF2B5EF4-FFF2-40B4-BE49-F238E27FC236}">
                <a16:creationId xmlns:a16="http://schemas.microsoft.com/office/drawing/2014/main" id="{680F8DED-0AD9-FB63-2C5E-06D1406A56AB}"/>
              </a:ext>
            </a:extLst>
          </p:cNvPr>
          <p:cNvSpPr/>
          <p:nvPr/>
        </p:nvSpPr>
        <p:spPr bwMode="gray">
          <a:xfrm>
            <a:off x="460374" y="3967181"/>
            <a:ext cx="3116544" cy="388800"/>
          </a:xfrm>
          <a:prstGeom prst="roundRect">
            <a:avLst>
              <a:gd name="adj" fmla="val 50000"/>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Acotamiento del tiempo</a:t>
            </a:r>
          </a:p>
        </p:txBody>
      </p:sp>
      <p:sp>
        <p:nvSpPr>
          <p:cNvPr id="12" name="TextBox 11">
            <a:extLst>
              <a:ext uri="{FF2B5EF4-FFF2-40B4-BE49-F238E27FC236}">
                <a16:creationId xmlns:a16="http://schemas.microsoft.com/office/drawing/2014/main" id="{C62D82F5-6DD6-5680-6C45-BC3DA5272176}"/>
              </a:ext>
            </a:extLst>
          </p:cNvPr>
          <p:cNvSpPr txBox="1"/>
          <p:nvPr/>
        </p:nvSpPr>
        <p:spPr>
          <a:xfrm>
            <a:off x="3702421" y="4008742"/>
            <a:ext cx="6999445"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Seleccionar solamente las tareas que se puedan finalizar durante el sprint.</a:t>
            </a:r>
            <a:endParaRPr lang="es-ES" sz="1400">
              <a:latin typeface="+mj-lt"/>
              <a:ea typeface="Calibri" panose="020F0502020204030204" pitchFamily="34" charset="0"/>
              <a:cs typeface="Times New Roman" panose="02020603050405020304" pitchFamily="18" charset="0"/>
            </a:endParaRPr>
          </a:p>
        </p:txBody>
      </p:sp>
      <p:sp>
        <p:nvSpPr>
          <p:cNvPr id="13" name="Rectangle: Rounded Corners 12">
            <a:extLst>
              <a:ext uri="{FF2B5EF4-FFF2-40B4-BE49-F238E27FC236}">
                <a16:creationId xmlns:a16="http://schemas.microsoft.com/office/drawing/2014/main" id="{7674FFE1-466B-3E61-9D8B-0DBDBF279D94}"/>
              </a:ext>
            </a:extLst>
          </p:cNvPr>
          <p:cNvSpPr/>
          <p:nvPr/>
        </p:nvSpPr>
        <p:spPr bwMode="gray">
          <a:xfrm>
            <a:off x="460375" y="4584594"/>
            <a:ext cx="8150225" cy="388800"/>
          </a:xfrm>
          <a:prstGeom prst="roundRect">
            <a:avLst>
              <a:gd name="adj" fmla="val 50000"/>
            </a:avLst>
          </a:prstGeom>
          <a:solidFill>
            <a:schemeClr val="bg1"/>
          </a:solidFill>
          <a:ln w="254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4" name="Rectangle: Rounded Corners 13">
            <a:extLst>
              <a:ext uri="{FF2B5EF4-FFF2-40B4-BE49-F238E27FC236}">
                <a16:creationId xmlns:a16="http://schemas.microsoft.com/office/drawing/2014/main" id="{DEBEDDEE-0661-F4EE-5FE3-FDCCE6BDCB69}"/>
              </a:ext>
            </a:extLst>
          </p:cNvPr>
          <p:cNvSpPr/>
          <p:nvPr/>
        </p:nvSpPr>
        <p:spPr bwMode="gray">
          <a:xfrm>
            <a:off x="460374" y="4586173"/>
            <a:ext cx="2113493" cy="388800"/>
          </a:xfrm>
          <a:prstGeom prst="roundRect">
            <a:avLst>
              <a:gd name="adj" fmla="val 50000"/>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Transparencia</a:t>
            </a:r>
          </a:p>
        </p:txBody>
      </p:sp>
      <p:sp>
        <p:nvSpPr>
          <p:cNvPr id="16" name="TextBox 15">
            <a:extLst>
              <a:ext uri="{FF2B5EF4-FFF2-40B4-BE49-F238E27FC236}">
                <a16:creationId xmlns:a16="http://schemas.microsoft.com/office/drawing/2014/main" id="{1AA89579-541E-1901-71A4-F1EED93363B4}"/>
              </a:ext>
            </a:extLst>
          </p:cNvPr>
          <p:cNvSpPr txBox="1"/>
          <p:nvPr/>
        </p:nvSpPr>
        <p:spPr>
          <a:xfrm>
            <a:off x="2736724" y="4628390"/>
            <a:ext cx="5729943"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El equipo informa sobre su progreso en las reuniones diarias.</a:t>
            </a:r>
            <a:endParaRPr lang="es-ES" sz="1400">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055158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4" name="TextBox 3">
            <a:extLst>
              <a:ext uri="{FF2B5EF4-FFF2-40B4-BE49-F238E27FC236}">
                <a16:creationId xmlns:a16="http://schemas.microsoft.com/office/drawing/2014/main" id="{D77E1D12-11CF-3CF9-406B-4A4893650F06}"/>
              </a:ext>
            </a:extLst>
          </p:cNvPr>
          <p:cNvSpPr txBox="1"/>
          <p:nvPr/>
        </p:nvSpPr>
        <p:spPr>
          <a:xfrm>
            <a:off x="399892" y="2267388"/>
            <a:ext cx="4053575" cy="246221"/>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Ø"/>
            </a:pPr>
            <a:r>
              <a:rPr lang="es-ES" sz="1600" b="1">
                <a:effectLst/>
                <a:latin typeface="+mj-lt"/>
                <a:ea typeface="Calibri" panose="020F0502020204030204" pitchFamily="34" charset="0"/>
                <a:cs typeface="Times New Roman" panose="02020603050405020304" pitchFamily="18" charset="0"/>
              </a:rPr>
              <a:t>Scrum</a:t>
            </a:r>
            <a:endParaRPr lang="es-ES_tradnl" sz="1200" b="1">
              <a:latin typeface="+mj-lt"/>
              <a:sym typeface="Wingdings" panose="05000000000000000000" pitchFamily="2" charset="2"/>
            </a:endParaRPr>
          </a:p>
        </p:txBody>
      </p:sp>
      <p:sp>
        <p:nvSpPr>
          <p:cNvPr id="5" name="TextBox 4">
            <a:extLst>
              <a:ext uri="{FF2B5EF4-FFF2-40B4-BE49-F238E27FC236}">
                <a16:creationId xmlns:a16="http://schemas.microsoft.com/office/drawing/2014/main" id="{7A0A1D92-F5D9-CC0A-A7E4-54B7EC98DBEC}"/>
              </a:ext>
            </a:extLst>
          </p:cNvPr>
          <p:cNvSpPr txBox="1"/>
          <p:nvPr/>
        </p:nvSpPr>
        <p:spPr>
          <a:xfrm>
            <a:off x="937399" y="2694159"/>
            <a:ext cx="5448329"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Enfoque que define varios </a:t>
            </a:r>
            <a:r>
              <a:rPr lang="es-ES" sz="1400" b="1">
                <a:effectLst/>
                <a:latin typeface="+mj-lt"/>
                <a:ea typeface="Calibri" panose="020F0502020204030204" pitchFamily="34" charset="0"/>
                <a:cs typeface="Times New Roman" panose="02020603050405020304" pitchFamily="18" charset="0"/>
              </a:rPr>
              <a:t>roles:</a:t>
            </a:r>
            <a:endParaRPr lang="es-ES" sz="1400">
              <a:latin typeface="+mj-lt"/>
              <a:ea typeface="Calibri" panose="020F0502020204030204" pitchFamily="34" charset="0"/>
              <a:cs typeface="Times New Roman" panose="02020603050405020304" pitchFamily="18" charset="0"/>
            </a:endParaRPr>
          </a:p>
        </p:txBody>
      </p:sp>
      <p:sp>
        <p:nvSpPr>
          <p:cNvPr id="7" name="Rectangle: Rounded Corners 6">
            <a:extLst>
              <a:ext uri="{FF2B5EF4-FFF2-40B4-BE49-F238E27FC236}">
                <a16:creationId xmlns:a16="http://schemas.microsoft.com/office/drawing/2014/main" id="{1A559B9B-9DDC-52F7-D7FA-E366CC21568B}"/>
              </a:ext>
            </a:extLst>
          </p:cNvPr>
          <p:cNvSpPr/>
          <p:nvPr/>
        </p:nvSpPr>
        <p:spPr bwMode="gray">
          <a:xfrm>
            <a:off x="427537" y="1663155"/>
            <a:ext cx="5448330"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1. Enfoques de desarrollo ágil de software</a:t>
            </a:r>
          </a:p>
        </p:txBody>
      </p:sp>
      <p:sp>
        <p:nvSpPr>
          <p:cNvPr id="17" name="Rectangle: Rounded Corners 16">
            <a:extLst>
              <a:ext uri="{FF2B5EF4-FFF2-40B4-BE49-F238E27FC236}">
                <a16:creationId xmlns:a16="http://schemas.microsoft.com/office/drawing/2014/main" id="{E1A5A932-9816-F126-F2CD-43FCF2E86D45}"/>
              </a:ext>
            </a:extLst>
          </p:cNvPr>
          <p:cNvSpPr/>
          <p:nvPr/>
        </p:nvSpPr>
        <p:spPr bwMode="gray">
          <a:xfrm>
            <a:off x="460375" y="3834072"/>
            <a:ext cx="3121025" cy="1264949"/>
          </a:xfrm>
          <a:prstGeom prst="roundRect">
            <a:avLst/>
          </a:prstGeom>
          <a:solidFill>
            <a:schemeClr val="bg1"/>
          </a:solidFill>
          <a:ln w="254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8" name="Rectangle: Rounded Corners 17">
            <a:extLst>
              <a:ext uri="{FF2B5EF4-FFF2-40B4-BE49-F238E27FC236}">
                <a16:creationId xmlns:a16="http://schemas.microsoft.com/office/drawing/2014/main" id="{0E4EEE9A-6105-BC1B-8B4A-D9BD9B3F5C30}"/>
              </a:ext>
            </a:extLst>
          </p:cNvPr>
          <p:cNvSpPr/>
          <p:nvPr/>
        </p:nvSpPr>
        <p:spPr bwMode="gray">
          <a:xfrm>
            <a:off x="1096356" y="3640462"/>
            <a:ext cx="1849061" cy="387220"/>
          </a:xfrm>
          <a:prstGeom prst="roundRect">
            <a:avLst>
              <a:gd name="adj" fmla="val 50000"/>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Scrum Master</a:t>
            </a:r>
          </a:p>
        </p:txBody>
      </p:sp>
      <p:sp>
        <p:nvSpPr>
          <p:cNvPr id="19" name="TextBox 18">
            <a:extLst>
              <a:ext uri="{FF2B5EF4-FFF2-40B4-BE49-F238E27FC236}">
                <a16:creationId xmlns:a16="http://schemas.microsoft.com/office/drawing/2014/main" id="{47F1E3E1-9A87-451D-41BF-B4F342ABB57D}"/>
              </a:ext>
            </a:extLst>
          </p:cNvPr>
          <p:cNvSpPr txBox="1"/>
          <p:nvPr/>
        </p:nvSpPr>
        <p:spPr>
          <a:xfrm>
            <a:off x="633776" y="4181673"/>
            <a:ext cx="2829091" cy="763542"/>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Se asegura que las prácticas y reglas de Scrum se cumplan.</a:t>
            </a:r>
            <a:endParaRPr lang="es-ES" sz="1400">
              <a:latin typeface="+mj-lt"/>
              <a:ea typeface="Calibri" panose="020F0502020204030204" pitchFamily="34" charset="0"/>
              <a:cs typeface="Times New Roman" panose="02020603050405020304" pitchFamily="18" charset="0"/>
            </a:endParaRPr>
          </a:p>
        </p:txBody>
      </p:sp>
      <p:sp>
        <p:nvSpPr>
          <p:cNvPr id="20" name="Rectangle: Rounded Corners 19">
            <a:extLst>
              <a:ext uri="{FF2B5EF4-FFF2-40B4-BE49-F238E27FC236}">
                <a16:creationId xmlns:a16="http://schemas.microsoft.com/office/drawing/2014/main" id="{3F2FF0D8-66DE-8395-BABB-81B16E664068}"/>
              </a:ext>
            </a:extLst>
          </p:cNvPr>
          <p:cNvSpPr/>
          <p:nvPr/>
        </p:nvSpPr>
        <p:spPr bwMode="gray">
          <a:xfrm>
            <a:off x="3862851" y="3834072"/>
            <a:ext cx="3121025" cy="1264949"/>
          </a:xfrm>
          <a:prstGeom prst="roundRect">
            <a:avLst/>
          </a:prstGeom>
          <a:solidFill>
            <a:schemeClr val="bg1"/>
          </a:solidFill>
          <a:ln w="254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21" name="Rectangle: Rounded Corners 20">
            <a:extLst>
              <a:ext uri="{FF2B5EF4-FFF2-40B4-BE49-F238E27FC236}">
                <a16:creationId xmlns:a16="http://schemas.microsoft.com/office/drawing/2014/main" id="{6F476C10-1F5C-2D84-9A82-3BB1B62D148D}"/>
              </a:ext>
            </a:extLst>
          </p:cNvPr>
          <p:cNvSpPr/>
          <p:nvPr/>
        </p:nvSpPr>
        <p:spPr bwMode="gray">
          <a:xfrm>
            <a:off x="4498832" y="3640462"/>
            <a:ext cx="1849061" cy="387220"/>
          </a:xfrm>
          <a:prstGeom prst="roundRect">
            <a:avLst>
              <a:gd name="adj" fmla="val 50000"/>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a:t>
            </a:r>
            <a:r>
              <a:rPr lang="es-ES" sz="1400" b="1" err="1">
                <a:solidFill>
                  <a:schemeClr val="bg1"/>
                </a:solidFill>
              </a:rPr>
              <a:t>roduct</a:t>
            </a:r>
            <a:r>
              <a:rPr lang="es-ES" sz="1400" b="1">
                <a:solidFill>
                  <a:schemeClr val="bg1"/>
                </a:solidFill>
              </a:rPr>
              <a:t> </a:t>
            </a:r>
            <a:r>
              <a:rPr lang="es-ES" sz="1400" b="1" err="1">
                <a:solidFill>
                  <a:schemeClr val="bg1"/>
                </a:solidFill>
              </a:rPr>
              <a:t>Owner</a:t>
            </a:r>
            <a:endParaRPr lang="es-ES" sz="1400" b="1">
              <a:solidFill>
                <a:schemeClr val="bg1"/>
              </a:solidFill>
            </a:endParaRPr>
          </a:p>
        </p:txBody>
      </p:sp>
      <p:sp>
        <p:nvSpPr>
          <p:cNvPr id="22" name="TextBox 21">
            <a:extLst>
              <a:ext uri="{FF2B5EF4-FFF2-40B4-BE49-F238E27FC236}">
                <a16:creationId xmlns:a16="http://schemas.microsoft.com/office/drawing/2014/main" id="{A847F53F-8BF2-7DDB-8FDD-27E91B3339ED}"/>
              </a:ext>
            </a:extLst>
          </p:cNvPr>
          <p:cNvSpPr txBox="1"/>
          <p:nvPr/>
        </p:nvSpPr>
        <p:spPr>
          <a:xfrm>
            <a:off x="4036252" y="4181673"/>
            <a:ext cx="2829091" cy="763542"/>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Representa al cliente y prioriza la lista de trabajo acumulado.</a:t>
            </a:r>
            <a:endParaRPr lang="es-ES" sz="1400">
              <a:latin typeface="+mj-lt"/>
              <a:ea typeface="Calibri" panose="020F0502020204030204" pitchFamily="34" charset="0"/>
              <a:cs typeface="Times New Roman" panose="02020603050405020304" pitchFamily="18" charset="0"/>
            </a:endParaRPr>
          </a:p>
        </p:txBody>
      </p:sp>
      <p:sp>
        <p:nvSpPr>
          <p:cNvPr id="23" name="Rectangle: Rounded Corners 22">
            <a:extLst>
              <a:ext uri="{FF2B5EF4-FFF2-40B4-BE49-F238E27FC236}">
                <a16:creationId xmlns:a16="http://schemas.microsoft.com/office/drawing/2014/main" id="{E9E26873-FA8F-CB89-E960-5B0273F8804E}"/>
              </a:ext>
            </a:extLst>
          </p:cNvPr>
          <p:cNvSpPr/>
          <p:nvPr/>
        </p:nvSpPr>
        <p:spPr bwMode="gray">
          <a:xfrm>
            <a:off x="7265325" y="3830384"/>
            <a:ext cx="4096942" cy="1264949"/>
          </a:xfrm>
          <a:prstGeom prst="roundRect">
            <a:avLst/>
          </a:prstGeom>
          <a:solidFill>
            <a:schemeClr val="bg1"/>
          </a:solidFill>
          <a:ln w="2540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24" name="Rectangle: Rounded Corners 23">
            <a:extLst>
              <a:ext uri="{FF2B5EF4-FFF2-40B4-BE49-F238E27FC236}">
                <a16:creationId xmlns:a16="http://schemas.microsoft.com/office/drawing/2014/main" id="{685B6FB3-47D7-8B90-3039-3703D4AFB406}"/>
              </a:ext>
            </a:extLst>
          </p:cNvPr>
          <p:cNvSpPr/>
          <p:nvPr/>
        </p:nvSpPr>
        <p:spPr bwMode="gray">
          <a:xfrm>
            <a:off x="8103803" y="3636774"/>
            <a:ext cx="2512694" cy="387220"/>
          </a:xfrm>
          <a:prstGeom prst="roundRect">
            <a:avLst>
              <a:gd name="adj" fmla="val 50000"/>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Equipo de desarrollo</a:t>
            </a:r>
            <a:endParaRPr lang="es-ES" sz="1400" b="1">
              <a:solidFill>
                <a:schemeClr val="bg1"/>
              </a:solidFill>
            </a:endParaRPr>
          </a:p>
        </p:txBody>
      </p:sp>
      <p:sp>
        <p:nvSpPr>
          <p:cNvPr id="25" name="TextBox 24">
            <a:extLst>
              <a:ext uri="{FF2B5EF4-FFF2-40B4-BE49-F238E27FC236}">
                <a16:creationId xmlns:a16="http://schemas.microsoft.com/office/drawing/2014/main" id="{6F377743-49A1-F9A7-F83D-D4A905717ADE}"/>
              </a:ext>
            </a:extLst>
          </p:cNvPr>
          <p:cNvSpPr txBox="1"/>
          <p:nvPr/>
        </p:nvSpPr>
        <p:spPr>
          <a:xfrm>
            <a:off x="7438726" y="4177985"/>
            <a:ext cx="3711874" cy="763542"/>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Se encarga de desarrollar y probar el producto. Las decisiones las toma el equipo al completo.</a:t>
            </a:r>
            <a:endParaRPr lang="es-ES" sz="1400">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976885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4" name="TextBox 3">
            <a:extLst>
              <a:ext uri="{FF2B5EF4-FFF2-40B4-BE49-F238E27FC236}">
                <a16:creationId xmlns:a16="http://schemas.microsoft.com/office/drawing/2014/main" id="{D77E1D12-11CF-3CF9-406B-4A4893650F06}"/>
              </a:ext>
            </a:extLst>
          </p:cNvPr>
          <p:cNvSpPr txBox="1"/>
          <p:nvPr/>
        </p:nvSpPr>
        <p:spPr>
          <a:xfrm>
            <a:off x="399892" y="2267388"/>
            <a:ext cx="4053575" cy="246221"/>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Ø"/>
            </a:pPr>
            <a:r>
              <a:rPr lang="es-ES" sz="1600" b="1">
                <a:effectLst/>
                <a:latin typeface="+mj-lt"/>
                <a:ea typeface="Calibri" panose="020F0502020204030204" pitchFamily="34" charset="0"/>
                <a:cs typeface="Times New Roman" panose="02020603050405020304" pitchFamily="18" charset="0"/>
              </a:rPr>
              <a:t>Kanban</a:t>
            </a:r>
            <a:endParaRPr lang="es-ES_tradnl" sz="1200" b="1">
              <a:latin typeface="+mj-lt"/>
              <a:sym typeface="Wingdings" panose="05000000000000000000" pitchFamily="2" charset="2"/>
            </a:endParaRPr>
          </a:p>
        </p:txBody>
      </p:sp>
      <p:sp>
        <p:nvSpPr>
          <p:cNvPr id="5" name="TextBox 4">
            <a:extLst>
              <a:ext uri="{FF2B5EF4-FFF2-40B4-BE49-F238E27FC236}">
                <a16:creationId xmlns:a16="http://schemas.microsoft.com/office/drawing/2014/main" id="{7A0A1D92-F5D9-CC0A-A7E4-54B7EC98DBEC}"/>
              </a:ext>
            </a:extLst>
          </p:cNvPr>
          <p:cNvSpPr txBox="1"/>
          <p:nvPr/>
        </p:nvSpPr>
        <p:spPr>
          <a:xfrm>
            <a:off x="937399" y="2694159"/>
            <a:ext cx="10213201" cy="635623"/>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Enfoque cuyo objetivo es </a:t>
            </a:r>
            <a:r>
              <a:rPr lang="es-ES" sz="1400" b="1">
                <a:effectLst/>
                <a:latin typeface="+mj-lt"/>
                <a:ea typeface="Calibri" panose="020F0502020204030204" pitchFamily="34" charset="0"/>
                <a:cs typeface="Times New Roman" panose="02020603050405020304" pitchFamily="18" charset="0"/>
              </a:rPr>
              <a:t>visualizar y optimizar el flujo de trabajo </a:t>
            </a:r>
            <a:r>
              <a:rPr lang="es-ES" sz="1400">
                <a:effectLst/>
                <a:latin typeface="+mj-lt"/>
                <a:ea typeface="Calibri" panose="020F0502020204030204" pitchFamily="34" charset="0"/>
                <a:cs typeface="Times New Roman" panose="02020603050405020304" pitchFamily="18" charset="0"/>
              </a:rPr>
              <a:t>dentro de una cadena de valor añadido.</a:t>
            </a:r>
          </a:p>
          <a:p>
            <a:pPr>
              <a:lnSpc>
                <a:spcPct val="107000"/>
              </a:lnSpc>
              <a:spcAft>
                <a:spcPts val="800"/>
              </a:spcAft>
            </a:pPr>
            <a:r>
              <a:rPr lang="es-ES" sz="1400">
                <a:latin typeface="+mj-lt"/>
                <a:ea typeface="Calibri" panose="020F0502020204030204" pitchFamily="34" charset="0"/>
                <a:cs typeface="Times New Roman" panose="02020603050405020304" pitchFamily="18" charset="0"/>
              </a:rPr>
              <a:t>Se utilizan </a:t>
            </a:r>
            <a:r>
              <a:rPr lang="es-ES" sz="1400" b="1">
                <a:latin typeface="+mj-lt"/>
                <a:ea typeface="Calibri" panose="020F0502020204030204" pitchFamily="34" charset="0"/>
                <a:cs typeface="Times New Roman" panose="02020603050405020304" pitchFamily="18" charset="0"/>
              </a:rPr>
              <a:t>3 instrumentos:</a:t>
            </a:r>
            <a:endParaRPr lang="es-ES" sz="1400">
              <a:latin typeface="+mj-lt"/>
              <a:ea typeface="Calibri" panose="020F0502020204030204" pitchFamily="34" charset="0"/>
              <a:cs typeface="Times New Roman" panose="02020603050405020304" pitchFamily="18" charset="0"/>
            </a:endParaRPr>
          </a:p>
        </p:txBody>
      </p:sp>
      <p:sp>
        <p:nvSpPr>
          <p:cNvPr id="7" name="Rectangle: Rounded Corners 6">
            <a:extLst>
              <a:ext uri="{FF2B5EF4-FFF2-40B4-BE49-F238E27FC236}">
                <a16:creationId xmlns:a16="http://schemas.microsoft.com/office/drawing/2014/main" id="{1A559B9B-9DDC-52F7-D7FA-E366CC21568B}"/>
              </a:ext>
            </a:extLst>
          </p:cNvPr>
          <p:cNvSpPr/>
          <p:nvPr/>
        </p:nvSpPr>
        <p:spPr bwMode="gray">
          <a:xfrm>
            <a:off x="427537" y="1663155"/>
            <a:ext cx="5448330"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1. Enfoques de desarrollo ágil de software</a:t>
            </a:r>
          </a:p>
        </p:txBody>
      </p:sp>
      <p:sp>
        <p:nvSpPr>
          <p:cNvPr id="17" name="Rectangle: Rounded Corners 16">
            <a:extLst>
              <a:ext uri="{FF2B5EF4-FFF2-40B4-BE49-F238E27FC236}">
                <a16:creationId xmlns:a16="http://schemas.microsoft.com/office/drawing/2014/main" id="{E1A5A932-9816-F126-F2CD-43FCF2E86D45}"/>
              </a:ext>
            </a:extLst>
          </p:cNvPr>
          <p:cNvSpPr/>
          <p:nvPr/>
        </p:nvSpPr>
        <p:spPr bwMode="gray">
          <a:xfrm>
            <a:off x="460375" y="3634170"/>
            <a:ext cx="2787933" cy="630656"/>
          </a:xfrm>
          <a:prstGeom prst="roundRect">
            <a:avLst>
              <a:gd name="adj" fmla="val 50000"/>
            </a:avLst>
          </a:prstGeom>
          <a:solidFill>
            <a:srgbClr val="009A44"/>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600" b="1">
                <a:solidFill>
                  <a:schemeClr val="bg1"/>
                </a:solidFill>
              </a:rPr>
              <a:t>TABLERO KANBAN</a:t>
            </a:r>
            <a:endParaRPr lang="es-ES" sz="1600" b="1">
              <a:solidFill>
                <a:schemeClr val="bg1"/>
              </a:solidFill>
            </a:endParaRPr>
          </a:p>
        </p:txBody>
      </p:sp>
      <p:sp>
        <p:nvSpPr>
          <p:cNvPr id="8" name="Rectangle: Rounded Corners 7">
            <a:extLst>
              <a:ext uri="{FF2B5EF4-FFF2-40B4-BE49-F238E27FC236}">
                <a16:creationId xmlns:a16="http://schemas.microsoft.com/office/drawing/2014/main" id="{4FB0D1C3-F331-533A-1C00-02507C1A00C5}"/>
              </a:ext>
            </a:extLst>
          </p:cNvPr>
          <p:cNvSpPr/>
          <p:nvPr/>
        </p:nvSpPr>
        <p:spPr bwMode="gray">
          <a:xfrm>
            <a:off x="3862851" y="3389031"/>
            <a:ext cx="7601016" cy="1120935"/>
          </a:xfrm>
          <a:prstGeom prst="roundRect">
            <a:avLst/>
          </a:prstGeom>
          <a:solidFill>
            <a:schemeClr val="bg1"/>
          </a:solidFill>
          <a:ln w="25400" algn="ctr">
            <a:solidFill>
              <a:srgbClr val="009A44"/>
            </a:solidFill>
            <a:miter lim="800000"/>
            <a:headEnd/>
            <a:tailEnd/>
          </a:ln>
        </p:spPr>
        <p:txBody>
          <a:bodyPr wrap="square" lIns="88900" tIns="88900" rIns="88900" bIns="88900" rtlCol="0" anchor="ctr"/>
          <a:lstStyle/>
          <a:p>
            <a:pPr marL="285750" indent="-285750">
              <a:lnSpc>
                <a:spcPct val="106000"/>
              </a:lnSpc>
              <a:buFont typeface="Arial" panose="020B0604020202020204" pitchFamily="34" charset="0"/>
              <a:buChar char="•"/>
            </a:pPr>
            <a:r>
              <a:rPr lang="es-ES_tradnl" sz="1600"/>
              <a:t>Tablero con </a:t>
            </a:r>
            <a:r>
              <a:rPr lang="es-ES_tradnl" sz="1600" b="1"/>
              <a:t>columnas </a:t>
            </a:r>
            <a:r>
              <a:rPr lang="es-ES_tradnl" sz="1600"/>
              <a:t>que representan estados de las tareas.</a:t>
            </a:r>
          </a:p>
          <a:p>
            <a:pPr marL="285750" indent="-285750">
              <a:lnSpc>
                <a:spcPct val="106000"/>
              </a:lnSpc>
              <a:buFont typeface="Arial" panose="020B0604020202020204" pitchFamily="34" charset="0"/>
              <a:buChar char="•"/>
            </a:pPr>
            <a:r>
              <a:rPr lang="es-ES_tradnl" sz="1600"/>
              <a:t>Cada tarea se representa como un </a:t>
            </a:r>
            <a:r>
              <a:rPr lang="es-ES_tradnl" sz="1600" b="1"/>
              <a:t>ticket.</a:t>
            </a:r>
          </a:p>
          <a:p>
            <a:pPr marL="285750" indent="-285750">
              <a:lnSpc>
                <a:spcPct val="106000"/>
              </a:lnSpc>
              <a:buFont typeface="Arial" panose="020B0604020202020204" pitchFamily="34" charset="0"/>
              <a:buChar char="•"/>
            </a:pPr>
            <a:r>
              <a:rPr lang="es-ES_tradnl" sz="1600"/>
              <a:t>Los tickets se van moviendo de izquierda a derecha en el tablero.</a:t>
            </a:r>
            <a:endParaRPr lang="es-ES" sz="1600"/>
          </a:p>
        </p:txBody>
      </p:sp>
      <p:cxnSp>
        <p:nvCxnSpPr>
          <p:cNvPr id="10" name="Straight Arrow Connector 9">
            <a:extLst>
              <a:ext uri="{FF2B5EF4-FFF2-40B4-BE49-F238E27FC236}">
                <a16:creationId xmlns:a16="http://schemas.microsoft.com/office/drawing/2014/main" id="{8AD9D472-8E91-11A2-6A24-E48CD5CE3964}"/>
              </a:ext>
            </a:extLst>
          </p:cNvPr>
          <p:cNvCxnSpPr>
            <a:stCxn id="17" idx="3"/>
            <a:endCxn id="8" idx="1"/>
          </p:cNvCxnSpPr>
          <p:nvPr/>
        </p:nvCxnSpPr>
        <p:spPr>
          <a:xfrm>
            <a:off x="3248308" y="3949498"/>
            <a:ext cx="614543" cy="1"/>
          </a:xfrm>
          <a:prstGeom prst="straightConnector1">
            <a:avLst/>
          </a:prstGeom>
          <a:ln w="41275">
            <a:solidFill>
              <a:srgbClr val="009A44"/>
            </a:solidFill>
            <a:tailEnd type="oval"/>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C3FB2762-A143-6AFC-CAE6-FA1CEC574936}"/>
              </a:ext>
            </a:extLst>
          </p:cNvPr>
          <p:cNvSpPr/>
          <p:nvPr/>
        </p:nvSpPr>
        <p:spPr bwMode="gray">
          <a:xfrm>
            <a:off x="460375" y="4709916"/>
            <a:ext cx="2787933" cy="630656"/>
          </a:xfrm>
          <a:prstGeom prst="roundRect">
            <a:avLst>
              <a:gd name="adj" fmla="val 50000"/>
            </a:avLst>
          </a:prstGeom>
          <a:solidFill>
            <a:schemeClr val="accent2"/>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600" b="1">
                <a:solidFill>
                  <a:schemeClr val="bg1"/>
                </a:solidFill>
              </a:rPr>
              <a:t>Limitación del trabajo en curso</a:t>
            </a:r>
            <a:endParaRPr lang="es-ES" sz="1600" b="1">
              <a:solidFill>
                <a:schemeClr val="bg1"/>
              </a:solidFill>
            </a:endParaRPr>
          </a:p>
        </p:txBody>
      </p:sp>
      <p:sp>
        <p:nvSpPr>
          <p:cNvPr id="12" name="Rectangle: Rounded Corners 11">
            <a:extLst>
              <a:ext uri="{FF2B5EF4-FFF2-40B4-BE49-F238E27FC236}">
                <a16:creationId xmlns:a16="http://schemas.microsoft.com/office/drawing/2014/main" id="{FE283534-C48A-9C14-4416-CA4CF939C9E2}"/>
              </a:ext>
            </a:extLst>
          </p:cNvPr>
          <p:cNvSpPr/>
          <p:nvPr/>
        </p:nvSpPr>
        <p:spPr bwMode="gray">
          <a:xfrm>
            <a:off x="3862851" y="4812048"/>
            <a:ext cx="7601016" cy="425690"/>
          </a:xfrm>
          <a:prstGeom prst="roundRect">
            <a:avLst/>
          </a:prstGeom>
          <a:solidFill>
            <a:schemeClr val="bg1"/>
          </a:solidFill>
          <a:ln w="25400" algn="ctr">
            <a:solidFill>
              <a:schemeClr val="accent2"/>
            </a:solidFill>
            <a:miter lim="800000"/>
            <a:headEnd/>
            <a:tailEnd/>
          </a:ln>
        </p:spPr>
        <p:txBody>
          <a:bodyPr wrap="square" lIns="88900" tIns="88900" rIns="88900" bIns="88900" rtlCol="0" anchor="ctr"/>
          <a:lstStyle/>
          <a:p>
            <a:pPr marL="285750" indent="-285750">
              <a:lnSpc>
                <a:spcPct val="106000"/>
              </a:lnSpc>
              <a:buFont typeface="Arial" panose="020B0604020202020204" pitchFamily="34" charset="0"/>
              <a:buChar char="•"/>
            </a:pPr>
            <a:r>
              <a:rPr lang="es-ES_tradnl" sz="1600"/>
              <a:t>Hay un </a:t>
            </a:r>
            <a:r>
              <a:rPr lang="es-ES_tradnl" sz="1600" b="1"/>
              <a:t>número máximo </a:t>
            </a:r>
            <a:r>
              <a:rPr lang="es-ES_tradnl" sz="1600"/>
              <a:t>de tareas activas en paralelo.</a:t>
            </a:r>
            <a:endParaRPr lang="es-ES" sz="1600"/>
          </a:p>
        </p:txBody>
      </p:sp>
      <p:cxnSp>
        <p:nvCxnSpPr>
          <p:cNvPr id="13" name="Straight Arrow Connector 12">
            <a:extLst>
              <a:ext uri="{FF2B5EF4-FFF2-40B4-BE49-F238E27FC236}">
                <a16:creationId xmlns:a16="http://schemas.microsoft.com/office/drawing/2014/main" id="{6DBE0136-C95F-1DBA-DFD9-1A91C084AC60}"/>
              </a:ext>
            </a:extLst>
          </p:cNvPr>
          <p:cNvCxnSpPr>
            <a:cxnSpLocks/>
            <a:stCxn id="11" idx="3"/>
            <a:endCxn id="12" idx="1"/>
          </p:cNvCxnSpPr>
          <p:nvPr/>
        </p:nvCxnSpPr>
        <p:spPr>
          <a:xfrm flipV="1">
            <a:off x="3248308" y="5024893"/>
            <a:ext cx="614543" cy="351"/>
          </a:xfrm>
          <a:prstGeom prst="straightConnector1">
            <a:avLst/>
          </a:prstGeom>
          <a:ln w="41275">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591D89AE-1BB5-F85B-5E66-48D23D30E5E4}"/>
              </a:ext>
            </a:extLst>
          </p:cNvPr>
          <p:cNvSpPr/>
          <p:nvPr/>
        </p:nvSpPr>
        <p:spPr bwMode="gray">
          <a:xfrm>
            <a:off x="460375" y="5593245"/>
            <a:ext cx="2787933" cy="630656"/>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600" b="1">
                <a:solidFill>
                  <a:schemeClr val="bg1"/>
                </a:solidFill>
              </a:rPr>
              <a:t>Plazo de ejecución</a:t>
            </a:r>
            <a:endParaRPr lang="es-ES" sz="1600" b="1">
              <a:solidFill>
                <a:schemeClr val="bg1"/>
              </a:solidFill>
            </a:endParaRPr>
          </a:p>
        </p:txBody>
      </p:sp>
      <p:sp>
        <p:nvSpPr>
          <p:cNvPr id="27" name="Rectangle: Rounded Corners 26">
            <a:extLst>
              <a:ext uri="{FF2B5EF4-FFF2-40B4-BE49-F238E27FC236}">
                <a16:creationId xmlns:a16="http://schemas.microsoft.com/office/drawing/2014/main" id="{8F9009CE-E491-0A49-96BE-B4CF1294F1FE}"/>
              </a:ext>
            </a:extLst>
          </p:cNvPr>
          <p:cNvSpPr/>
          <p:nvPr/>
        </p:nvSpPr>
        <p:spPr bwMode="gray">
          <a:xfrm>
            <a:off x="3862851" y="5695377"/>
            <a:ext cx="7601016" cy="425690"/>
          </a:xfrm>
          <a:prstGeom prst="roundRect">
            <a:avLst/>
          </a:prstGeom>
          <a:solidFill>
            <a:schemeClr val="bg1"/>
          </a:solidFill>
          <a:ln w="25400" algn="ctr">
            <a:solidFill>
              <a:srgbClr val="007680"/>
            </a:solidFill>
            <a:miter lim="800000"/>
            <a:headEnd/>
            <a:tailEnd/>
          </a:ln>
        </p:spPr>
        <p:txBody>
          <a:bodyPr wrap="square" lIns="88900" tIns="88900" rIns="88900" bIns="88900" rtlCol="0" anchor="ctr"/>
          <a:lstStyle/>
          <a:p>
            <a:pPr marL="285750" indent="-285750">
              <a:lnSpc>
                <a:spcPct val="106000"/>
              </a:lnSpc>
              <a:buFont typeface="Arial" panose="020B0604020202020204" pitchFamily="34" charset="0"/>
              <a:buChar char="•"/>
            </a:pPr>
            <a:r>
              <a:rPr lang="es-ES_tradnl" sz="1600"/>
              <a:t>Se optimiza el flujo de tareas </a:t>
            </a:r>
            <a:r>
              <a:rPr lang="es-ES_tradnl" sz="1600" b="1"/>
              <a:t>minimizando el plazo de ejecución.</a:t>
            </a:r>
            <a:endParaRPr lang="es-ES" sz="1600" b="1"/>
          </a:p>
        </p:txBody>
      </p:sp>
      <p:cxnSp>
        <p:nvCxnSpPr>
          <p:cNvPr id="29" name="Straight Arrow Connector 28">
            <a:extLst>
              <a:ext uri="{FF2B5EF4-FFF2-40B4-BE49-F238E27FC236}">
                <a16:creationId xmlns:a16="http://schemas.microsoft.com/office/drawing/2014/main" id="{3129FF84-CA26-814B-0D1E-8564BEB2903F}"/>
              </a:ext>
            </a:extLst>
          </p:cNvPr>
          <p:cNvCxnSpPr>
            <a:cxnSpLocks/>
            <a:stCxn id="26" idx="3"/>
            <a:endCxn id="27" idx="1"/>
          </p:cNvCxnSpPr>
          <p:nvPr/>
        </p:nvCxnSpPr>
        <p:spPr>
          <a:xfrm flipV="1">
            <a:off x="3248308" y="5908222"/>
            <a:ext cx="614543" cy="351"/>
          </a:xfrm>
          <a:prstGeom prst="straightConnector1">
            <a:avLst/>
          </a:prstGeom>
          <a:ln w="41275">
            <a:solidFill>
              <a:srgbClr val="007680"/>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9065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4" name="TextBox 3">
            <a:extLst>
              <a:ext uri="{FF2B5EF4-FFF2-40B4-BE49-F238E27FC236}">
                <a16:creationId xmlns:a16="http://schemas.microsoft.com/office/drawing/2014/main" id="{D77E1D12-11CF-3CF9-406B-4A4893650F06}"/>
              </a:ext>
            </a:extLst>
          </p:cNvPr>
          <p:cNvSpPr txBox="1"/>
          <p:nvPr/>
        </p:nvSpPr>
        <p:spPr>
          <a:xfrm>
            <a:off x="399892" y="2267388"/>
            <a:ext cx="4053575" cy="246221"/>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Ø"/>
            </a:pPr>
            <a:r>
              <a:rPr lang="es-ES" sz="1600" b="1">
                <a:effectLst/>
                <a:latin typeface="+mj-lt"/>
                <a:ea typeface="Calibri" panose="020F0502020204030204" pitchFamily="34" charset="0"/>
                <a:cs typeface="Times New Roman" panose="02020603050405020304" pitchFamily="18" charset="0"/>
              </a:rPr>
              <a:t>Scrum VS Kanban</a:t>
            </a:r>
            <a:endParaRPr lang="es-ES_tradnl" sz="1200" b="1">
              <a:latin typeface="+mj-lt"/>
              <a:sym typeface="Wingdings" panose="05000000000000000000" pitchFamily="2" charset="2"/>
            </a:endParaRPr>
          </a:p>
        </p:txBody>
      </p:sp>
      <p:sp>
        <p:nvSpPr>
          <p:cNvPr id="7" name="Rectangle: Rounded Corners 6">
            <a:extLst>
              <a:ext uri="{FF2B5EF4-FFF2-40B4-BE49-F238E27FC236}">
                <a16:creationId xmlns:a16="http://schemas.microsoft.com/office/drawing/2014/main" id="{1A559B9B-9DDC-52F7-D7FA-E366CC21568B}"/>
              </a:ext>
            </a:extLst>
          </p:cNvPr>
          <p:cNvSpPr/>
          <p:nvPr/>
        </p:nvSpPr>
        <p:spPr bwMode="gray">
          <a:xfrm>
            <a:off x="427537" y="1663155"/>
            <a:ext cx="5448330"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1. Enfoques de desarrollo ágil de software</a:t>
            </a:r>
          </a:p>
        </p:txBody>
      </p:sp>
      <p:graphicFrame>
        <p:nvGraphicFramePr>
          <p:cNvPr id="3" name="Table 2">
            <a:extLst>
              <a:ext uri="{FF2B5EF4-FFF2-40B4-BE49-F238E27FC236}">
                <a16:creationId xmlns:a16="http://schemas.microsoft.com/office/drawing/2014/main" id="{3352C7ED-7ED3-5C59-5DE7-3CC474CC9FD4}"/>
              </a:ext>
            </a:extLst>
          </p:cNvPr>
          <p:cNvGraphicFramePr>
            <a:graphicFrameLocks noGrp="1"/>
          </p:cNvGraphicFramePr>
          <p:nvPr>
            <p:extLst>
              <p:ext uri="{D42A27DB-BD31-4B8C-83A1-F6EECF244321}">
                <p14:modId xmlns:p14="http://schemas.microsoft.com/office/powerpoint/2010/main" val="1263682561"/>
              </p:ext>
            </p:extLst>
          </p:nvPr>
        </p:nvGraphicFramePr>
        <p:xfrm>
          <a:off x="1171031" y="2585792"/>
          <a:ext cx="9008520" cy="3517200"/>
        </p:xfrm>
        <a:graphic>
          <a:graphicData uri="http://schemas.openxmlformats.org/drawingml/2006/table">
            <a:tbl>
              <a:tblPr firstRow="1" bandRow="1">
                <a:tableStyleId>{2D5ABB26-0587-4C30-8999-92F81FD0307C}</a:tableStyleId>
              </a:tblPr>
              <a:tblGrid>
                <a:gridCol w="4040155">
                  <a:extLst>
                    <a:ext uri="{9D8B030D-6E8A-4147-A177-3AD203B41FA5}">
                      <a16:colId xmlns:a16="http://schemas.microsoft.com/office/drawing/2014/main" val="151007859"/>
                    </a:ext>
                  </a:extLst>
                </a:gridCol>
                <a:gridCol w="2677886">
                  <a:extLst>
                    <a:ext uri="{9D8B030D-6E8A-4147-A177-3AD203B41FA5}">
                      <a16:colId xmlns:a16="http://schemas.microsoft.com/office/drawing/2014/main" val="2981066323"/>
                    </a:ext>
                  </a:extLst>
                </a:gridCol>
                <a:gridCol w="2290479">
                  <a:extLst>
                    <a:ext uri="{9D8B030D-6E8A-4147-A177-3AD203B41FA5}">
                      <a16:colId xmlns:a16="http://schemas.microsoft.com/office/drawing/2014/main" val="532343730"/>
                    </a:ext>
                  </a:extLst>
                </a:gridCol>
              </a:tblGrid>
              <a:tr h="370840">
                <a:tc>
                  <a:txBody>
                    <a:bodyPr/>
                    <a:lstStyle/>
                    <a:p>
                      <a:endParaRPr lang="es-ES"/>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s-ES_tradnl" sz="1800" b="1">
                          <a:solidFill>
                            <a:schemeClr val="bg1"/>
                          </a:solidFill>
                        </a:rPr>
                        <a:t>Scrum</a:t>
                      </a:r>
                      <a:endParaRPr lang="es-ES" sz="18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s-ES_tradnl" sz="1800" b="1">
                          <a:solidFill>
                            <a:schemeClr val="bg1"/>
                          </a:solidFill>
                        </a:rPr>
                        <a:t>Kanban</a:t>
                      </a:r>
                      <a:endParaRPr lang="es-ES" sz="18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631255789"/>
                  </a:ext>
                </a:extLst>
              </a:tr>
              <a:tr h="720000">
                <a:tc>
                  <a:txBody>
                    <a:bodyPr/>
                    <a:lstStyle/>
                    <a:p>
                      <a:pPr algn="ctr"/>
                      <a:r>
                        <a:rPr lang="es-ES_tradnl" sz="1600" b="0"/>
                        <a:t>Visualizar tareas activas en un tablero</a:t>
                      </a:r>
                      <a:endParaRPr lang="es-ES" sz="16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ES_tradnl" sz="1800" b="1">
                          <a:solidFill>
                            <a:srgbClr val="009A44"/>
                          </a:solidFill>
                        </a:rPr>
                        <a:t>SÍ</a:t>
                      </a:r>
                      <a:endParaRPr lang="es-ES" sz="1800" b="1">
                        <a:solidFill>
                          <a:srgbClr val="009A44"/>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_tradnl" sz="1800" b="1">
                          <a:solidFill>
                            <a:srgbClr val="009A44"/>
                          </a:solidFill>
                        </a:rPr>
                        <a:t>SÍ</a:t>
                      </a: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0722063"/>
                  </a:ext>
                </a:extLst>
              </a:tr>
              <a:tr h="540000">
                <a:tc>
                  <a:txBody>
                    <a:bodyPr/>
                    <a:lstStyle/>
                    <a:p>
                      <a:pPr algn="ctr"/>
                      <a:r>
                        <a:rPr lang="es-ES_tradnl" sz="1600" b="0"/>
                        <a:t>Lista de trabajo acumulado</a:t>
                      </a:r>
                      <a:endParaRPr lang="es-ES" sz="16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ES_tradnl" sz="1800" b="1">
                          <a:solidFill>
                            <a:srgbClr val="009A44"/>
                          </a:solidFill>
                        </a:rPr>
                        <a:t>SÍ</a:t>
                      </a: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_tradnl" sz="1800" b="1">
                          <a:solidFill>
                            <a:srgbClr val="009A44"/>
                          </a:solidFill>
                        </a:rPr>
                        <a:t>SÍ</a:t>
                      </a: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8740816"/>
                  </a:ext>
                </a:extLst>
              </a:tr>
              <a:tr h="540000">
                <a:tc>
                  <a:txBody>
                    <a:bodyPr/>
                    <a:lstStyle/>
                    <a:p>
                      <a:pPr algn="ctr"/>
                      <a:r>
                        <a:rPr lang="es-ES_tradnl" sz="1600" b="0"/>
                        <a:t>Iteraciones o </a:t>
                      </a:r>
                      <a:r>
                        <a:rPr lang="es-ES_tradnl" sz="1600" b="0" err="1"/>
                        <a:t>Sprints</a:t>
                      </a:r>
                      <a:endParaRPr lang="es-ES" sz="16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ES_tradnl" sz="1800" b="1">
                          <a:solidFill>
                            <a:srgbClr val="009A44"/>
                          </a:solidFill>
                        </a:rPr>
                        <a:t>SÍ</a:t>
                      </a: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_tradnl" sz="1800" b="1">
                          <a:solidFill>
                            <a:srgbClr val="FFCD00"/>
                          </a:solidFill>
                        </a:rPr>
                        <a:t>OPCIONAL</a:t>
                      </a:r>
                      <a:endParaRPr lang="es-ES" sz="1800" b="1">
                        <a:solidFill>
                          <a:srgbClr val="FFCD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0354206"/>
                  </a:ext>
                </a:extLst>
              </a:tr>
              <a:tr h="720000">
                <a:tc>
                  <a:txBody>
                    <a:bodyPr/>
                    <a:lstStyle/>
                    <a:p>
                      <a:pPr algn="ctr"/>
                      <a:r>
                        <a:rPr lang="es-ES_tradnl" sz="1600" b="0"/>
                        <a:t>Posibilidad de entregar elemento por elemento</a:t>
                      </a:r>
                      <a:endParaRPr lang="es-ES" sz="16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ES_tradnl" sz="1800" b="1">
                          <a:solidFill>
                            <a:srgbClr val="C00000"/>
                          </a:solidFill>
                        </a:rPr>
                        <a:t>NO</a:t>
                      </a:r>
                      <a:endParaRPr lang="es-ES" sz="1800" b="1">
                        <a:solidFill>
                          <a:srgbClr val="C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_tradnl" sz="1800" b="1">
                          <a:solidFill>
                            <a:srgbClr val="009A44"/>
                          </a:solidFill>
                        </a:rPr>
                        <a:t>SÍ</a:t>
                      </a: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7729618"/>
                  </a:ext>
                </a:extLst>
              </a:tr>
              <a:tr h="540000">
                <a:tc>
                  <a:txBody>
                    <a:bodyPr/>
                    <a:lstStyle/>
                    <a:p>
                      <a:pPr algn="ctr"/>
                      <a:r>
                        <a:rPr lang="es-ES_tradnl" sz="1600" b="0"/>
                        <a:t>Acotamiento de tiempo</a:t>
                      </a:r>
                      <a:endParaRPr lang="es-ES" sz="16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ES_tradnl" sz="1800" b="1">
                          <a:solidFill>
                            <a:srgbClr val="009A44"/>
                          </a:solidFill>
                        </a:rPr>
                        <a:t>SÍ</a:t>
                      </a:r>
                      <a:endParaRPr lang="es-ES" sz="1800" b="1">
                        <a:solidFill>
                          <a:srgbClr val="C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_tradnl" sz="1800" b="1">
                          <a:solidFill>
                            <a:srgbClr val="FFCD00"/>
                          </a:solidFill>
                        </a:rPr>
                        <a:t>OPCIONAL</a:t>
                      </a: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03937489"/>
                  </a:ext>
                </a:extLst>
              </a:tr>
            </a:tbl>
          </a:graphicData>
        </a:graphic>
      </p:graphicFrame>
    </p:spTree>
    <p:extLst>
      <p:ext uri="{BB962C8B-B14F-4D97-AF65-F5344CB8AC3E}">
        <p14:creationId xmlns:p14="http://schemas.microsoft.com/office/powerpoint/2010/main" val="19889135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13" name="TextBox 12">
            <a:extLst>
              <a:ext uri="{FF2B5EF4-FFF2-40B4-BE49-F238E27FC236}">
                <a16:creationId xmlns:a16="http://schemas.microsoft.com/office/drawing/2014/main" id="{62AFD390-8BC9-422E-9C8D-56452AE8D56A}"/>
              </a:ext>
            </a:extLst>
          </p:cNvPr>
          <p:cNvSpPr txBox="1"/>
          <p:nvPr/>
        </p:nvSpPr>
        <p:spPr>
          <a:xfrm>
            <a:off x="530225" y="2255288"/>
            <a:ext cx="11002412" cy="1301831"/>
          </a:xfrm>
          <a:prstGeom prst="rect">
            <a:avLst/>
          </a:prstGeom>
          <a:noFill/>
        </p:spPr>
        <p:txBody>
          <a:bodyPr wrap="square">
            <a:spAutoFit/>
          </a:bodyPr>
          <a:lstStyle/>
          <a:p>
            <a:pPr marL="285750" indent="-285750">
              <a:lnSpc>
                <a:spcPct val="107000"/>
              </a:lnSpc>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Las historias de usuario se escriben para </a:t>
            </a:r>
            <a:r>
              <a:rPr lang="es-ES" sz="1400" b="1">
                <a:effectLst/>
                <a:latin typeface="+mj-lt"/>
                <a:ea typeface="Calibri" panose="020F0502020204030204" pitchFamily="34" charset="0"/>
                <a:cs typeface="Times New Roman" panose="02020603050405020304" pitchFamily="18" charset="0"/>
              </a:rPr>
              <a:t>capturar los requisitos </a:t>
            </a:r>
            <a:r>
              <a:rPr lang="es-ES" sz="1400">
                <a:effectLst/>
                <a:latin typeface="+mj-lt"/>
                <a:ea typeface="Calibri" panose="020F0502020204030204" pitchFamily="34" charset="0"/>
                <a:cs typeface="Times New Roman" panose="02020603050405020304" pitchFamily="18" charset="0"/>
              </a:rPr>
              <a:t>desde la perspectiva de todo el equipo.</a:t>
            </a:r>
          </a:p>
          <a:p>
            <a:pPr marL="285750" indent="-285750">
              <a:lnSpc>
                <a:spcPct val="107000"/>
              </a:lnSpc>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D</a:t>
            </a:r>
            <a:r>
              <a:rPr lang="es-ES" sz="1400">
                <a:effectLst/>
                <a:latin typeface="+mj-lt"/>
                <a:ea typeface="Calibri" panose="020F0502020204030204" pitchFamily="34" charset="0"/>
                <a:cs typeface="Times New Roman" panose="02020603050405020304" pitchFamily="18" charset="0"/>
              </a:rPr>
              <a:t>eben abordar tanto las características </a:t>
            </a:r>
            <a:r>
              <a:rPr lang="es-ES" sz="1400" b="1">
                <a:effectLst/>
                <a:latin typeface="+mj-lt"/>
                <a:ea typeface="Calibri" panose="020F0502020204030204" pitchFamily="34" charset="0"/>
                <a:cs typeface="Times New Roman" panose="02020603050405020304" pitchFamily="18" charset="0"/>
              </a:rPr>
              <a:t>funcionales</a:t>
            </a:r>
            <a:r>
              <a:rPr lang="es-ES" sz="1400">
                <a:effectLst/>
                <a:latin typeface="+mj-lt"/>
                <a:ea typeface="Calibri" panose="020F0502020204030204" pitchFamily="34" charset="0"/>
                <a:cs typeface="Times New Roman" panose="02020603050405020304" pitchFamily="18" charset="0"/>
              </a:rPr>
              <a:t> como las </a:t>
            </a:r>
            <a:r>
              <a:rPr lang="es-ES" sz="1400" b="1">
                <a:effectLst/>
                <a:latin typeface="+mj-lt"/>
                <a:ea typeface="Calibri" panose="020F0502020204030204" pitchFamily="34" charset="0"/>
                <a:cs typeface="Times New Roman" panose="02020603050405020304" pitchFamily="18" charset="0"/>
              </a:rPr>
              <a:t>no funcionales.</a:t>
            </a:r>
          </a:p>
          <a:p>
            <a:pPr marL="285750" indent="-285750">
              <a:lnSpc>
                <a:spcPct val="107000"/>
              </a:lnSpc>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Cada historia incluye </a:t>
            </a:r>
            <a:r>
              <a:rPr lang="es-ES" sz="1400" b="1">
                <a:effectLst/>
                <a:latin typeface="+mj-lt"/>
                <a:ea typeface="Calibri" panose="020F0502020204030204" pitchFamily="34" charset="0"/>
                <a:cs typeface="Times New Roman" panose="02020603050405020304" pitchFamily="18" charset="0"/>
              </a:rPr>
              <a:t>criterios de aceptación</a:t>
            </a:r>
            <a:r>
              <a:rPr lang="es-ES" sz="1400">
                <a:effectLst/>
                <a:latin typeface="+mj-lt"/>
                <a:ea typeface="Calibri" panose="020F0502020204030204" pitchFamily="34" charset="0"/>
                <a:cs typeface="Times New Roman" panose="02020603050405020304" pitchFamily="18" charset="0"/>
              </a:rPr>
              <a:t> para estas características. </a:t>
            </a:r>
          </a:p>
          <a:p>
            <a:pPr marL="285750" indent="-285750">
              <a:lnSpc>
                <a:spcPct val="107000"/>
              </a:lnSpc>
              <a:spcAft>
                <a:spcPts val="800"/>
              </a:spcAft>
              <a:buFont typeface="Arial" panose="020B0604020202020204" pitchFamily="34" charset="0"/>
              <a:buChar char="•"/>
            </a:pPr>
            <a:r>
              <a:rPr lang="es-ES" sz="1400">
                <a:latin typeface="+mj-lt"/>
                <a:cs typeface="Times New Roman" panose="02020603050405020304" pitchFamily="18" charset="0"/>
              </a:rPr>
              <a:t>Un equipo ágil considera que una tarea está terminada cuando se han </a:t>
            </a:r>
            <a:r>
              <a:rPr lang="es-ES" sz="1400" b="1">
                <a:latin typeface="+mj-lt"/>
                <a:cs typeface="Times New Roman" panose="02020603050405020304" pitchFamily="18" charset="0"/>
              </a:rPr>
              <a:t>cumplido los criterios de aceptación.</a:t>
            </a:r>
          </a:p>
        </p:txBody>
      </p:sp>
      <p:sp>
        <p:nvSpPr>
          <p:cNvPr id="12" name="TextBox 11">
            <a:extLst>
              <a:ext uri="{FF2B5EF4-FFF2-40B4-BE49-F238E27FC236}">
                <a16:creationId xmlns:a16="http://schemas.microsoft.com/office/drawing/2014/main" id="{01E8C74A-8B63-43E3-A570-64D1CB5E96C1}"/>
              </a:ext>
            </a:extLst>
          </p:cNvPr>
          <p:cNvSpPr txBox="1"/>
          <p:nvPr/>
        </p:nvSpPr>
        <p:spPr>
          <a:xfrm>
            <a:off x="849840" y="4698356"/>
            <a:ext cx="2587556" cy="584775"/>
          </a:xfrm>
          <a:prstGeom prst="rect">
            <a:avLst/>
          </a:prstGeom>
          <a:noFill/>
        </p:spPr>
        <p:txBody>
          <a:bodyPr wrap="square">
            <a:spAutoFit/>
          </a:bodyPr>
          <a:lstStyle/>
          <a:p>
            <a:r>
              <a:rPr lang="es-ES" sz="1600">
                <a:latin typeface="Calibri" panose="020F0502020204030204" pitchFamily="34" charset="0"/>
                <a:cs typeface="Times New Roman" panose="02020603050405020304" pitchFamily="18" charset="0"/>
              </a:rPr>
              <a:t>Una historia de usuario es la conjunción de </a:t>
            </a:r>
            <a:r>
              <a:rPr lang="es-ES" sz="1600" b="1">
                <a:latin typeface="Calibri" panose="020F0502020204030204" pitchFamily="34" charset="0"/>
                <a:cs typeface="Times New Roman" panose="02020603050405020304" pitchFamily="18" charset="0"/>
              </a:rPr>
              <a:t>3 elementos</a:t>
            </a:r>
          </a:p>
        </p:txBody>
      </p:sp>
      <p:sp>
        <p:nvSpPr>
          <p:cNvPr id="14" name="Left Brace 13">
            <a:extLst>
              <a:ext uri="{FF2B5EF4-FFF2-40B4-BE49-F238E27FC236}">
                <a16:creationId xmlns:a16="http://schemas.microsoft.com/office/drawing/2014/main" id="{A4067FFE-AD14-490B-B1DC-8F62BBA60813}"/>
              </a:ext>
            </a:extLst>
          </p:cNvPr>
          <p:cNvSpPr/>
          <p:nvPr/>
        </p:nvSpPr>
        <p:spPr>
          <a:xfrm>
            <a:off x="4496124" y="3823218"/>
            <a:ext cx="615050" cy="2335255"/>
          </a:xfrm>
          <a:prstGeom prst="leftBrace">
            <a:avLst>
              <a:gd name="adj1" fmla="val 8333"/>
              <a:gd name="adj2" fmla="val 49612"/>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6" name="TextBox 15">
            <a:extLst>
              <a:ext uri="{FF2B5EF4-FFF2-40B4-BE49-F238E27FC236}">
                <a16:creationId xmlns:a16="http://schemas.microsoft.com/office/drawing/2014/main" id="{39265F8F-DD7F-4957-B824-0C5058432228}"/>
              </a:ext>
            </a:extLst>
          </p:cNvPr>
          <p:cNvSpPr txBox="1"/>
          <p:nvPr/>
        </p:nvSpPr>
        <p:spPr>
          <a:xfrm>
            <a:off x="4947181" y="4002296"/>
            <a:ext cx="6233806" cy="584775"/>
          </a:xfrm>
          <a:prstGeom prst="rect">
            <a:avLst/>
          </a:prstGeom>
          <a:noFill/>
        </p:spPr>
        <p:txBody>
          <a:bodyPr wrap="square">
            <a:spAutoFit/>
          </a:bodyPr>
          <a:lstStyle/>
          <a:p>
            <a:pPr marL="285750" indent="-285750">
              <a:buFont typeface="Wingdings" panose="05000000000000000000" pitchFamily="2" charset="2"/>
              <a:buChar char="Ø"/>
            </a:pPr>
            <a:r>
              <a:rPr lang="es-ES" sz="1600" b="1">
                <a:latin typeface="Calibri" panose="020F0502020204030204" pitchFamily="34" charset="0"/>
                <a:cs typeface="Times New Roman" panose="02020603050405020304" pitchFamily="18" charset="0"/>
              </a:rPr>
              <a:t>Tarjeta: </a:t>
            </a:r>
            <a:r>
              <a:rPr lang="es-ES" sz="1600">
                <a:latin typeface="Calibri" panose="020F0502020204030204" pitchFamily="34" charset="0"/>
                <a:cs typeface="Times New Roman" panose="02020603050405020304" pitchFamily="18" charset="0"/>
              </a:rPr>
              <a:t>Soporte físico que describe una historia de usuario. La descripción debe ser precisa.</a:t>
            </a:r>
          </a:p>
        </p:txBody>
      </p:sp>
      <p:sp>
        <p:nvSpPr>
          <p:cNvPr id="17" name="TextBox 16">
            <a:extLst>
              <a:ext uri="{FF2B5EF4-FFF2-40B4-BE49-F238E27FC236}">
                <a16:creationId xmlns:a16="http://schemas.microsoft.com/office/drawing/2014/main" id="{EC8B70A1-9CF4-4819-AA85-11C12D11247E}"/>
              </a:ext>
            </a:extLst>
          </p:cNvPr>
          <p:cNvSpPr txBox="1"/>
          <p:nvPr/>
        </p:nvSpPr>
        <p:spPr>
          <a:xfrm>
            <a:off x="4948627" y="4795992"/>
            <a:ext cx="6303571" cy="584775"/>
          </a:xfrm>
          <a:prstGeom prst="rect">
            <a:avLst/>
          </a:prstGeom>
          <a:noFill/>
        </p:spPr>
        <p:txBody>
          <a:bodyPr wrap="square">
            <a:spAutoFit/>
          </a:bodyPr>
          <a:lstStyle/>
          <a:p>
            <a:pPr marL="285750" indent="-285750">
              <a:buFont typeface="Wingdings" panose="05000000000000000000" pitchFamily="2" charset="2"/>
              <a:buChar char="Ø"/>
            </a:pPr>
            <a:r>
              <a:rPr lang="es-ES" sz="1600" b="1">
                <a:latin typeface="Calibri" panose="020F0502020204030204" pitchFamily="34" charset="0"/>
                <a:cs typeface="Times New Roman" panose="02020603050405020304" pitchFamily="18" charset="0"/>
              </a:rPr>
              <a:t>Conversación: </a:t>
            </a:r>
            <a:r>
              <a:rPr lang="es-ES" sz="1600">
                <a:latin typeface="Calibri" panose="020F0502020204030204" pitchFamily="34" charset="0"/>
                <a:cs typeface="Times New Roman" panose="02020603050405020304" pitchFamily="18" charset="0"/>
              </a:rPr>
              <a:t>La conversación explica cómo se utilizará el software. La conversación puede estar documentada o ser verbal.</a:t>
            </a:r>
          </a:p>
        </p:txBody>
      </p:sp>
      <p:sp>
        <p:nvSpPr>
          <p:cNvPr id="19" name="TextBox 18">
            <a:extLst>
              <a:ext uri="{FF2B5EF4-FFF2-40B4-BE49-F238E27FC236}">
                <a16:creationId xmlns:a16="http://schemas.microsoft.com/office/drawing/2014/main" id="{1E49B4B3-AFBD-4975-8D22-2C6D5D154BCE}"/>
              </a:ext>
            </a:extLst>
          </p:cNvPr>
          <p:cNvSpPr txBox="1"/>
          <p:nvPr/>
        </p:nvSpPr>
        <p:spPr>
          <a:xfrm>
            <a:off x="4948627" y="5513385"/>
            <a:ext cx="6094476" cy="584775"/>
          </a:xfrm>
          <a:prstGeom prst="rect">
            <a:avLst/>
          </a:prstGeom>
          <a:noFill/>
        </p:spPr>
        <p:txBody>
          <a:bodyPr wrap="square">
            <a:spAutoFit/>
          </a:bodyPr>
          <a:lstStyle/>
          <a:p>
            <a:pPr marL="285750" indent="-285750">
              <a:buFont typeface="Wingdings" panose="05000000000000000000" pitchFamily="2" charset="2"/>
              <a:buChar char="Ø"/>
            </a:pPr>
            <a:r>
              <a:rPr lang="es-ES" sz="1600" b="1">
                <a:latin typeface="Calibri" panose="020F0502020204030204" pitchFamily="34" charset="0"/>
                <a:cs typeface="Times New Roman" panose="02020603050405020304" pitchFamily="18" charset="0"/>
              </a:rPr>
              <a:t>Confirmación</a:t>
            </a:r>
            <a:r>
              <a:rPr lang="es-ES" sz="1600">
                <a:latin typeface="Calibri" panose="020F0502020204030204" pitchFamily="34" charset="0"/>
                <a:cs typeface="Times New Roman" panose="02020603050405020304" pitchFamily="18" charset="0"/>
              </a:rPr>
              <a:t>: Los criterios de aceptación, se utilizan para confirmar que la historia está hecha. </a:t>
            </a:r>
          </a:p>
        </p:txBody>
      </p:sp>
      <p:sp>
        <p:nvSpPr>
          <p:cNvPr id="4" name="Rectangle: Rounded Corners 3">
            <a:extLst>
              <a:ext uri="{FF2B5EF4-FFF2-40B4-BE49-F238E27FC236}">
                <a16:creationId xmlns:a16="http://schemas.microsoft.com/office/drawing/2014/main" id="{AC18F97E-1AF8-32AC-31FA-B8D1B539E12F}"/>
              </a:ext>
            </a:extLst>
          </p:cNvPr>
          <p:cNvSpPr/>
          <p:nvPr/>
        </p:nvSpPr>
        <p:spPr bwMode="gray">
          <a:xfrm>
            <a:off x="427536" y="1663155"/>
            <a:ext cx="5947863"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2. Creación colaborativa de Historias de Usuario</a:t>
            </a:r>
          </a:p>
        </p:txBody>
      </p:sp>
      <p:sp>
        <p:nvSpPr>
          <p:cNvPr id="5" name="Oval 4">
            <a:extLst>
              <a:ext uri="{FF2B5EF4-FFF2-40B4-BE49-F238E27FC236}">
                <a16:creationId xmlns:a16="http://schemas.microsoft.com/office/drawing/2014/main" id="{17D8A5A3-574F-4716-5726-EBC9BB396622}"/>
              </a:ext>
            </a:extLst>
          </p:cNvPr>
          <p:cNvSpPr/>
          <p:nvPr/>
        </p:nvSpPr>
        <p:spPr bwMode="gray">
          <a:xfrm>
            <a:off x="3478930" y="4576744"/>
            <a:ext cx="828000" cy="8280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3C</a:t>
            </a:r>
          </a:p>
        </p:txBody>
      </p:sp>
    </p:spTree>
    <p:extLst>
      <p:ext uri="{BB962C8B-B14F-4D97-AF65-F5344CB8AC3E}">
        <p14:creationId xmlns:p14="http://schemas.microsoft.com/office/powerpoint/2010/main" val="220134057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04883A86-8745-C285-7572-5CF3E8CF77AF}"/>
              </a:ext>
            </a:extLst>
          </p:cNvPr>
          <p:cNvSpPr/>
          <p:nvPr/>
        </p:nvSpPr>
        <p:spPr bwMode="gray">
          <a:xfrm>
            <a:off x="1942732" y="2488692"/>
            <a:ext cx="1994269" cy="424800"/>
          </a:xfrm>
          <a:prstGeom prst="roundRect">
            <a:avLst>
              <a:gd name="adj" fmla="val 50000"/>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t>Independiente</a:t>
            </a:r>
          </a:p>
        </p:txBody>
      </p:sp>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AC18F97E-1AF8-32AC-31FA-B8D1B539E12F}"/>
              </a:ext>
            </a:extLst>
          </p:cNvPr>
          <p:cNvSpPr/>
          <p:nvPr/>
        </p:nvSpPr>
        <p:spPr bwMode="gray">
          <a:xfrm>
            <a:off x="427536" y="1663155"/>
            <a:ext cx="5947863"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2. Creación colaborativa de Historias de Usuario</a:t>
            </a:r>
          </a:p>
        </p:txBody>
      </p:sp>
      <p:sp>
        <p:nvSpPr>
          <p:cNvPr id="3" name="Oval 2">
            <a:extLst>
              <a:ext uri="{FF2B5EF4-FFF2-40B4-BE49-F238E27FC236}">
                <a16:creationId xmlns:a16="http://schemas.microsoft.com/office/drawing/2014/main" id="{51EB72B8-C195-9056-A50D-A8762313E6FC}"/>
              </a:ext>
            </a:extLst>
          </p:cNvPr>
          <p:cNvSpPr/>
          <p:nvPr/>
        </p:nvSpPr>
        <p:spPr bwMode="gray">
          <a:xfrm>
            <a:off x="888133" y="2430998"/>
            <a:ext cx="540000" cy="5400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I</a:t>
            </a:r>
          </a:p>
        </p:txBody>
      </p:sp>
      <p:sp>
        <p:nvSpPr>
          <p:cNvPr id="7" name="Rectangle: Rounded Corners 6">
            <a:extLst>
              <a:ext uri="{FF2B5EF4-FFF2-40B4-BE49-F238E27FC236}">
                <a16:creationId xmlns:a16="http://schemas.microsoft.com/office/drawing/2014/main" id="{5DA62069-3196-A659-539F-92850F99749A}"/>
              </a:ext>
            </a:extLst>
          </p:cNvPr>
          <p:cNvSpPr/>
          <p:nvPr/>
        </p:nvSpPr>
        <p:spPr bwMode="gray">
          <a:xfrm>
            <a:off x="1944590" y="2487802"/>
            <a:ext cx="7614278" cy="425690"/>
          </a:xfrm>
          <a:prstGeom prst="roundRect">
            <a:avLst>
              <a:gd name="adj" fmla="val 50000"/>
            </a:avLst>
          </a:prstGeom>
          <a:noFill/>
          <a:ln w="25400" algn="ctr">
            <a:solidFill>
              <a:schemeClr val="accent2"/>
            </a:solidFill>
            <a:miter lim="800000"/>
            <a:headEnd/>
            <a:tailEnd/>
          </a:ln>
        </p:spPr>
        <p:txBody>
          <a:bodyPr wrap="square" lIns="88900" tIns="88900" rIns="88900" bIns="88900" rtlCol="0" anchor="ctr"/>
          <a:lstStyle/>
          <a:p>
            <a:pPr>
              <a:lnSpc>
                <a:spcPct val="106000"/>
              </a:lnSpc>
            </a:pPr>
            <a:endParaRPr lang="es-ES" sz="1400"/>
          </a:p>
        </p:txBody>
      </p:sp>
      <p:cxnSp>
        <p:nvCxnSpPr>
          <p:cNvPr id="8" name="Straight Arrow Connector 7">
            <a:extLst>
              <a:ext uri="{FF2B5EF4-FFF2-40B4-BE49-F238E27FC236}">
                <a16:creationId xmlns:a16="http://schemas.microsoft.com/office/drawing/2014/main" id="{2E6D187F-0154-3193-D3F7-157CC9D3314E}"/>
              </a:ext>
            </a:extLst>
          </p:cNvPr>
          <p:cNvCxnSpPr>
            <a:cxnSpLocks/>
            <a:stCxn id="3" idx="6"/>
            <a:endCxn id="7" idx="1"/>
          </p:cNvCxnSpPr>
          <p:nvPr/>
        </p:nvCxnSpPr>
        <p:spPr>
          <a:xfrm flipV="1">
            <a:off x="1428133" y="2700647"/>
            <a:ext cx="516457" cy="351"/>
          </a:xfrm>
          <a:prstGeom prst="straightConnector1">
            <a:avLst/>
          </a:prstGeom>
          <a:ln w="41275">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1C62144-A7C0-3168-5A4C-703AA47488D5}"/>
              </a:ext>
            </a:extLst>
          </p:cNvPr>
          <p:cNvSpPr txBox="1"/>
          <p:nvPr/>
        </p:nvSpPr>
        <p:spPr>
          <a:xfrm>
            <a:off x="4013202" y="2549387"/>
            <a:ext cx="5444066"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Debe poder desarrollarse sin depender de otras historias.</a:t>
            </a:r>
            <a:endParaRPr lang="es-ES" sz="1400">
              <a:latin typeface="+mj-lt"/>
              <a:ea typeface="Calibri" panose="020F0502020204030204" pitchFamily="34" charset="0"/>
              <a:cs typeface="Times New Roman" panose="02020603050405020304" pitchFamily="18" charset="0"/>
            </a:endParaRPr>
          </a:p>
        </p:txBody>
      </p:sp>
      <p:sp>
        <p:nvSpPr>
          <p:cNvPr id="24" name="Rectangle: Rounded Corners 23">
            <a:extLst>
              <a:ext uri="{FF2B5EF4-FFF2-40B4-BE49-F238E27FC236}">
                <a16:creationId xmlns:a16="http://schemas.microsoft.com/office/drawing/2014/main" id="{D754EA6A-6CD4-B652-6645-0FB922472A12}"/>
              </a:ext>
            </a:extLst>
          </p:cNvPr>
          <p:cNvSpPr/>
          <p:nvPr/>
        </p:nvSpPr>
        <p:spPr bwMode="gray">
          <a:xfrm>
            <a:off x="1942732" y="3090277"/>
            <a:ext cx="1994269" cy="424800"/>
          </a:xfrm>
          <a:prstGeom prst="roundRect">
            <a:avLst>
              <a:gd name="adj" fmla="val 50000"/>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t>Negociable</a:t>
            </a:r>
          </a:p>
        </p:txBody>
      </p:sp>
      <p:sp>
        <p:nvSpPr>
          <p:cNvPr id="25" name="Oval 24">
            <a:extLst>
              <a:ext uri="{FF2B5EF4-FFF2-40B4-BE49-F238E27FC236}">
                <a16:creationId xmlns:a16="http://schemas.microsoft.com/office/drawing/2014/main" id="{234CC8B2-2AF8-B87F-2832-382BCBAA1CB5}"/>
              </a:ext>
            </a:extLst>
          </p:cNvPr>
          <p:cNvSpPr/>
          <p:nvPr/>
        </p:nvSpPr>
        <p:spPr bwMode="gray">
          <a:xfrm>
            <a:off x="888133" y="3032583"/>
            <a:ext cx="540000" cy="5400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N</a:t>
            </a:r>
          </a:p>
        </p:txBody>
      </p:sp>
      <p:sp>
        <p:nvSpPr>
          <p:cNvPr id="26" name="Rectangle: Rounded Corners 25">
            <a:extLst>
              <a:ext uri="{FF2B5EF4-FFF2-40B4-BE49-F238E27FC236}">
                <a16:creationId xmlns:a16="http://schemas.microsoft.com/office/drawing/2014/main" id="{C0784E09-B8FD-DB3A-FC52-E9032733C22E}"/>
              </a:ext>
            </a:extLst>
          </p:cNvPr>
          <p:cNvSpPr/>
          <p:nvPr/>
        </p:nvSpPr>
        <p:spPr bwMode="gray">
          <a:xfrm>
            <a:off x="1944590" y="3089387"/>
            <a:ext cx="7614278" cy="425690"/>
          </a:xfrm>
          <a:prstGeom prst="roundRect">
            <a:avLst>
              <a:gd name="adj" fmla="val 50000"/>
            </a:avLst>
          </a:prstGeom>
          <a:noFill/>
          <a:ln w="25400" algn="ctr">
            <a:solidFill>
              <a:schemeClr val="accent2"/>
            </a:solidFill>
            <a:miter lim="800000"/>
            <a:headEnd/>
            <a:tailEnd/>
          </a:ln>
        </p:spPr>
        <p:txBody>
          <a:bodyPr wrap="square" lIns="88900" tIns="88900" rIns="88900" bIns="88900" rtlCol="0" anchor="ctr"/>
          <a:lstStyle/>
          <a:p>
            <a:pPr>
              <a:lnSpc>
                <a:spcPct val="106000"/>
              </a:lnSpc>
            </a:pPr>
            <a:endParaRPr lang="es-ES" sz="1400"/>
          </a:p>
        </p:txBody>
      </p:sp>
      <p:cxnSp>
        <p:nvCxnSpPr>
          <p:cNvPr id="27" name="Straight Arrow Connector 26">
            <a:extLst>
              <a:ext uri="{FF2B5EF4-FFF2-40B4-BE49-F238E27FC236}">
                <a16:creationId xmlns:a16="http://schemas.microsoft.com/office/drawing/2014/main" id="{EA3DBA9B-3A9D-2089-8613-B6AE97A71A76}"/>
              </a:ext>
            </a:extLst>
          </p:cNvPr>
          <p:cNvCxnSpPr>
            <a:cxnSpLocks/>
            <a:stCxn id="25" idx="6"/>
            <a:endCxn id="26" idx="1"/>
          </p:cNvCxnSpPr>
          <p:nvPr/>
        </p:nvCxnSpPr>
        <p:spPr>
          <a:xfrm flipV="1">
            <a:off x="1428133" y="3302232"/>
            <a:ext cx="516457" cy="351"/>
          </a:xfrm>
          <a:prstGeom prst="straightConnector1">
            <a:avLst/>
          </a:prstGeom>
          <a:ln w="41275">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53400DD-EB2B-8011-F20F-7EF22F801E67}"/>
              </a:ext>
            </a:extLst>
          </p:cNvPr>
          <p:cNvSpPr txBox="1"/>
          <p:nvPr/>
        </p:nvSpPr>
        <p:spPr>
          <a:xfrm>
            <a:off x="4013202" y="3150972"/>
            <a:ext cx="5444066"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Debe permitir ajustes antes de empezar a desarrollarse.</a:t>
            </a:r>
            <a:endParaRPr lang="es-ES" sz="1400">
              <a:latin typeface="+mj-lt"/>
              <a:ea typeface="Calibri" panose="020F0502020204030204" pitchFamily="34" charset="0"/>
              <a:cs typeface="Times New Roman" panose="02020603050405020304" pitchFamily="18" charset="0"/>
            </a:endParaRPr>
          </a:p>
        </p:txBody>
      </p:sp>
      <p:sp>
        <p:nvSpPr>
          <p:cNvPr id="30" name="Rectangle: Rounded Corners 29">
            <a:extLst>
              <a:ext uri="{FF2B5EF4-FFF2-40B4-BE49-F238E27FC236}">
                <a16:creationId xmlns:a16="http://schemas.microsoft.com/office/drawing/2014/main" id="{43372EC4-3E89-2099-B021-12ABE8F19CD4}"/>
              </a:ext>
            </a:extLst>
          </p:cNvPr>
          <p:cNvSpPr/>
          <p:nvPr/>
        </p:nvSpPr>
        <p:spPr bwMode="gray">
          <a:xfrm>
            <a:off x="1942732" y="3691862"/>
            <a:ext cx="1994269" cy="424800"/>
          </a:xfrm>
          <a:prstGeom prst="roundRect">
            <a:avLst>
              <a:gd name="adj" fmla="val 50000"/>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t>Valioso</a:t>
            </a:r>
          </a:p>
        </p:txBody>
      </p:sp>
      <p:sp>
        <p:nvSpPr>
          <p:cNvPr id="31" name="Oval 30">
            <a:extLst>
              <a:ext uri="{FF2B5EF4-FFF2-40B4-BE49-F238E27FC236}">
                <a16:creationId xmlns:a16="http://schemas.microsoft.com/office/drawing/2014/main" id="{C7711C5A-6320-E05E-8B07-BBE58418EA08}"/>
              </a:ext>
            </a:extLst>
          </p:cNvPr>
          <p:cNvSpPr/>
          <p:nvPr/>
        </p:nvSpPr>
        <p:spPr bwMode="gray">
          <a:xfrm>
            <a:off x="888133" y="3634168"/>
            <a:ext cx="540000" cy="5400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V</a:t>
            </a:r>
          </a:p>
        </p:txBody>
      </p:sp>
      <p:sp>
        <p:nvSpPr>
          <p:cNvPr id="32" name="Rectangle: Rounded Corners 31">
            <a:extLst>
              <a:ext uri="{FF2B5EF4-FFF2-40B4-BE49-F238E27FC236}">
                <a16:creationId xmlns:a16="http://schemas.microsoft.com/office/drawing/2014/main" id="{6C2F2BAB-B2B5-0FC6-2A73-FC54B174E714}"/>
              </a:ext>
            </a:extLst>
          </p:cNvPr>
          <p:cNvSpPr/>
          <p:nvPr/>
        </p:nvSpPr>
        <p:spPr bwMode="gray">
          <a:xfrm>
            <a:off x="1944590" y="3690972"/>
            <a:ext cx="5218211" cy="425690"/>
          </a:xfrm>
          <a:prstGeom prst="roundRect">
            <a:avLst>
              <a:gd name="adj" fmla="val 50000"/>
            </a:avLst>
          </a:prstGeom>
          <a:noFill/>
          <a:ln w="25400" algn="ctr">
            <a:solidFill>
              <a:schemeClr val="accent2"/>
            </a:solidFill>
            <a:miter lim="800000"/>
            <a:headEnd/>
            <a:tailEnd/>
          </a:ln>
        </p:spPr>
        <p:txBody>
          <a:bodyPr wrap="square" lIns="88900" tIns="88900" rIns="88900" bIns="88900" rtlCol="0" anchor="ctr"/>
          <a:lstStyle/>
          <a:p>
            <a:pPr>
              <a:lnSpc>
                <a:spcPct val="106000"/>
              </a:lnSpc>
            </a:pPr>
            <a:endParaRPr lang="es-ES" sz="1400"/>
          </a:p>
        </p:txBody>
      </p:sp>
      <p:cxnSp>
        <p:nvCxnSpPr>
          <p:cNvPr id="33" name="Straight Arrow Connector 32">
            <a:extLst>
              <a:ext uri="{FF2B5EF4-FFF2-40B4-BE49-F238E27FC236}">
                <a16:creationId xmlns:a16="http://schemas.microsoft.com/office/drawing/2014/main" id="{A078EE51-7667-A5D1-4244-24A26525DAE2}"/>
              </a:ext>
            </a:extLst>
          </p:cNvPr>
          <p:cNvCxnSpPr>
            <a:cxnSpLocks/>
            <a:stCxn id="31" idx="6"/>
            <a:endCxn id="32" idx="1"/>
          </p:cNvCxnSpPr>
          <p:nvPr/>
        </p:nvCxnSpPr>
        <p:spPr>
          <a:xfrm flipV="1">
            <a:off x="1428133" y="3903817"/>
            <a:ext cx="516457" cy="351"/>
          </a:xfrm>
          <a:prstGeom prst="straightConnector1">
            <a:avLst/>
          </a:prstGeom>
          <a:ln w="41275">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2BFC3C4-65C3-CBD2-C7FC-DEEC9D1D3288}"/>
              </a:ext>
            </a:extLst>
          </p:cNvPr>
          <p:cNvSpPr txBox="1"/>
          <p:nvPr/>
        </p:nvSpPr>
        <p:spPr>
          <a:xfrm>
            <a:off x="4013202" y="3752557"/>
            <a:ext cx="2912532"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Debe aportar valor al negocio.</a:t>
            </a:r>
            <a:endParaRPr lang="es-ES" sz="1400">
              <a:latin typeface="+mj-lt"/>
              <a:ea typeface="Calibri" panose="020F0502020204030204" pitchFamily="34" charset="0"/>
              <a:cs typeface="Times New Roman" panose="02020603050405020304" pitchFamily="18" charset="0"/>
            </a:endParaRPr>
          </a:p>
        </p:txBody>
      </p:sp>
      <p:sp>
        <p:nvSpPr>
          <p:cNvPr id="36" name="Rectangle: Rounded Corners 35">
            <a:extLst>
              <a:ext uri="{FF2B5EF4-FFF2-40B4-BE49-F238E27FC236}">
                <a16:creationId xmlns:a16="http://schemas.microsoft.com/office/drawing/2014/main" id="{68CB92DF-1348-AAC3-4C53-61668E89F497}"/>
              </a:ext>
            </a:extLst>
          </p:cNvPr>
          <p:cNvSpPr/>
          <p:nvPr/>
        </p:nvSpPr>
        <p:spPr bwMode="gray">
          <a:xfrm>
            <a:off x="1939998" y="4293096"/>
            <a:ext cx="1994269" cy="424800"/>
          </a:xfrm>
          <a:prstGeom prst="roundRect">
            <a:avLst>
              <a:gd name="adj" fmla="val 50000"/>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t>Estimable</a:t>
            </a:r>
          </a:p>
        </p:txBody>
      </p:sp>
      <p:sp>
        <p:nvSpPr>
          <p:cNvPr id="37" name="Oval 36">
            <a:extLst>
              <a:ext uri="{FF2B5EF4-FFF2-40B4-BE49-F238E27FC236}">
                <a16:creationId xmlns:a16="http://schemas.microsoft.com/office/drawing/2014/main" id="{37DBE716-8842-39AD-206F-2A5C4D9FBE6D}"/>
              </a:ext>
            </a:extLst>
          </p:cNvPr>
          <p:cNvSpPr/>
          <p:nvPr/>
        </p:nvSpPr>
        <p:spPr bwMode="gray">
          <a:xfrm>
            <a:off x="885399" y="4235402"/>
            <a:ext cx="540000" cy="5400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E</a:t>
            </a:r>
          </a:p>
        </p:txBody>
      </p:sp>
      <p:sp>
        <p:nvSpPr>
          <p:cNvPr id="38" name="Rectangle: Rounded Corners 37">
            <a:extLst>
              <a:ext uri="{FF2B5EF4-FFF2-40B4-BE49-F238E27FC236}">
                <a16:creationId xmlns:a16="http://schemas.microsoft.com/office/drawing/2014/main" id="{142A2884-0B9D-DDB6-F139-FC06C14BE7A2}"/>
              </a:ext>
            </a:extLst>
          </p:cNvPr>
          <p:cNvSpPr/>
          <p:nvPr/>
        </p:nvSpPr>
        <p:spPr bwMode="gray">
          <a:xfrm>
            <a:off x="1941856" y="4292206"/>
            <a:ext cx="8285878" cy="425690"/>
          </a:xfrm>
          <a:prstGeom prst="roundRect">
            <a:avLst>
              <a:gd name="adj" fmla="val 50000"/>
            </a:avLst>
          </a:prstGeom>
          <a:noFill/>
          <a:ln w="25400" algn="ctr">
            <a:solidFill>
              <a:schemeClr val="accent2"/>
            </a:solidFill>
            <a:miter lim="800000"/>
            <a:headEnd/>
            <a:tailEnd/>
          </a:ln>
        </p:spPr>
        <p:txBody>
          <a:bodyPr wrap="square" lIns="88900" tIns="88900" rIns="88900" bIns="88900" rtlCol="0" anchor="ctr"/>
          <a:lstStyle/>
          <a:p>
            <a:pPr>
              <a:lnSpc>
                <a:spcPct val="106000"/>
              </a:lnSpc>
            </a:pPr>
            <a:endParaRPr lang="es-ES" sz="1400"/>
          </a:p>
        </p:txBody>
      </p:sp>
      <p:cxnSp>
        <p:nvCxnSpPr>
          <p:cNvPr id="39" name="Straight Arrow Connector 38">
            <a:extLst>
              <a:ext uri="{FF2B5EF4-FFF2-40B4-BE49-F238E27FC236}">
                <a16:creationId xmlns:a16="http://schemas.microsoft.com/office/drawing/2014/main" id="{75B76369-6A2C-988C-0705-E6CC1CF20D9D}"/>
              </a:ext>
            </a:extLst>
          </p:cNvPr>
          <p:cNvCxnSpPr>
            <a:cxnSpLocks/>
            <a:stCxn id="37" idx="6"/>
            <a:endCxn id="38" idx="1"/>
          </p:cNvCxnSpPr>
          <p:nvPr/>
        </p:nvCxnSpPr>
        <p:spPr>
          <a:xfrm flipV="1">
            <a:off x="1425399" y="4505051"/>
            <a:ext cx="516457" cy="351"/>
          </a:xfrm>
          <a:prstGeom prst="straightConnector1">
            <a:avLst/>
          </a:prstGeom>
          <a:ln w="41275">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B31FE70-AB34-5C69-195D-8F3209822A78}"/>
              </a:ext>
            </a:extLst>
          </p:cNvPr>
          <p:cNvSpPr txBox="1"/>
          <p:nvPr/>
        </p:nvSpPr>
        <p:spPr>
          <a:xfrm>
            <a:off x="4010468" y="4353791"/>
            <a:ext cx="6217266" cy="302519"/>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El equipo debe poder estimar el esfuerzo que requiere terminarla.</a:t>
            </a:r>
            <a:endParaRPr lang="es-ES" sz="1400">
              <a:latin typeface="+mj-lt"/>
              <a:ea typeface="Calibri" panose="020F0502020204030204" pitchFamily="34" charset="0"/>
              <a:cs typeface="Times New Roman" panose="02020603050405020304" pitchFamily="18" charset="0"/>
            </a:endParaRPr>
          </a:p>
        </p:txBody>
      </p:sp>
      <p:sp>
        <p:nvSpPr>
          <p:cNvPr id="43" name="Rectangle: Rounded Corners 42">
            <a:extLst>
              <a:ext uri="{FF2B5EF4-FFF2-40B4-BE49-F238E27FC236}">
                <a16:creationId xmlns:a16="http://schemas.microsoft.com/office/drawing/2014/main" id="{098F8AB4-EAF5-204B-3581-0D354A662999}"/>
              </a:ext>
            </a:extLst>
          </p:cNvPr>
          <p:cNvSpPr/>
          <p:nvPr/>
        </p:nvSpPr>
        <p:spPr bwMode="gray">
          <a:xfrm>
            <a:off x="1938140" y="4894330"/>
            <a:ext cx="1994269" cy="424800"/>
          </a:xfrm>
          <a:prstGeom prst="roundRect">
            <a:avLst>
              <a:gd name="adj" fmla="val 50000"/>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i="1"/>
              <a:t>Small</a:t>
            </a:r>
          </a:p>
        </p:txBody>
      </p:sp>
      <p:sp>
        <p:nvSpPr>
          <p:cNvPr id="44" name="Oval 43">
            <a:extLst>
              <a:ext uri="{FF2B5EF4-FFF2-40B4-BE49-F238E27FC236}">
                <a16:creationId xmlns:a16="http://schemas.microsoft.com/office/drawing/2014/main" id="{A83A9ED0-5DE3-068A-5DD3-139ADA2FB54F}"/>
              </a:ext>
            </a:extLst>
          </p:cNvPr>
          <p:cNvSpPr/>
          <p:nvPr/>
        </p:nvSpPr>
        <p:spPr bwMode="gray">
          <a:xfrm>
            <a:off x="883541" y="4836636"/>
            <a:ext cx="540000" cy="5400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S</a:t>
            </a:r>
          </a:p>
        </p:txBody>
      </p:sp>
      <p:sp>
        <p:nvSpPr>
          <p:cNvPr id="45" name="Rectangle: Rounded Corners 44">
            <a:extLst>
              <a:ext uri="{FF2B5EF4-FFF2-40B4-BE49-F238E27FC236}">
                <a16:creationId xmlns:a16="http://schemas.microsoft.com/office/drawing/2014/main" id="{618C8916-4019-A8DA-F958-AE5172A8F5C6}"/>
              </a:ext>
            </a:extLst>
          </p:cNvPr>
          <p:cNvSpPr/>
          <p:nvPr/>
        </p:nvSpPr>
        <p:spPr bwMode="gray">
          <a:xfrm>
            <a:off x="1939998" y="4893440"/>
            <a:ext cx="8957330" cy="425690"/>
          </a:xfrm>
          <a:prstGeom prst="roundRect">
            <a:avLst>
              <a:gd name="adj" fmla="val 50000"/>
            </a:avLst>
          </a:prstGeom>
          <a:noFill/>
          <a:ln w="25400" algn="ctr">
            <a:solidFill>
              <a:schemeClr val="accent2"/>
            </a:solidFill>
            <a:miter lim="800000"/>
            <a:headEnd/>
            <a:tailEnd/>
          </a:ln>
        </p:spPr>
        <p:txBody>
          <a:bodyPr wrap="square" lIns="88900" tIns="88900" rIns="88900" bIns="88900" rtlCol="0" anchor="ctr"/>
          <a:lstStyle/>
          <a:p>
            <a:pPr>
              <a:lnSpc>
                <a:spcPct val="106000"/>
              </a:lnSpc>
            </a:pPr>
            <a:endParaRPr lang="es-ES" sz="1400"/>
          </a:p>
        </p:txBody>
      </p:sp>
      <p:cxnSp>
        <p:nvCxnSpPr>
          <p:cNvPr id="46" name="Straight Arrow Connector 45">
            <a:extLst>
              <a:ext uri="{FF2B5EF4-FFF2-40B4-BE49-F238E27FC236}">
                <a16:creationId xmlns:a16="http://schemas.microsoft.com/office/drawing/2014/main" id="{5ABF9D9E-32A5-8A28-9ADB-6F3CF98FF65D}"/>
              </a:ext>
            </a:extLst>
          </p:cNvPr>
          <p:cNvCxnSpPr>
            <a:cxnSpLocks/>
            <a:stCxn id="44" idx="6"/>
            <a:endCxn id="45" idx="1"/>
          </p:cNvCxnSpPr>
          <p:nvPr/>
        </p:nvCxnSpPr>
        <p:spPr>
          <a:xfrm flipV="1">
            <a:off x="1423541" y="5106285"/>
            <a:ext cx="516457" cy="351"/>
          </a:xfrm>
          <a:prstGeom prst="straightConnector1">
            <a:avLst/>
          </a:prstGeom>
          <a:ln w="41275">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26CAE4D4-5CEA-05A5-D6E7-15874562AAEE}"/>
              </a:ext>
            </a:extLst>
          </p:cNvPr>
          <p:cNvSpPr txBox="1"/>
          <p:nvPr/>
        </p:nvSpPr>
        <p:spPr>
          <a:xfrm>
            <a:off x="4008610" y="4955025"/>
            <a:ext cx="6955724" cy="302519"/>
          </a:xfrm>
          <a:prstGeom prst="rect">
            <a:avLst/>
          </a:prstGeom>
          <a:noFill/>
        </p:spPr>
        <p:txBody>
          <a:bodyPr wrap="square">
            <a:spAutoFit/>
          </a:bodyPr>
          <a:lstStyle/>
          <a:p>
            <a:pPr>
              <a:lnSpc>
                <a:spcPct val="107000"/>
              </a:lnSpc>
              <a:spcAft>
                <a:spcPts val="800"/>
              </a:spcAft>
            </a:pPr>
            <a:r>
              <a:rPr lang="es-ES" sz="1400">
                <a:latin typeface="+mj-lt"/>
                <a:ea typeface="Calibri" panose="020F0502020204030204" pitchFamily="34" charset="0"/>
                <a:cs typeface="Times New Roman" panose="02020603050405020304" pitchFamily="18" charset="0"/>
              </a:rPr>
              <a:t>Debe ser lo suficientemente pequeña como para terminarse en un sprint.</a:t>
            </a:r>
          </a:p>
        </p:txBody>
      </p:sp>
      <p:sp>
        <p:nvSpPr>
          <p:cNvPr id="49" name="Rectangle: Rounded Corners 48">
            <a:extLst>
              <a:ext uri="{FF2B5EF4-FFF2-40B4-BE49-F238E27FC236}">
                <a16:creationId xmlns:a16="http://schemas.microsoft.com/office/drawing/2014/main" id="{6F024D1C-344A-71A5-488A-CC216B193774}"/>
              </a:ext>
            </a:extLst>
          </p:cNvPr>
          <p:cNvSpPr/>
          <p:nvPr/>
        </p:nvSpPr>
        <p:spPr bwMode="gray">
          <a:xfrm>
            <a:off x="1938140" y="5495213"/>
            <a:ext cx="1994269" cy="424800"/>
          </a:xfrm>
          <a:prstGeom prst="roundRect">
            <a:avLst>
              <a:gd name="adj" fmla="val 50000"/>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err="1"/>
              <a:t>Testeable</a:t>
            </a:r>
            <a:endParaRPr lang="es-ES" sz="1400" b="1"/>
          </a:p>
        </p:txBody>
      </p:sp>
      <p:sp>
        <p:nvSpPr>
          <p:cNvPr id="50" name="Oval 49">
            <a:extLst>
              <a:ext uri="{FF2B5EF4-FFF2-40B4-BE49-F238E27FC236}">
                <a16:creationId xmlns:a16="http://schemas.microsoft.com/office/drawing/2014/main" id="{2B782823-C8E2-E494-416D-67821AFE186C}"/>
              </a:ext>
            </a:extLst>
          </p:cNvPr>
          <p:cNvSpPr/>
          <p:nvPr/>
        </p:nvSpPr>
        <p:spPr bwMode="gray">
          <a:xfrm>
            <a:off x="883541" y="5437519"/>
            <a:ext cx="540000" cy="5400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T</a:t>
            </a:r>
          </a:p>
        </p:txBody>
      </p:sp>
      <p:sp>
        <p:nvSpPr>
          <p:cNvPr id="51" name="Rectangle: Rounded Corners 50">
            <a:extLst>
              <a:ext uri="{FF2B5EF4-FFF2-40B4-BE49-F238E27FC236}">
                <a16:creationId xmlns:a16="http://schemas.microsoft.com/office/drawing/2014/main" id="{E006A825-66BC-DEA5-0AC3-83543B68F239}"/>
              </a:ext>
            </a:extLst>
          </p:cNvPr>
          <p:cNvSpPr/>
          <p:nvPr/>
        </p:nvSpPr>
        <p:spPr bwMode="gray">
          <a:xfrm>
            <a:off x="1939998" y="5494323"/>
            <a:ext cx="7517270" cy="425690"/>
          </a:xfrm>
          <a:prstGeom prst="roundRect">
            <a:avLst>
              <a:gd name="adj" fmla="val 50000"/>
            </a:avLst>
          </a:prstGeom>
          <a:noFill/>
          <a:ln w="25400" algn="ctr">
            <a:solidFill>
              <a:schemeClr val="accent2"/>
            </a:solidFill>
            <a:miter lim="800000"/>
            <a:headEnd/>
            <a:tailEnd/>
          </a:ln>
        </p:spPr>
        <p:txBody>
          <a:bodyPr wrap="square" lIns="88900" tIns="88900" rIns="88900" bIns="88900" rtlCol="0" anchor="ctr"/>
          <a:lstStyle/>
          <a:p>
            <a:pPr>
              <a:lnSpc>
                <a:spcPct val="106000"/>
              </a:lnSpc>
            </a:pPr>
            <a:endParaRPr lang="es-ES" sz="1400"/>
          </a:p>
        </p:txBody>
      </p:sp>
      <p:cxnSp>
        <p:nvCxnSpPr>
          <p:cNvPr id="52" name="Straight Arrow Connector 51">
            <a:extLst>
              <a:ext uri="{FF2B5EF4-FFF2-40B4-BE49-F238E27FC236}">
                <a16:creationId xmlns:a16="http://schemas.microsoft.com/office/drawing/2014/main" id="{547ECE5C-0B58-FA55-BC5F-A47D5283469E}"/>
              </a:ext>
            </a:extLst>
          </p:cNvPr>
          <p:cNvCxnSpPr>
            <a:cxnSpLocks/>
            <a:stCxn id="50" idx="6"/>
            <a:endCxn id="51" idx="1"/>
          </p:cNvCxnSpPr>
          <p:nvPr/>
        </p:nvCxnSpPr>
        <p:spPr>
          <a:xfrm flipV="1">
            <a:off x="1423541" y="5707168"/>
            <a:ext cx="516457" cy="351"/>
          </a:xfrm>
          <a:prstGeom prst="straightConnector1">
            <a:avLst/>
          </a:prstGeom>
          <a:ln w="41275">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B23AA70-5037-C749-8975-9663EDB8690D}"/>
              </a:ext>
            </a:extLst>
          </p:cNvPr>
          <p:cNvSpPr txBox="1"/>
          <p:nvPr/>
        </p:nvSpPr>
        <p:spPr>
          <a:xfrm>
            <a:off x="4008610" y="5555908"/>
            <a:ext cx="5448658" cy="302519"/>
          </a:xfrm>
          <a:prstGeom prst="rect">
            <a:avLst/>
          </a:prstGeom>
          <a:noFill/>
        </p:spPr>
        <p:txBody>
          <a:bodyPr wrap="square">
            <a:spAutoFit/>
          </a:bodyPr>
          <a:lstStyle/>
          <a:p>
            <a:pPr>
              <a:lnSpc>
                <a:spcPct val="107000"/>
              </a:lnSpc>
              <a:spcAft>
                <a:spcPts val="800"/>
              </a:spcAft>
            </a:pPr>
            <a:r>
              <a:rPr lang="es-ES" sz="1400">
                <a:latin typeface="+mj-lt"/>
                <a:ea typeface="Calibri" panose="020F0502020204030204" pitchFamily="34" charset="0"/>
                <a:cs typeface="Times New Roman" panose="02020603050405020304" pitchFamily="18" charset="0"/>
              </a:rPr>
              <a:t>Debe poder probarse y confirmar si cumple los requisitos.</a:t>
            </a:r>
          </a:p>
        </p:txBody>
      </p:sp>
    </p:spTree>
    <p:extLst>
      <p:ext uri="{BB962C8B-B14F-4D97-AF65-F5344CB8AC3E}">
        <p14:creationId xmlns:p14="http://schemas.microsoft.com/office/powerpoint/2010/main" val="81738523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13" name="TextBox 12">
            <a:extLst>
              <a:ext uri="{FF2B5EF4-FFF2-40B4-BE49-F238E27FC236}">
                <a16:creationId xmlns:a16="http://schemas.microsoft.com/office/drawing/2014/main" id="{62AFD390-8BC9-422E-9C8D-56452AE8D56A}"/>
              </a:ext>
            </a:extLst>
          </p:cNvPr>
          <p:cNvSpPr txBox="1"/>
          <p:nvPr/>
        </p:nvSpPr>
        <p:spPr>
          <a:xfrm>
            <a:off x="530226" y="2128283"/>
            <a:ext cx="7518400" cy="338554"/>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600">
                <a:latin typeface="+mj-lt"/>
                <a:ea typeface="Calibri" panose="020F0502020204030204" pitchFamily="34" charset="0"/>
                <a:cs typeface="Times New Roman" panose="02020603050405020304" pitchFamily="18" charset="0"/>
              </a:rPr>
              <a:t>R</a:t>
            </a:r>
            <a:r>
              <a:rPr lang="es-ES" sz="1600">
                <a:effectLst/>
                <a:latin typeface="+mj-lt"/>
                <a:ea typeface="Calibri" panose="020F0502020204030204" pitchFamily="34" charset="0"/>
                <a:cs typeface="Times New Roman" panose="02020603050405020304" pitchFamily="18" charset="0"/>
              </a:rPr>
              <a:t>eunión que se celebra al final de cada iteración para discutir sobre:</a:t>
            </a:r>
          </a:p>
        </p:txBody>
      </p:sp>
      <p:sp>
        <p:nvSpPr>
          <p:cNvPr id="3" name="Rectangle: Rounded Corners 2">
            <a:extLst>
              <a:ext uri="{FF2B5EF4-FFF2-40B4-BE49-F238E27FC236}">
                <a16:creationId xmlns:a16="http://schemas.microsoft.com/office/drawing/2014/main" id="{4EB648F4-5431-759B-5A90-E4FA12CC72B6}"/>
              </a:ext>
            </a:extLst>
          </p:cNvPr>
          <p:cNvSpPr/>
          <p:nvPr/>
        </p:nvSpPr>
        <p:spPr bwMode="gray">
          <a:xfrm>
            <a:off x="427536" y="1663155"/>
            <a:ext cx="2586597"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3. Retrospectivas</a:t>
            </a:r>
          </a:p>
        </p:txBody>
      </p:sp>
      <p:sp>
        <p:nvSpPr>
          <p:cNvPr id="4" name="Rectangle: Rounded Corners 3">
            <a:extLst>
              <a:ext uri="{FF2B5EF4-FFF2-40B4-BE49-F238E27FC236}">
                <a16:creationId xmlns:a16="http://schemas.microsoft.com/office/drawing/2014/main" id="{85C2FE52-2D49-78CE-2595-91D51AE58992}"/>
              </a:ext>
            </a:extLst>
          </p:cNvPr>
          <p:cNvSpPr/>
          <p:nvPr/>
        </p:nvSpPr>
        <p:spPr bwMode="gray">
          <a:xfrm>
            <a:off x="1779512" y="2902740"/>
            <a:ext cx="1851025" cy="695595"/>
          </a:xfrm>
          <a:prstGeom prst="roundRect">
            <a:avLst/>
          </a:prstGeom>
          <a:noFill/>
          <a:ln w="254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TextBox 6">
            <a:extLst>
              <a:ext uri="{FF2B5EF4-FFF2-40B4-BE49-F238E27FC236}">
                <a16:creationId xmlns:a16="http://schemas.microsoft.com/office/drawing/2014/main" id="{991258D8-3C11-589D-9BB1-64BE260DE6C0}"/>
              </a:ext>
            </a:extLst>
          </p:cNvPr>
          <p:cNvSpPr txBox="1"/>
          <p:nvPr/>
        </p:nvSpPr>
        <p:spPr>
          <a:xfrm>
            <a:off x="530225" y="3857357"/>
            <a:ext cx="11131550" cy="1774845"/>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600">
                <a:effectLst/>
                <a:latin typeface="+mj-lt"/>
                <a:ea typeface="Calibri" panose="020F0502020204030204" pitchFamily="34" charset="0"/>
                <a:cs typeface="Times New Roman" panose="02020603050405020304" pitchFamily="18" charset="0"/>
              </a:rPr>
              <a:t>Las retrospectivas pueden dar lugar a </a:t>
            </a:r>
            <a:r>
              <a:rPr lang="es-ES" sz="1600" b="1">
                <a:effectLst/>
                <a:latin typeface="+mj-lt"/>
                <a:ea typeface="Calibri" panose="020F0502020204030204" pitchFamily="34" charset="0"/>
                <a:cs typeface="Times New Roman" panose="02020603050405020304" pitchFamily="18" charset="0"/>
              </a:rPr>
              <a:t>decisiones de mejora relacionadas con la prueba,</a:t>
            </a:r>
            <a:r>
              <a:rPr lang="es-ES" sz="1600">
                <a:effectLst/>
                <a:latin typeface="+mj-lt"/>
                <a:ea typeface="Calibri" panose="020F0502020204030204" pitchFamily="34" charset="0"/>
                <a:cs typeface="Times New Roman" panose="02020603050405020304" pitchFamily="18" charset="0"/>
              </a:rPr>
              <a:t> centradas en la efectividad de la prueba la productividad de la prueba, la calidad de los casos de prueba y la satisfacción del equipo.</a:t>
            </a:r>
          </a:p>
          <a:p>
            <a:pPr marL="285750" indent="-285750">
              <a:spcAft>
                <a:spcPts val="800"/>
              </a:spcAft>
              <a:buFont typeface="Arial" panose="020B0604020202020204" pitchFamily="34" charset="0"/>
              <a:buChar char="•"/>
            </a:pPr>
            <a:r>
              <a:rPr lang="es-ES" sz="1600">
                <a:effectLst/>
                <a:latin typeface="+mj-lt"/>
                <a:ea typeface="Calibri" panose="020F0502020204030204" pitchFamily="34" charset="0"/>
                <a:cs typeface="Times New Roman" panose="02020603050405020304" pitchFamily="18" charset="0"/>
              </a:rPr>
              <a:t>El momento y la organización de la retrospectiva dependen del método ágil concreto que se siga.</a:t>
            </a:r>
          </a:p>
          <a:p>
            <a:pPr marL="285750" indent="-285750">
              <a:spcAft>
                <a:spcPts val="800"/>
              </a:spcAft>
              <a:buFont typeface="Arial" panose="020B0604020202020204" pitchFamily="34" charset="0"/>
              <a:buChar char="•"/>
            </a:pPr>
            <a:r>
              <a:rPr lang="es-ES" sz="1600">
                <a:latin typeface="+mj-lt"/>
                <a:cs typeface="Times New Roman" panose="02020603050405020304" pitchFamily="18" charset="0"/>
              </a:rPr>
              <a:t>Los probadores deberían desempeñar un papel importante en las retrospectivas. Los probadores forman parte del equipo y aportan su perspectiva única.</a:t>
            </a:r>
          </a:p>
        </p:txBody>
      </p:sp>
      <p:sp>
        <p:nvSpPr>
          <p:cNvPr id="9" name="Oval 8">
            <a:extLst>
              <a:ext uri="{FF2B5EF4-FFF2-40B4-BE49-F238E27FC236}">
                <a16:creationId xmlns:a16="http://schemas.microsoft.com/office/drawing/2014/main" id="{8A417283-C740-9149-BE70-4FE505FDD673}"/>
              </a:ext>
            </a:extLst>
          </p:cNvPr>
          <p:cNvSpPr/>
          <p:nvPr/>
        </p:nvSpPr>
        <p:spPr bwMode="gray">
          <a:xfrm>
            <a:off x="2435024" y="2632740"/>
            <a:ext cx="540000" cy="540000"/>
          </a:xfrm>
          <a:prstGeom prst="ellipse">
            <a:avLst/>
          </a:prstGeom>
          <a:solidFill>
            <a:schemeClr val="bg1"/>
          </a:solidFill>
          <a:ln w="254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pic>
        <p:nvPicPr>
          <p:cNvPr id="11" name="Graphic 10" descr="Checkmark with solid fill">
            <a:extLst>
              <a:ext uri="{FF2B5EF4-FFF2-40B4-BE49-F238E27FC236}">
                <a16:creationId xmlns:a16="http://schemas.microsoft.com/office/drawing/2014/main" id="{8F162699-09F5-D765-3862-0352C3FABBC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25024" y="2719501"/>
            <a:ext cx="360000" cy="360000"/>
          </a:xfrm>
          <a:prstGeom prst="rect">
            <a:avLst/>
          </a:prstGeom>
        </p:spPr>
      </p:pic>
      <p:sp>
        <p:nvSpPr>
          <p:cNvPr id="12" name="TextBox 11">
            <a:extLst>
              <a:ext uri="{FF2B5EF4-FFF2-40B4-BE49-F238E27FC236}">
                <a16:creationId xmlns:a16="http://schemas.microsoft.com/office/drawing/2014/main" id="{C4C34D4B-D165-985E-67D5-E8FDDDEBA8FB}"/>
              </a:ext>
            </a:extLst>
          </p:cNvPr>
          <p:cNvSpPr txBox="1"/>
          <p:nvPr/>
        </p:nvSpPr>
        <p:spPr>
          <a:xfrm>
            <a:off x="1779512" y="3204719"/>
            <a:ext cx="1851026" cy="302519"/>
          </a:xfrm>
          <a:prstGeom prst="rect">
            <a:avLst/>
          </a:prstGeom>
          <a:noFill/>
        </p:spPr>
        <p:txBody>
          <a:bodyPr wrap="square">
            <a:spAutoFit/>
          </a:bodyPr>
          <a:lstStyle/>
          <a:p>
            <a:pPr algn="ct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Qué ha ido bien?</a:t>
            </a:r>
            <a:endParaRPr lang="es-ES" sz="1400">
              <a:latin typeface="+mj-lt"/>
              <a:ea typeface="Calibri" panose="020F0502020204030204" pitchFamily="34" charset="0"/>
              <a:cs typeface="Times New Roman" panose="02020603050405020304" pitchFamily="18" charset="0"/>
            </a:endParaRPr>
          </a:p>
        </p:txBody>
      </p:sp>
      <p:sp>
        <p:nvSpPr>
          <p:cNvPr id="14" name="Rectangle: Rounded Corners 13">
            <a:extLst>
              <a:ext uri="{FF2B5EF4-FFF2-40B4-BE49-F238E27FC236}">
                <a16:creationId xmlns:a16="http://schemas.microsoft.com/office/drawing/2014/main" id="{BB0D9E79-FA50-EF91-06ED-FA4C4501BB26}"/>
              </a:ext>
            </a:extLst>
          </p:cNvPr>
          <p:cNvSpPr/>
          <p:nvPr/>
        </p:nvSpPr>
        <p:spPr bwMode="gray">
          <a:xfrm>
            <a:off x="3928663" y="2902740"/>
            <a:ext cx="2757692" cy="695595"/>
          </a:xfrm>
          <a:prstGeom prst="roundRect">
            <a:avLst/>
          </a:prstGeom>
          <a:noFill/>
          <a:ln w="2540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6" name="Oval 15">
            <a:extLst>
              <a:ext uri="{FF2B5EF4-FFF2-40B4-BE49-F238E27FC236}">
                <a16:creationId xmlns:a16="http://schemas.microsoft.com/office/drawing/2014/main" id="{A1DFE999-4B57-455A-340A-87DA977C1E2F}"/>
              </a:ext>
            </a:extLst>
          </p:cNvPr>
          <p:cNvSpPr/>
          <p:nvPr/>
        </p:nvSpPr>
        <p:spPr bwMode="gray">
          <a:xfrm>
            <a:off x="5041375" y="2632740"/>
            <a:ext cx="540000" cy="540000"/>
          </a:xfrm>
          <a:prstGeom prst="ellipse">
            <a:avLst/>
          </a:prstGeom>
          <a:solidFill>
            <a:schemeClr val="bg1"/>
          </a:solidFill>
          <a:ln w="2540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8" name="TextBox 17">
            <a:extLst>
              <a:ext uri="{FF2B5EF4-FFF2-40B4-BE49-F238E27FC236}">
                <a16:creationId xmlns:a16="http://schemas.microsoft.com/office/drawing/2014/main" id="{D7715CF8-47BE-B838-4918-51C2B548F4AB}"/>
              </a:ext>
            </a:extLst>
          </p:cNvPr>
          <p:cNvSpPr txBox="1"/>
          <p:nvPr/>
        </p:nvSpPr>
        <p:spPr>
          <a:xfrm>
            <a:off x="3928662" y="3204719"/>
            <a:ext cx="2757693" cy="302519"/>
          </a:xfrm>
          <a:prstGeom prst="rect">
            <a:avLst/>
          </a:prstGeom>
          <a:noFill/>
        </p:spPr>
        <p:txBody>
          <a:bodyPr wrap="square">
            <a:spAutoFit/>
          </a:bodyPr>
          <a:lstStyle/>
          <a:p>
            <a:pPr algn="ct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Qué se puede mejorar?</a:t>
            </a:r>
            <a:endParaRPr lang="es-ES" sz="1400">
              <a:latin typeface="+mj-lt"/>
              <a:ea typeface="Calibri" panose="020F0502020204030204" pitchFamily="34" charset="0"/>
              <a:cs typeface="Times New Roman" panose="02020603050405020304" pitchFamily="18" charset="0"/>
            </a:endParaRPr>
          </a:p>
        </p:txBody>
      </p:sp>
      <p:pic>
        <p:nvPicPr>
          <p:cNvPr id="20" name="Graphic 19" descr="Caret Up with solid fill">
            <a:extLst>
              <a:ext uri="{FF2B5EF4-FFF2-40B4-BE49-F238E27FC236}">
                <a16:creationId xmlns:a16="http://schemas.microsoft.com/office/drawing/2014/main" id="{6D9474C8-A2BF-16E1-791F-27740173A5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82083" y="2674357"/>
            <a:ext cx="457200" cy="457200"/>
          </a:xfrm>
          <a:prstGeom prst="rect">
            <a:avLst/>
          </a:prstGeom>
        </p:spPr>
      </p:pic>
      <p:sp>
        <p:nvSpPr>
          <p:cNvPr id="21" name="Rectangle: Rounded Corners 20">
            <a:extLst>
              <a:ext uri="{FF2B5EF4-FFF2-40B4-BE49-F238E27FC236}">
                <a16:creationId xmlns:a16="http://schemas.microsoft.com/office/drawing/2014/main" id="{8044E609-4694-941C-7D90-ADC17EC5CD6A}"/>
              </a:ext>
            </a:extLst>
          </p:cNvPr>
          <p:cNvSpPr/>
          <p:nvPr/>
        </p:nvSpPr>
        <p:spPr bwMode="gray">
          <a:xfrm>
            <a:off x="6972498" y="2899327"/>
            <a:ext cx="3352796" cy="695595"/>
          </a:xfrm>
          <a:prstGeom prst="roundRect">
            <a:avLst/>
          </a:prstGeom>
          <a:noFill/>
          <a:ln w="2540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22" name="Oval 21">
            <a:extLst>
              <a:ext uri="{FF2B5EF4-FFF2-40B4-BE49-F238E27FC236}">
                <a16:creationId xmlns:a16="http://schemas.microsoft.com/office/drawing/2014/main" id="{D693AE32-B9F1-D094-B9F6-6955EF272A6D}"/>
              </a:ext>
            </a:extLst>
          </p:cNvPr>
          <p:cNvSpPr/>
          <p:nvPr/>
        </p:nvSpPr>
        <p:spPr bwMode="gray">
          <a:xfrm>
            <a:off x="8361435" y="2629327"/>
            <a:ext cx="540000" cy="540000"/>
          </a:xfrm>
          <a:prstGeom prst="ellipse">
            <a:avLst/>
          </a:prstGeom>
          <a:solidFill>
            <a:schemeClr val="bg1"/>
          </a:solidFill>
          <a:ln w="2540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23" name="TextBox 22">
            <a:extLst>
              <a:ext uri="{FF2B5EF4-FFF2-40B4-BE49-F238E27FC236}">
                <a16:creationId xmlns:a16="http://schemas.microsoft.com/office/drawing/2014/main" id="{3A3D65D0-A096-DC02-1E0D-1F30A8D34BFB}"/>
              </a:ext>
            </a:extLst>
          </p:cNvPr>
          <p:cNvSpPr txBox="1"/>
          <p:nvPr/>
        </p:nvSpPr>
        <p:spPr>
          <a:xfrm>
            <a:off x="6972497" y="3201306"/>
            <a:ext cx="3352797" cy="302519"/>
          </a:xfrm>
          <a:prstGeom prst="rect">
            <a:avLst/>
          </a:prstGeom>
          <a:noFill/>
        </p:spPr>
        <p:txBody>
          <a:bodyPr wrap="square">
            <a:spAutoFit/>
          </a:bodyPr>
          <a:lstStyle/>
          <a:p>
            <a:pPr algn="ct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Cómo incorporamos las mejoras?</a:t>
            </a:r>
            <a:endParaRPr lang="es-ES" sz="1400">
              <a:latin typeface="+mj-lt"/>
              <a:ea typeface="Calibri" panose="020F0502020204030204" pitchFamily="34" charset="0"/>
              <a:cs typeface="Times New Roman" panose="02020603050405020304" pitchFamily="18" charset="0"/>
            </a:endParaRPr>
          </a:p>
        </p:txBody>
      </p:sp>
      <p:pic>
        <p:nvPicPr>
          <p:cNvPr id="26" name="Graphic 25" descr="Single gear with solid fill">
            <a:extLst>
              <a:ext uri="{FF2B5EF4-FFF2-40B4-BE49-F238E27FC236}">
                <a16:creationId xmlns:a16="http://schemas.microsoft.com/office/drawing/2014/main" id="{8234AEA4-9022-B248-1F55-D2D415DCE56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11111" y="2672909"/>
            <a:ext cx="450174" cy="450174"/>
          </a:xfrm>
          <a:prstGeom prst="rect">
            <a:avLst/>
          </a:prstGeom>
        </p:spPr>
      </p:pic>
      <p:sp>
        <p:nvSpPr>
          <p:cNvPr id="27" name="Rectangle: Rounded Corners 26">
            <a:extLst>
              <a:ext uri="{FF2B5EF4-FFF2-40B4-BE49-F238E27FC236}">
                <a16:creationId xmlns:a16="http://schemas.microsoft.com/office/drawing/2014/main" id="{42AD5A6B-F748-5A94-38CB-69D2D8F7BF42}"/>
              </a:ext>
            </a:extLst>
          </p:cNvPr>
          <p:cNvSpPr/>
          <p:nvPr/>
        </p:nvSpPr>
        <p:spPr bwMode="gray">
          <a:xfrm>
            <a:off x="707233" y="5780246"/>
            <a:ext cx="10491393" cy="407791"/>
          </a:xfrm>
          <a:prstGeom prst="roundRect">
            <a:avLst>
              <a:gd name="adj" fmla="val 50000"/>
            </a:avLst>
          </a:prstGeom>
          <a:solidFill>
            <a:schemeClr val="accent2"/>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600" b="1">
                <a:solidFill>
                  <a:schemeClr val="bg1"/>
                </a:solidFill>
              </a:rPr>
              <a:t>Todo el equipo puede contribuir a cualquier actividad, tanto si es de prueba como si no.</a:t>
            </a:r>
            <a:endParaRPr lang="es-ES" sz="1600" b="1">
              <a:solidFill>
                <a:schemeClr val="bg1"/>
              </a:solidFill>
            </a:endParaRPr>
          </a:p>
        </p:txBody>
      </p:sp>
    </p:spTree>
    <p:extLst>
      <p:ext uri="{BB962C8B-B14F-4D97-AF65-F5344CB8AC3E}">
        <p14:creationId xmlns:p14="http://schemas.microsoft.com/office/powerpoint/2010/main" val="257107091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13" name="TextBox 12">
            <a:extLst>
              <a:ext uri="{FF2B5EF4-FFF2-40B4-BE49-F238E27FC236}">
                <a16:creationId xmlns:a16="http://schemas.microsoft.com/office/drawing/2014/main" id="{62AFD390-8BC9-422E-9C8D-56452AE8D56A}"/>
              </a:ext>
            </a:extLst>
          </p:cNvPr>
          <p:cNvSpPr txBox="1"/>
          <p:nvPr/>
        </p:nvSpPr>
        <p:spPr>
          <a:xfrm>
            <a:off x="460375" y="2197020"/>
            <a:ext cx="10958921" cy="841256"/>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Consiste en fusionar todos los cambios realizados en el software e integrar todos los componentes modificados regularmente, al menos una vez al día.</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Un proceso de integración continua consta de las siguientes actividades automatizadas:</a:t>
            </a:r>
            <a:endParaRPr lang="es-ES" sz="1400">
              <a:latin typeface="+mj-lt"/>
              <a:cs typeface="Times New Roman" panose="02020603050405020304" pitchFamily="18" charset="0"/>
            </a:endParaRPr>
          </a:p>
        </p:txBody>
      </p:sp>
      <p:sp>
        <p:nvSpPr>
          <p:cNvPr id="14" name="Rectangle 13">
            <a:extLst>
              <a:ext uri="{FF2B5EF4-FFF2-40B4-BE49-F238E27FC236}">
                <a16:creationId xmlns:a16="http://schemas.microsoft.com/office/drawing/2014/main" id="{8B57BB76-DFF5-469B-AD73-300E925C0774}"/>
              </a:ext>
            </a:extLst>
          </p:cNvPr>
          <p:cNvSpPr/>
          <p:nvPr/>
        </p:nvSpPr>
        <p:spPr bwMode="gray">
          <a:xfrm>
            <a:off x="581790" y="4034401"/>
            <a:ext cx="1609344" cy="1792642"/>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pPr>
            <a:r>
              <a:rPr lang="es-ES" sz="1200">
                <a:ln w="0"/>
                <a:solidFill>
                  <a:schemeClr val="tx1"/>
                </a:solidFill>
              </a:rPr>
              <a:t>Llevar a cabo el análisis estático de código e informar los resultados</a:t>
            </a:r>
            <a:r>
              <a:rPr lang="es-ES" sz="1000">
                <a:ln w="0"/>
                <a:solidFill>
                  <a:schemeClr val="tx1"/>
                </a:solidFill>
              </a:rPr>
              <a:t>.</a:t>
            </a:r>
          </a:p>
        </p:txBody>
      </p:sp>
      <p:sp>
        <p:nvSpPr>
          <p:cNvPr id="16" name="Rectangle 15">
            <a:extLst>
              <a:ext uri="{FF2B5EF4-FFF2-40B4-BE49-F238E27FC236}">
                <a16:creationId xmlns:a16="http://schemas.microsoft.com/office/drawing/2014/main" id="{C6FC1469-1394-49EC-B184-8D42324450F4}"/>
              </a:ext>
            </a:extLst>
          </p:cNvPr>
          <p:cNvSpPr/>
          <p:nvPr/>
        </p:nvSpPr>
        <p:spPr bwMode="gray">
          <a:xfrm>
            <a:off x="581790" y="3371124"/>
            <a:ext cx="1609344" cy="663277"/>
          </a:xfrm>
          <a:prstGeom prst="rect">
            <a:avLst/>
          </a:prstGeom>
          <a:ln>
            <a:solidFill>
              <a:srgbClr val="0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600">
                <a:effectLst/>
                <a:latin typeface="Calibri" panose="020F0502020204030204" pitchFamily="34" charset="0"/>
                <a:ea typeface="Calibri" panose="020F0502020204030204" pitchFamily="34" charset="0"/>
                <a:cs typeface="Times New Roman" panose="02020603050405020304" pitchFamily="18" charset="0"/>
              </a:rPr>
              <a:t>Análisis estático de código</a:t>
            </a:r>
            <a:endParaRPr lang="es-ES" sz="1050">
              <a:solidFill>
                <a:schemeClr val="bg1"/>
              </a:solidFill>
            </a:endParaRPr>
          </a:p>
        </p:txBody>
      </p:sp>
      <p:sp>
        <p:nvSpPr>
          <p:cNvPr id="17" name="Rectangle 16">
            <a:extLst>
              <a:ext uri="{FF2B5EF4-FFF2-40B4-BE49-F238E27FC236}">
                <a16:creationId xmlns:a16="http://schemas.microsoft.com/office/drawing/2014/main" id="{2F920AA5-0D7A-4D74-ADBE-DCB1CDD2D510}"/>
              </a:ext>
            </a:extLst>
          </p:cNvPr>
          <p:cNvSpPr/>
          <p:nvPr/>
        </p:nvSpPr>
        <p:spPr bwMode="gray">
          <a:xfrm>
            <a:off x="2389890" y="4034401"/>
            <a:ext cx="1609344" cy="1792642"/>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pPr>
            <a:r>
              <a:rPr lang="es-ES" sz="1200">
                <a:ln w="0"/>
                <a:solidFill>
                  <a:schemeClr val="tx1"/>
                </a:solidFill>
              </a:rPr>
              <a:t>Compilar y enlazar el código, generando los archivos ejecutables.</a:t>
            </a:r>
          </a:p>
        </p:txBody>
      </p:sp>
      <p:sp>
        <p:nvSpPr>
          <p:cNvPr id="18" name="Rectangle 17">
            <a:extLst>
              <a:ext uri="{FF2B5EF4-FFF2-40B4-BE49-F238E27FC236}">
                <a16:creationId xmlns:a16="http://schemas.microsoft.com/office/drawing/2014/main" id="{B024674D-1405-455B-BA46-FFBF0856E46D}"/>
              </a:ext>
            </a:extLst>
          </p:cNvPr>
          <p:cNvSpPr/>
          <p:nvPr/>
        </p:nvSpPr>
        <p:spPr bwMode="gray">
          <a:xfrm>
            <a:off x="2389890" y="3371124"/>
            <a:ext cx="1609344" cy="663277"/>
          </a:xfrm>
          <a:prstGeom prst="rect">
            <a:avLst/>
          </a:prstGeom>
          <a:ln>
            <a:solidFill>
              <a:srgbClr val="0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800">
                <a:effectLst/>
                <a:latin typeface="Calibri" panose="020F0502020204030204" pitchFamily="34" charset="0"/>
                <a:ea typeface="Calibri" panose="020F0502020204030204" pitchFamily="34" charset="0"/>
                <a:cs typeface="Times New Roman" panose="02020603050405020304" pitchFamily="18" charset="0"/>
              </a:rPr>
              <a:t>Compilación</a:t>
            </a:r>
            <a:endParaRPr lang="es-ES" sz="1100">
              <a:solidFill>
                <a:schemeClr val="bg1"/>
              </a:solidFill>
            </a:endParaRPr>
          </a:p>
        </p:txBody>
      </p:sp>
      <p:sp>
        <p:nvSpPr>
          <p:cNvPr id="21" name="Rectangle 20">
            <a:extLst>
              <a:ext uri="{FF2B5EF4-FFF2-40B4-BE49-F238E27FC236}">
                <a16:creationId xmlns:a16="http://schemas.microsoft.com/office/drawing/2014/main" id="{2D188E36-4B57-490A-BFF3-EA8FBF5E009E}"/>
              </a:ext>
            </a:extLst>
          </p:cNvPr>
          <p:cNvSpPr/>
          <p:nvPr/>
        </p:nvSpPr>
        <p:spPr bwMode="gray">
          <a:xfrm>
            <a:off x="4197990" y="4052689"/>
            <a:ext cx="1609344" cy="1792642"/>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pPr>
            <a:r>
              <a:rPr lang="es-ES" sz="1200">
                <a:ln w="0"/>
                <a:solidFill>
                  <a:schemeClr val="tx1"/>
                </a:solidFill>
              </a:rPr>
              <a:t>Ejecutar las pruebas unitarias, comprobar la cobertura de código e informar los resultados de la prueba.</a:t>
            </a:r>
          </a:p>
        </p:txBody>
      </p:sp>
      <p:sp>
        <p:nvSpPr>
          <p:cNvPr id="22" name="Rectangle 21">
            <a:extLst>
              <a:ext uri="{FF2B5EF4-FFF2-40B4-BE49-F238E27FC236}">
                <a16:creationId xmlns:a16="http://schemas.microsoft.com/office/drawing/2014/main" id="{19A83140-44D4-4D7B-9FFA-3DE14DF3B65A}"/>
              </a:ext>
            </a:extLst>
          </p:cNvPr>
          <p:cNvSpPr/>
          <p:nvPr/>
        </p:nvSpPr>
        <p:spPr bwMode="gray">
          <a:xfrm>
            <a:off x="4197990" y="3389412"/>
            <a:ext cx="1609344" cy="663277"/>
          </a:xfrm>
          <a:prstGeom prst="rect">
            <a:avLst/>
          </a:prstGeom>
          <a:ln>
            <a:solidFill>
              <a:srgbClr val="0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600">
                <a:effectLst/>
                <a:latin typeface="Calibri" panose="020F0502020204030204" pitchFamily="34" charset="0"/>
                <a:ea typeface="Calibri" panose="020F0502020204030204" pitchFamily="34" charset="0"/>
                <a:cs typeface="Times New Roman" panose="02020603050405020304" pitchFamily="18" charset="0"/>
              </a:rPr>
              <a:t>Prueba unitaria</a:t>
            </a:r>
            <a:endParaRPr lang="es-ES" sz="1050">
              <a:solidFill>
                <a:schemeClr val="bg1"/>
              </a:solidFill>
            </a:endParaRPr>
          </a:p>
        </p:txBody>
      </p:sp>
      <p:sp>
        <p:nvSpPr>
          <p:cNvPr id="23" name="Rectangle 22">
            <a:extLst>
              <a:ext uri="{FF2B5EF4-FFF2-40B4-BE49-F238E27FC236}">
                <a16:creationId xmlns:a16="http://schemas.microsoft.com/office/drawing/2014/main" id="{BF167EA4-1684-47A4-8F98-D479E05DD31E}"/>
              </a:ext>
            </a:extLst>
          </p:cNvPr>
          <p:cNvSpPr/>
          <p:nvPr/>
        </p:nvSpPr>
        <p:spPr bwMode="gray">
          <a:xfrm>
            <a:off x="6006090" y="4052689"/>
            <a:ext cx="1609344" cy="1792642"/>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pPr>
            <a:r>
              <a:rPr lang="es-ES" sz="1200">
                <a:ln w="0"/>
                <a:solidFill>
                  <a:schemeClr val="tx1"/>
                </a:solidFill>
              </a:rPr>
              <a:t>Instalar el producto construido en un entorno de prueba</a:t>
            </a:r>
          </a:p>
        </p:txBody>
      </p:sp>
      <p:sp>
        <p:nvSpPr>
          <p:cNvPr id="24" name="Rectangle 23">
            <a:extLst>
              <a:ext uri="{FF2B5EF4-FFF2-40B4-BE49-F238E27FC236}">
                <a16:creationId xmlns:a16="http://schemas.microsoft.com/office/drawing/2014/main" id="{51605C13-5A7A-439A-9F78-CF763F09C130}"/>
              </a:ext>
            </a:extLst>
          </p:cNvPr>
          <p:cNvSpPr/>
          <p:nvPr/>
        </p:nvSpPr>
        <p:spPr bwMode="gray">
          <a:xfrm>
            <a:off x="6006090" y="3389412"/>
            <a:ext cx="1609344" cy="663277"/>
          </a:xfrm>
          <a:prstGeom prst="rect">
            <a:avLst/>
          </a:prstGeom>
          <a:ln>
            <a:solidFill>
              <a:srgbClr val="0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800">
                <a:effectLst/>
                <a:latin typeface="Calibri" panose="020F0502020204030204" pitchFamily="34" charset="0"/>
                <a:ea typeface="Calibri" panose="020F0502020204030204" pitchFamily="34" charset="0"/>
                <a:cs typeface="Times New Roman" panose="02020603050405020304" pitchFamily="18" charset="0"/>
              </a:rPr>
              <a:t>Despliegue</a:t>
            </a:r>
            <a:endParaRPr lang="es-ES" sz="1100">
              <a:solidFill>
                <a:schemeClr val="bg1"/>
              </a:solidFill>
            </a:endParaRPr>
          </a:p>
        </p:txBody>
      </p:sp>
      <p:sp>
        <p:nvSpPr>
          <p:cNvPr id="25" name="Rectangle 24">
            <a:extLst>
              <a:ext uri="{FF2B5EF4-FFF2-40B4-BE49-F238E27FC236}">
                <a16:creationId xmlns:a16="http://schemas.microsoft.com/office/drawing/2014/main" id="{1A5223CF-98CF-4307-981B-22F493AB2909}"/>
              </a:ext>
            </a:extLst>
          </p:cNvPr>
          <p:cNvSpPr/>
          <p:nvPr/>
        </p:nvSpPr>
        <p:spPr bwMode="gray">
          <a:xfrm>
            <a:off x="7826460" y="4052689"/>
            <a:ext cx="1609344" cy="1792642"/>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pPr>
            <a:r>
              <a:rPr lang="es-ES" sz="1200">
                <a:ln w="0"/>
                <a:solidFill>
                  <a:schemeClr val="tx1"/>
                </a:solidFill>
              </a:rPr>
              <a:t>Ejecutar las pruebas de integración e informar los resultados</a:t>
            </a:r>
          </a:p>
        </p:txBody>
      </p:sp>
      <p:sp>
        <p:nvSpPr>
          <p:cNvPr id="26" name="Rectangle 25">
            <a:extLst>
              <a:ext uri="{FF2B5EF4-FFF2-40B4-BE49-F238E27FC236}">
                <a16:creationId xmlns:a16="http://schemas.microsoft.com/office/drawing/2014/main" id="{1D2A4C17-FA0A-4C84-90A8-F0F69C370458}"/>
              </a:ext>
            </a:extLst>
          </p:cNvPr>
          <p:cNvSpPr/>
          <p:nvPr/>
        </p:nvSpPr>
        <p:spPr bwMode="gray">
          <a:xfrm>
            <a:off x="7826460" y="3389412"/>
            <a:ext cx="1609344" cy="663277"/>
          </a:xfrm>
          <a:prstGeom prst="rect">
            <a:avLst/>
          </a:prstGeom>
          <a:ln>
            <a:solidFill>
              <a:srgbClr val="0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600">
                <a:effectLst/>
                <a:latin typeface="Calibri" panose="020F0502020204030204" pitchFamily="34" charset="0"/>
                <a:ea typeface="Calibri" panose="020F0502020204030204" pitchFamily="34" charset="0"/>
                <a:cs typeface="Times New Roman" panose="02020603050405020304" pitchFamily="18" charset="0"/>
              </a:rPr>
              <a:t>Prueba de integración</a:t>
            </a:r>
            <a:endParaRPr lang="es-ES" sz="1050">
              <a:solidFill>
                <a:schemeClr val="bg1"/>
              </a:solidFill>
            </a:endParaRPr>
          </a:p>
        </p:txBody>
      </p:sp>
      <p:sp>
        <p:nvSpPr>
          <p:cNvPr id="27" name="Rectangle 26">
            <a:extLst>
              <a:ext uri="{FF2B5EF4-FFF2-40B4-BE49-F238E27FC236}">
                <a16:creationId xmlns:a16="http://schemas.microsoft.com/office/drawing/2014/main" id="{872EE026-1BD7-4401-8095-EF703A8CA7BE}"/>
              </a:ext>
            </a:extLst>
          </p:cNvPr>
          <p:cNvSpPr/>
          <p:nvPr/>
        </p:nvSpPr>
        <p:spPr bwMode="gray">
          <a:xfrm>
            <a:off x="9646830" y="4052689"/>
            <a:ext cx="1609344" cy="1792642"/>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pPr>
            <a:r>
              <a:rPr lang="es-ES" sz="1200">
                <a:ln w="0"/>
                <a:solidFill>
                  <a:schemeClr val="tx1"/>
                </a:solidFill>
              </a:rPr>
              <a:t>Publicar el estado de todas estas actividades en un lugar visible para el público</a:t>
            </a:r>
          </a:p>
        </p:txBody>
      </p:sp>
      <p:sp>
        <p:nvSpPr>
          <p:cNvPr id="29" name="Rectangle 28">
            <a:extLst>
              <a:ext uri="{FF2B5EF4-FFF2-40B4-BE49-F238E27FC236}">
                <a16:creationId xmlns:a16="http://schemas.microsoft.com/office/drawing/2014/main" id="{BE75AAE6-6957-4866-8DB3-14CBD45176DC}"/>
              </a:ext>
            </a:extLst>
          </p:cNvPr>
          <p:cNvSpPr/>
          <p:nvPr/>
        </p:nvSpPr>
        <p:spPr bwMode="gray">
          <a:xfrm>
            <a:off x="9646830" y="3389412"/>
            <a:ext cx="1609344" cy="663277"/>
          </a:xfrm>
          <a:prstGeom prst="rect">
            <a:avLst/>
          </a:prstGeom>
          <a:ln>
            <a:solidFill>
              <a:srgbClr val="0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800">
                <a:effectLst/>
                <a:latin typeface="Calibri" panose="020F0502020204030204" pitchFamily="34" charset="0"/>
                <a:ea typeface="Calibri" panose="020F0502020204030204" pitchFamily="34" charset="0"/>
                <a:cs typeface="Times New Roman" panose="02020603050405020304" pitchFamily="18" charset="0"/>
              </a:rPr>
              <a:t>Informe</a:t>
            </a:r>
            <a:endParaRPr lang="es-ES" sz="1100">
              <a:solidFill>
                <a:schemeClr val="bg1"/>
              </a:solidFill>
            </a:endParaRPr>
          </a:p>
        </p:txBody>
      </p:sp>
      <p:sp>
        <p:nvSpPr>
          <p:cNvPr id="3" name="Rectangle: Rounded Corners 2">
            <a:extLst>
              <a:ext uri="{FF2B5EF4-FFF2-40B4-BE49-F238E27FC236}">
                <a16:creationId xmlns:a16="http://schemas.microsoft.com/office/drawing/2014/main" id="{8B0DBCE2-1234-4D8C-2E3F-FF08598902D2}"/>
              </a:ext>
            </a:extLst>
          </p:cNvPr>
          <p:cNvSpPr/>
          <p:nvPr/>
        </p:nvSpPr>
        <p:spPr bwMode="gray">
          <a:xfrm>
            <a:off x="427536" y="1663155"/>
            <a:ext cx="3472660"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4. Integración continua</a:t>
            </a:r>
          </a:p>
        </p:txBody>
      </p:sp>
    </p:spTree>
    <p:extLst>
      <p:ext uri="{BB962C8B-B14F-4D97-AF65-F5344CB8AC3E}">
        <p14:creationId xmlns:p14="http://schemas.microsoft.com/office/powerpoint/2010/main" val="426013594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25" name="Rectangle 3"/>
          <p:cNvSpPr>
            <a:spLocks noGrp="1"/>
          </p:cNvSpPr>
          <p:nvPr>
            <p:ph idx="4294967295"/>
          </p:nvPr>
        </p:nvSpPr>
        <p:spPr>
          <a:xfrm>
            <a:off x="883283" y="1503730"/>
            <a:ext cx="9946641" cy="4768540"/>
          </a:xfrm>
        </p:spPr>
        <p:txBody>
          <a:bodyPr lIns="91440" tIns="45720" rIns="91440" bIns="45720"/>
          <a:lstStyle/>
          <a:p>
            <a:pPr marL="269875" lvl="1">
              <a:lnSpc>
                <a:spcPct val="150000"/>
              </a:lnSpc>
              <a:spcAft>
                <a:spcPts val="25"/>
              </a:spcAft>
            </a:pPr>
            <a:r>
              <a:rPr lang="es-ES" altLang="en-US" sz="1800">
                <a:solidFill>
                  <a:schemeClr val="accent1"/>
                </a:solidFill>
                <a:latin typeface="Verdana" pitchFamily="34" charset="0"/>
                <a:ea typeface="Arial" pitchFamily="34" charset="0"/>
                <a:cs typeface="Verdana" pitchFamily="34" charset="0"/>
              </a:rPr>
              <a:t>TEMA</a:t>
            </a:r>
            <a:r>
              <a:rPr lang="en-GB" altLang="en-US" sz="1800">
                <a:solidFill>
                  <a:schemeClr val="accent1"/>
                </a:solidFill>
                <a:latin typeface="Verdana" pitchFamily="34" charset="0"/>
                <a:ea typeface="Arial" pitchFamily="34" charset="0"/>
                <a:cs typeface="Verdana" pitchFamily="34" charset="0"/>
              </a:rPr>
              <a:t> 1: Desarrollo Ágil de Software</a:t>
            </a:r>
          </a:p>
          <a:p>
            <a:pPr marL="269875" lvl="1">
              <a:lnSpc>
                <a:spcPct val="150000"/>
              </a:lnSpc>
              <a:spcAft>
                <a:spcPts val="25"/>
              </a:spcAft>
            </a:pPr>
            <a:r>
              <a:rPr lang="en-GB" altLang="en-US" sz="1400">
                <a:solidFill>
                  <a:srgbClr val="2C5234"/>
                </a:solidFill>
                <a:latin typeface="Verdana" pitchFamily="34" charset="0"/>
                <a:ea typeface="Arial" pitchFamily="34" charset="0"/>
                <a:cs typeface="Verdana" pitchFamily="34" charset="0"/>
              </a:rPr>
              <a:t>      1.1 </a:t>
            </a:r>
            <a:r>
              <a:rPr lang="es-ES" altLang="en-US" sz="1400">
                <a:solidFill>
                  <a:srgbClr val="2C5234"/>
                </a:solidFill>
                <a:latin typeface="Verdana" pitchFamily="34" charset="0"/>
                <a:ea typeface="Arial" pitchFamily="34" charset="0"/>
                <a:cs typeface="Verdana" pitchFamily="34" charset="0"/>
              </a:rPr>
              <a:t>Fundamentos</a:t>
            </a:r>
            <a:r>
              <a:rPr lang="en-GB" altLang="en-US" sz="1400">
                <a:solidFill>
                  <a:srgbClr val="2C5234"/>
                </a:solidFill>
                <a:latin typeface="Verdana" pitchFamily="34" charset="0"/>
                <a:ea typeface="Arial" pitchFamily="34" charset="0"/>
                <a:cs typeface="Verdana" pitchFamily="34" charset="0"/>
              </a:rPr>
              <a:t> de Desarrollo Ágil de Software</a:t>
            </a:r>
          </a:p>
          <a:p>
            <a:pPr marL="269875" lvl="1">
              <a:lnSpc>
                <a:spcPct val="150000"/>
              </a:lnSpc>
              <a:spcAft>
                <a:spcPts val="25"/>
              </a:spcAft>
            </a:pPr>
            <a:r>
              <a:rPr lang="en-GB" altLang="en-US" sz="1400">
                <a:solidFill>
                  <a:srgbClr val="2C5234"/>
                </a:solidFill>
                <a:latin typeface="Verdana" pitchFamily="34" charset="0"/>
                <a:ea typeface="Arial" pitchFamily="34" charset="0"/>
                <a:cs typeface="Verdana" pitchFamily="34" charset="0"/>
              </a:rPr>
              <a:t>      1.2 </a:t>
            </a:r>
            <a:r>
              <a:rPr lang="es-ES" altLang="en-US" sz="1400">
                <a:solidFill>
                  <a:srgbClr val="2C5234"/>
                </a:solidFill>
                <a:latin typeface="Verdana" pitchFamily="34" charset="0"/>
                <a:ea typeface="Arial" pitchFamily="34" charset="0"/>
                <a:cs typeface="Verdana" pitchFamily="34" charset="0"/>
              </a:rPr>
              <a:t>Características</a:t>
            </a:r>
            <a:r>
              <a:rPr lang="en-GB" altLang="en-US" sz="1400">
                <a:solidFill>
                  <a:srgbClr val="2C5234"/>
                </a:solidFill>
                <a:latin typeface="Verdana" pitchFamily="34" charset="0"/>
                <a:ea typeface="Arial" pitchFamily="34" charset="0"/>
                <a:cs typeface="Verdana" pitchFamily="34" charset="0"/>
              </a:rPr>
              <a:t> de los </a:t>
            </a:r>
            <a:r>
              <a:rPr lang="es-ES" altLang="en-US" sz="1400">
                <a:solidFill>
                  <a:srgbClr val="2C5234"/>
                </a:solidFill>
                <a:latin typeface="Verdana" pitchFamily="34" charset="0"/>
                <a:ea typeface="Arial" pitchFamily="34" charset="0"/>
                <a:cs typeface="Verdana" pitchFamily="34" charset="0"/>
              </a:rPr>
              <a:t>Enfoques</a:t>
            </a:r>
            <a:r>
              <a:rPr lang="en-GB" altLang="en-US" sz="1400">
                <a:solidFill>
                  <a:srgbClr val="2C5234"/>
                </a:solidFill>
                <a:latin typeface="Verdana" pitchFamily="34" charset="0"/>
                <a:ea typeface="Arial" pitchFamily="34" charset="0"/>
                <a:cs typeface="Verdana" pitchFamily="34" charset="0"/>
              </a:rPr>
              <a:t> </a:t>
            </a:r>
            <a:r>
              <a:rPr lang="es-ES" altLang="en-US" sz="1400">
                <a:solidFill>
                  <a:srgbClr val="2C5234"/>
                </a:solidFill>
                <a:latin typeface="Verdana" pitchFamily="34" charset="0"/>
                <a:ea typeface="Arial" pitchFamily="34" charset="0"/>
                <a:cs typeface="Verdana" pitchFamily="34" charset="0"/>
              </a:rPr>
              <a:t>Ágiles</a:t>
            </a:r>
          </a:p>
          <a:p>
            <a:pPr marL="269875" lvl="1">
              <a:lnSpc>
                <a:spcPct val="150000"/>
              </a:lnSpc>
              <a:spcAft>
                <a:spcPts val="25"/>
              </a:spcAft>
            </a:pPr>
            <a:endParaRPr lang="es-ES" altLang="en-US">
              <a:solidFill>
                <a:srgbClr val="2C5234"/>
              </a:solidFill>
              <a:latin typeface="Verdana" pitchFamily="34" charset="0"/>
              <a:ea typeface="Arial" pitchFamily="34" charset="0"/>
              <a:cs typeface="Verdana" pitchFamily="34" charset="0"/>
            </a:endParaRPr>
          </a:p>
          <a:p>
            <a:pPr marL="269875" lvl="1">
              <a:lnSpc>
                <a:spcPct val="150000"/>
              </a:lnSpc>
              <a:spcAft>
                <a:spcPts val="25"/>
              </a:spcAft>
            </a:pPr>
            <a:r>
              <a:rPr lang="es-ES" altLang="en-US" sz="1800">
                <a:solidFill>
                  <a:schemeClr val="accent1"/>
                </a:solidFill>
                <a:latin typeface="Verdana" pitchFamily="34" charset="0"/>
              </a:rPr>
              <a:t>TEMA</a:t>
            </a:r>
            <a:r>
              <a:rPr lang="en-GB" altLang="en-US" sz="1800">
                <a:solidFill>
                  <a:schemeClr val="accent1"/>
                </a:solidFill>
                <a:latin typeface="Verdana" pitchFamily="34" charset="0"/>
              </a:rPr>
              <a:t> 2: </a:t>
            </a:r>
            <a:r>
              <a:rPr lang="es-ES" altLang="en-US" sz="1800">
                <a:solidFill>
                  <a:schemeClr val="accent1"/>
                </a:solidFill>
                <a:latin typeface="Verdana" pitchFamily="34" charset="0"/>
              </a:rPr>
              <a:t>Principios, Prácticas y Procesos Fundamentales de Prueba Ágil</a:t>
            </a:r>
          </a:p>
          <a:p>
            <a:pPr marL="269875" lvl="1">
              <a:lnSpc>
                <a:spcPct val="150000"/>
              </a:lnSpc>
              <a:spcAft>
                <a:spcPts val="25"/>
              </a:spcAft>
            </a:pPr>
            <a:r>
              <a:rPr lang="es-ES" altLang="en-US" sz="1400">
                <a:solidFill>
                  <a:srgbClr val="2C5234"/>
                </a:solidFill>
                <a:latin typeface="Verdana" pitchFamily="34" charset="0"/>
                <a:ea typeface="Arial" pitchFamily="34" charset="0"/>
                <a:cs typeface="Verdana" pitchFamily="34" charset="0"/>
              </a:rPr>
              <a:t>      2.1 Las Diferencias entre Probar en Enfoques Tradicionales y Ágiles</a:t>
            </a:r>
          </a:p>
          <a:p>
            <a:pPr marL="269875" lvl="1">
              <a:lnSpc>
                <a:spcPct val="150000"/>
              </a:lnSpc>
              <a:spcAft>
                <a:spcPts val="25"/>
              </a:spcAft>
            </a:pPr>
            <a:r>
              <a:rPr lang="es-ES" altLang="en-US" sz="1400">
                <a:solidFill>
                  <a:srgbClr val="2C5234"/>
                </a:solidFill>
                <a:latin typeface="Verdana" pitchFamily="34" charset="0"/>
                <a:ea typeface="Arial" pitchFamily="34" charset="0"/>
                <a:cs typeface="Verdana" pitchFamily="34" charset="0"/>
              </a:rPr>
              <a:t>      2.2 Situación de la Prueba en Proyectos Ágiles</a:t>
            </a:r>
          </a:p>
          <a:p>
            <a:pPr marL="269875" lvl="1">
              <a:lnSpc>
                <a:spcPct val="150000"/>
              </a:lnSpc>
              <a:spcAft>
                <a:spcPts val="25"/>
              </a:spcAft>
            </a:pPr>
            <a:r>
              <a:rPr lang="es-ES" altLang="en-US" sz="1400">
                <a:solidFill>
                  <a:srgbClr val="2C5234"/>
                </a:solidFill>
                <a:latin typeface="Verdana" pitchFamily="34" charset="0"/>
                <a:ea typeface="Arial" pitchFamily="34" charset="0"/>
                <a:cs typeface="Verdana" pitchFamily="34" charset="0"/>
              </a:rPr>
              <a:t>      2.3 Rol y Competencias de un Probador en un Equipo Ágil</a:t>
            </a:r>
          </a:p>
          <a:p>
            <a:pPr marL="269875" lvl="1">
              <a:lnSpc>
                <a:spcPct val="150000"/>
              </a:lnSpc>
              <a:spcAft>
                <a:spcPts val="25"/>
              </a:spcAft>
            </a:pPr>
            <a:endParaRPr lang="es-ES" altLang="en-US">
              <a:solidFill>
                <a:srgbClr val="2C5234"/>
              </a:solidFill>
              <a:latin typeface="Verdana" pitchFamily="34" charset="0"/>
              <a:ea typeface="Arial" pitchFamily="34" charset="0"/>
              <a:cs typeface="Verdana" pitchFamily="34" charset="0"/>
            </a:endParaRPr>
          </a:p>
          <a:p>
            <a:pPr marL="269875" lvl="1">
              <a:lnSpc>
                <a:spcPct val="150000"/>
              </a:lnSpc>
              <a:spcAft>
                <a:spcPts val="25"/>
              </a:spcAft>
            </a:pPr>
            <a:r>
              <a:rPr lang="es-ES" altLang="en-US" sz="1800">
                <a:solidFill>
                  <a:schemeClr val="accent1"/>
                </a:solidFill>
                <a:latin typeface="Verdana" pitchFamily="34" charset="0"/>
              </a:rPr>
              <a:t>TEMA 3: Métodos, Técnicas y Herramientas de Prueba Ágiles</a:t>
            </a:r>
          </a:p>
          <a:p>
            <a:pPr marL="269875" lvl="1">
              <a:lnSpc>
                <a:spcPct val="150000"/>
              </a:lnSpc>
              <a:spcAft>
                <a:spcPts val="25"/>
              </a:spcAft>
            </a:pPr>
            <a:r>
              <a:rPr lang="es-ES" altLang="en-US" sz="1400">
                <a:solidFill>
                  <a:srgbClr val="2C5234"/>
                </a:solidFill>
                <a:latin typeface="Verdana" pitchFamily="34" charset="0"/>
                <a:ea typeface="Arial" pitchFamily="34" charset="0"/>
                <a:cs typeface="Verdana" pitchFamily="34" charset="0"/>
              </a:rPr>
              <a:t>      3.1 Método de Prueba Ágil</a:t>
            </a:r>
          </a:p>
          <a:p>
            <a:pPr marL="269875" lvl="1">
              <a:lnSpc>
                <a:spcPct val="150000"/>
              </a:lnSpc>
              <a:spcAft>
                <a:spcPts val="25"/>
              </a:spcAft>
            </a:pPr>
            <a:r>
              <a:rPr lang="es-ES" altLang="en-US" sz="1400">
                <a:solidFill>
                  <a:srgbClr val="2C5234"/>
                </a:solidFill>
                <a:latin typeface="Verdana" pitchFamily="34" charset="0"/>
                <a:ea typeface="Arial" pitchFamily="34" charset="0"/>
                <a:cs typeface="Verdana" pitchFamily="34" charset="0"/>
              </a:rPr>
              <a:t>      3.2 Evaluación de los Riesgos de Calidad y Estimación del Esfuerzo de Prueba</a:t>
            </a:r>
          </a:p>
          <a:p>
            <a:pPr marL="269875" lvl="1">
              <a:lnSpc>
                <a:spcPct val="150000"/>
              </a:lnSpc>
              <a:spcAft>
                <a:spcPts val="25"/>
              </a:spcAft>
            </a:pPr>
            <a:r>
              <a:rPr lang="es-ES" altLang="en-US" sz="1400">
                <a:solidFill>
                  <a:srgbClr val="2C5234"/>
                </a:solidFill>
                <a:latin typeface="Verdana" pitchFamily="34" charset="0"/>
                <a:ea typeface="Arial" pitchFamily="34" charset="0"/>
                <a:cs typeface="Verdana" pitchFamily="34" charset="0"/>
              </a:rPr>
              <a:t>      3.3 Técnicas en Proyectos Ágiles</a:t>
            </a:r>
          </a:p>
          <a:p>
            <a:pPr marL="269875" lvl="1">
              <a:lnSpc>
                <a:spcPct val="150000"/>
              </a:lnSpc>
              <a:spcAft>
                <a:spcPts val="25"/>
              </a:spcAft>
            </a:pPr>
            <a:r>
              <a:rPr lang="es-ES" altLang="en-US" sz="1400">
                <a:solidFill>
                  <a:srgbClr val="2C5234"/>
                </a:solidFill>
                <a:latin typeface="Verdana" pitchFamily="34" charset="0"/>
                <a:ea typeface="Arial" pitchFamily="34" charset="0"/>
                <a:cs typeface="Verdana" pitchFamily="34" charset="0"/>
              </a:rPr>
              <a:t>      3.4 Herramientas en Proyectos Ágiles</a:t>
            </a:r>
            <a:endParaRPr lang="en-GB" altLang="en-US" sz="1400">
              <a:solidFill>
                <a:srgbClr val="2C5234"/>
              </a:solidFill>
              <a:latin typeface="Verdana" pitchFamily="34" charset="0"/>
              <a:ea typeface="Arial" pitchFamily="34" charset="0"/>
              <a:cs typeface="Verdana" pitchFamily="34" charset="0"/>
            </a:endParaRPr>
          </a:p>
        </p:txBody>
      </p:sp>
      <p:cxnSp>
        <p:nvCxnSpPr>
          <p:cNvPr id="28" name="Straight Connector 27"/>
          <p:cNvCxnSpPr/>
          <p:nvPr/>
        </p:nvCxnSpPr>
        <p:spPr>
          <a:xfrm>
            <a:off x="469900" y="138988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7" name="Picture 2" descr="http://www.prettygoodtesting.com/users/image/ISTQB_Logo.jpg">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Resultado de imagen de logo deloitte"/>
          <p:cNvPicPr>
            <a:picLocks noChangeAspect="1" noChangeArrowheads="1"/>
          </p:cNvPicPr>
          <p:nvPr/>
        </p:nvPicPr>
        <p:blipFill rotWithShape="1">
          <a:blip r:embed="rId4">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4BBF731-C4BE-274E-BE7E-BA76C2FF987C}"/>
              </a:ext>
            </a:extLst>
          </p:cNvPr>
          <p:cNvSpPr/>
          <p:nvPr/>
        </p:nvSpPr>
        <p:spPr>
          <a:xfrm>
            <a:off x="155575" y="1022485"/>
            <a:ext cx="1313180"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ÍNDICE</a:t>
            </a:r>
          </a:p>
        </p:txBody>
      </p:sp>
    </p:spTree>
    <p:extLst>
      <p:ext uri="{BB962C8B-B14F-4D97-AF65-F5344CB8AC3E}">
        <p14:creationId xmlns:p14="http://schemas.microsoft.com/office/powerpoint/2010/main" val="325841266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3" name="Rectangle: Rounded Corners 2">
            <a:extLst>
              <a:ext uri="{FF2B5EF4-FFF2-40B4-BE49-F238E27FC236}">
                <a16:creationId xmlns:a16="http://schemas.microsoft.com/office/drawing/2014/main" id="{0C803437-D1C4-8B34-AAFD-E8F4F53E23F3}"/>
              </a:ext>
            </a:extLst>
          </p:cNvPr>
          <p:cNvSpPr/>
          <p:nvPr/>
        </p:nvSpPr>
        <p:spPr bwMode="gray">
          <a:xfrm>
            <a:off x="427536" y="1663155"/>
            <a:ext cx="3472660"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4. Integración continua</a:t>
            </a:r>
          </a:p>
        </p:txBody>
      </p:sp>
      <p:sp>
        <p:nvSpPr>
          <p:cNvPr id="7" name="TextBox 6">
            <a:extLst>
              <a:ext uri="{FF2B5EF4-FFF2-40B4-BE49-F238E27FC236}">
                <a16:creationId xmlns:a16="http://schemas.microsoft.com/office/drawing/2014/main" id="{3F0DD43B-B56D-25CB-BF1B-A956873BA813}"/>
              </a:ext>
            </a:extLst>
          </p:cNvPr>
          <p:cNvSpPr txBox="1"/>
          <p:nvPr/>
        </p:nvSpPr>
        <p:spPr>
          <a:xfrm>
            <a:off x="514288" y="2969234"/>
            <a:ext cx="7188298" cy="3170099"/>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Permite detectar y analizar </a:t>
            </a:r>
            <a:r>
              <a:rPr lang="es-ES" sz="1400" b="1">
                <a:latin typeface="+mj-lt"/>
                <a:ea typeface="Calibri" panose="020F0502020204030204" pitchFamily="34" charset="0"/>
                <a:cs typeface="Times New Roman" panose="02020603050405020304" pitchFamily="18" charset="0"/>
              </a:rPr>
              <a:t>problemas de integración.</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Aporta </a:t>
            </a:r>
            <a:r>
              <a:rPr lang="es-ES" sz="1400" b="1">
                <a:latin typeface="+mj-lt"/>
                <a:ea typeface="Calibri" panose="020F0502020204030204" pitchFamily="34" charset="0"/>
                <a:cs typeface="Times New Roman" panose="02020603050405020304" pitchFamily="18" charset="0"/>
              </a:rPr>
              <a:t>retroalimentación rápida </a:t>
            </a:r>
            <a:r>
              <a:rPr lang="es-ES" sz="1400">
                <a:latin typeface="+mj-lt"/>
                <a:ea typeface="Calibri" panose="020F0502020204030204" pitchFamily="34" charset="0"/>
                <a:cs typeface="Times New Roman" panose="02020603050405020304" pitchFamily="18" charset="0"/>
              </a:rPr>
              <a:t>sobre el código.</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1 día de diferencia entre el software que se prueba y el que se desarrolla.</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Reduce el </a:t>
            </a:r>
            <a:r>
              <a:rPr lang="es-ES" sz="1400" b="1">
                <a:latin typeface="+mj-lt"/>
                <a:ea typeface="Calibri" panose="020F0502020204030204" pitchFamily="34" charset="0"/>
                <a:cs typeface="Times New Roman" panose="02020603050405020304" pitchFamily="18" charset="0"/>
              </a:rPr>
              <a:t>riesgo de regresión</a:t>
            </a:r>
            <a:r>
              <a:rPr lang="es-ES" sz="1400">
                <a:latin typeface="+mj-lt"/>
                <a:ea typeface="Calibri" panose="020F0502020204030204" pitchFamily="34" charset="0"/>
                <a:cs typeface="Times New Roman" panose="02020603050405020304" pitchFamily="18" charset="0"/>
              </a:rPr>
              <a:t> asociado a la refactorización del código.</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Aporta </a:t>
            </a:r>
            <a:r>
              <a:rPr lang="es-ES" sz="1400" b="1">
                <a:effectLst/>
                <a:latin typeface="+mj-lt"/>
                <a:ea typeface="Calibri" panose="020F0502020204030204" pitchFamily="34" charset="0"/>
                <a:cs typeface="Times New Roman" panose="02020603050405020304" pitchFamily="18" charset="0"/>
              </a:rPr>
              <a:t>confianza </a:t>
            </a:r>
            <a:r>
              <a:rPr lang="es-ES" sz="1400">
                <a:effectLst/>
                <a:latin typeface="+mj-lt"/>
                <a:ea typeface="Calibri" panose="020F0502020204030204" pitchFamily="34" charset="0"/>
                <a:cs typeface="Times New Roman" panose="02020603050405020304" pitchFamily="18" charset="0"/>
              </a:rPr>
              <a:t>sobre el desarrollo.</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Hace visible el </a:t>
            </a:r>
            <a:r>
              <a:rPr lang="es-ES" sz="1400" b="1">
                <a:latin typeface="+mj-lt"/>
                <a:ea typeface="Calibri" panose="020F0502020204030204" pitchFamily="34" charset="0"/>
                <a:cs typeface="Times New Roman" panose="02020603050405020304" pitchFamily="18" charset="0"/>
              </a:rPr>
              <a:t>progreso </a:t>
            </a:r>
            <a:r>
              <a:rPr lang="es-ES" sz="1400">
                <a:latin typeface="+mj-lt"/>
                <a:ea typeface="Calibri" panose="020F0502020204030204" pitchFamily="34" charset="0"/>
                <a:cs typeface="Times New Roman" panose="02020603050405020304" pitchFamily="18" charset="0"/>
              </a:rPr>
              <a:t>a todo el equipo.</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Elimina riesgos de calendario asociados a la </a:t>
            </a:r>
            <a:r>
              <a:rPr lang="es-ES" sz="1400" b="1">
                <a:effectLst/>
                <a:latin typeface="+mj-lt"/>
                <a:ea typeface="Calibri" panose="020F0502020204030204" pitchFamily="34" charset="0"/>
                <a:cs typeface="Times New Roman" panose="02020603050405020304" pitchFamily="18" charset="0"/>
              </a:rPr>
              <a:t>integración </a:t>
            </a:r>
            <a:r>
              <a:rPr lang="es-ES" sz="1400" b="1" i="1" err="1">
                <a:effectLst/>
                <a:latin typeface="+mj-lt"/>
                <a:ea typeface="Calibri" panose="020F0502020204030204" pitchFamily="34" charset="0"/>
                <a:cs typeface="Times New Roman" panose="02020603050405020304" pitchFamily="18" charset="0"/>
              </a:rPr>
              <a:t>big</a:t>
            </a:r>
            <a:r>
              <a:rPr lang="es-ES" sz="1400" b="1" i="1">
                <a:effectLst/>
                <a:latin typeface="+mj-lt"/>
                <a:ea typeface="Calibri" panose="020F0502020204030204" pitchFamily="34" charset="0"/>
                <a:cs typeface="Times New Roman" panose="02020603050405020304" pitchFamily="18" charset="0"/>
              </a:rPr>
              <a:t> </a:t>
            </a:r>
            <a:r>
              <a:rPr lang="es-ES" sz="1400" b="1" i="1" err="1">
                <a:effectLst/>
                <a:latin typeface="+mj-lt"/>
                <a:ea typeface="Calibri" panose="020F0502020204030204" pitchFamily="34" charset="0"/>
                <a:cs typeface="Times New Roman" panose="02020603050405020304" pitchFamily="18" charset="0"/>
              </a:rPr>
              <a:t>bang</a:t>
            </a:r>
            <a:r>
              <a:rPr lang="es-ES" sz="1400" b="1" i="1">
                <a:effectLst/>
                <a:latin typeface="+mj-lt"/>
                <a:ea typeface="Calibri" panose="020F0502020204030204" pitchFamily="34" charset="0"/>
                <a:cs typeface="Times New Roman" panose="02020603050405020304" pitchFamily="18" charset="0"/>
              </a:rPr>
              <a:t>.</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Aporta disponibilidad constante de software durante todo el sprint.</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Reduce las </a:t>
            </a:r>
            <a:r>
              <a:rPr lang="es-ES" sz="1400" b="1">
                <a:latin typeface="+mj-lt"/>
                <a:ea typeface="Calibri" panose="020F0502020204030204" pitchFamily="34" charset="0"/>
                <a:cs typeface="Times New Roman" panose="02020603050405020304" pitchFamily="18" charset="0"/>
              </a:rPr>
              <a:t>pruebas manuales.</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Apo</a:t>
            </a:r>
            <a:r>
              <a:rPr lang="es-ES" sz="1400">
                <a:latin typeface="+mj-lt"/>
                <a:ea typeface="Calibri" panose="020F0502020204030204" pitchFamily="34" charset="0"/>
                <a:cs typeface="Times New Roman" panose="02020603050405020304" pitchFamily="18" charset="0"/>
              </a:rPr>
              <a:t>rta </a:t>
            </a:r>
            <a:r>
              <a:rPr lang="es-ES" sz="1400" b="1">
                <a:latin typeface="+mj-lt"/>
                <a:ea typeface="Calibri" panose="020F0502020204030204" pitchFamily="34" charset="0"/>
                <a:cs typeface="Times New Roman" panose="02020603050405020304" pitchFamily="18" charset="0"/>
              </a:rPr>
              <a:t>retroalimentación rápida</a:t>
            </a:r>
            <a:r>
              <a:rPr lang="es-ES" sz="1400">
                <a:latin typeface="+mj-lt"/>
                <a:ea typeface="Calibri" panose="020F0502020204030204" pitchFamily="34" charset="0"/>
                <a:cs typeface="Times New Roman" panose="02020603050405020304" pitchFamily="18" charset="0"/>
              </a:rPr>
              <a:t> sobre las decisiones tomadas.</a:t>
            </a:r>
            <a:endParaRPr lang="es-ES" sz="1400">
              <a:effectLst/>
              <a:latin typeface="+mj-lt"/>
              <a:ea typeface="Calibri" panose="020F0502020204030204" pitchFamily="34" charset="0"/>
              <a:cs typeface="Times New Roman" panose="02020603050405020304" pitchFamily="18" charset="0"/>
            </a:endParaRPr>
          </a:p>
        </p:txBody>
      </p:sp>
      <p:sp>
        <p:nvSpPr>
          <p:cNvPr id="12" name="Rectangle: Rounded Corners 11">
            <a:extLst>
              <a:ext uri="{FF2B5EF4-FFF2-40B4-BE49-F238E27FC236}">
                <a16:creationId xmlns:a16="http://schemas.microsoft.com/office/drawing/2014/main" id="{0004C614-A931-BB1E-9835-82DA2E1D0F4E}"/>
              </a:ext>
            </a:extLst>
          </p:cNvPr>
          <p:cNvSpPr/>
          <p:nvPr/>
        </p:nvSpPr>
        <p:spPr bwMode="gray">
          <a:xfrm>
            <a:off x="399892" y="2519052"/>
            <a:ext cx="7302694" cy="3797557"/>
          </a:xfrm>
          <a:prstGeom prst="roundRect">
            <a:avLst>
              <a:gd name="adj" fmla="val 9607"/>
            </a:avLst>
          </a:prstGeom>
          <a:noFill/>
          <a:ln w="254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6" name="Rectangle: Rounded Corners 15">
            <a:extLst>
              <a:ext uri="{FF2B5EF4-FFF2-40B4-BE49-F238E27FC236}">
                <a16:creationId xmlns:a16="http://schemas.microsoft.com/office/drawing/2014/main" id="{4F2E8353-9C29-581D-6B02-9CFEEF7FDC16}"/>
              </a:ext>
            </a:extLst>
          </p:cNvPr>
          <p:cNvSpPr/>
          <p:nvPr/>
        </p:nvSpPr>
        <p:spPr bwMode="gray">
          <a:xfrm>
            <a:off x="3079333" y="2197911"/>
            <a:ext cx="2105608" cy="594047"/>
          </a:xfrm>
          <a:prstGeom prst="roundRect">
            <a:avLst>
              <a:gd name="adj" fmla="val 50000"/>
            </a:avLst>
          </a:prstGeom>
          <a:solidFill>
            <a:schemeClr val="bg1"/>
          </a:solidFill>
          <a:ln w="254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a:t>       Ventajas</a:t>
            </a:r>
          </a:p>
        </p:txBody>
      </p:sp>
      <p:pic>
        <p:nvPicPr>
          <p:cNvPr id="5" name="Graphic 4" descr="Badge Tick with solid fill">
            <a:extLst>
              <a:ext uri="{FF2B5EF4-FFF2-40B4-BE49-F238E27FC236}">
                <a16:creationId xmlns:a16="http://schemas.microsoft.com/office/drawing/2014/main" id="{F7FB6F28-E41D-DB51-1E31-0C5EB9D833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93332" y="2206934"/>
            <a:ext cx="576000" cy="576000"/>
          </a:xfrm>
          <a:prstGeom prst="rect">
            <a:avLst/>
          </a:prstGeom>
        </p:spPr>
      </p:pic>
      <p:sp>
        <p:nvSpPr>
          <p:cNvPr id="17" name="Rectangle: Rounded Corners 16">
            <a:extLst>
              <a:ext uri="{FF2B5EF4-FFF2-40B4-BE49-F238E27FC236}">
                <a16:creationId xmlns:a16="http://schemas.microsoft.com/office/drawing/2014/main" id="{B3E979ED-E54D-157E-9955-B0D869544672}"/>
              </a:ext>
            </a:extLst>
          </p:cNvPr>
          <p:cNvSpPr/>
          <p:nvPr/>
        </p:nvSpPr>
        <p:spPr bwMode="gray">
          <a:xfrm>
            <a:off x="7959297" y="2519052"/>
            <a:ext cx="3832811" cy="3209942"/>
          </a:xfrm>
          <a:prstGeom prst="roundRect">
            <a:avLst>
              <a:gd name="adj" fmla="val 9607"/>
            </a:avLst>
          </a:prstGeom>
          <a:noFill/>
          <a:ln w="25400" algn="ctr">
            <a:solidFill>
              <a:srgbClr val="FFCD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8" name="Rectangle: Rounded Corners 17">
            <a:extLst>
              <a:ext uri="{FF2B5EF4-FFF2-40B4-BE49-F238E27FC236}">
                <a16:creationId xmlns:a16="http://schemas.microsoft.com/office/drawing/2014/main" id="{7FAC2516-4CA2-35AB-1C12-C809E97F0405}"/>
              </a:ext>
            </a:extLst>
          </p:cNvPr>
          <p:cNvSpPr/>
          <p:nvPr/>
        </p:nvSpPr>
        <p:spPr bwMode="gray">
          <a:xfrm>
            <a:off x="8830099" y="2206934"/>
            <a:ext cx="2105608" cy="594047"/>
          </a:xfrm>
          <a:prstGeom prst="roundRect">
            <a:avLst>
              <a:gd name="adj" fmla="val 50000"/>
            </a:avLst>
          </a:prstGeom>
          <a:solidFill>
            <a:schemeClr val="bg1"/>
          </a:solidFill>
          <a:ln w="25400" algn="ctr">
            <a:solidFill>
              <a:srgbClr val="FFCD00"/>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a:t>       Riesgos</a:t>
            </a:r>
          </a:p>
        </p:txBody>
      </p:sp>
      <p:pic>
        <p:nvPicPr>
          <p:cNvPr id="21" name="Graphic 20" descr="Radioactive with solid fill">
            <a:extLst>
              <a:ext uri="{FF2B5EF4-FFF2-40B4-BE49-F238E27FC236}">
                <a16:creationId xmlns:a16="http://schemas.microsoft.com/office/drawing/2014/main" id="{9239AFD1-83A9-381A-979E-7B3B52564C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94649" y="2257247"/>
            <a:ext cx="504000" cy="504000"/>
          </a:xfrm>
          <a:prstGeom prst="rect">
            <a:avLst/>
          </a:prstGeom>
        </p:spPr>
      </p:pic>
      <p:sp>
        <p:nvSpPr>
          <p:cNvPr id="22" name="TextBox 21">
            <a:extLst>
              <a:ext uri="{FF2B5EF4-FFF2-40B4-BE49-F238E27FC236}">
                <a16:creationId xmlns:a16="http://schemas.microsoft.com/office/drawing/2014/main" id="{A8F5CB17-33F9-D61D-1F15-0C4AD46C18DB}"/>
              </a:ext>
            </a:extLst>
          </p:cNvPr>
          <p:cNvSpPr txBox="1"/>
          <p:nvPr/>
        </p:nvSpPr>
        <p:spPr>
          <a:xfrm>
            <a:off x="8097958" y="2969234"/>
            <a:ext cx="3481331" cy="2657138"/>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Hay que introducir y mantener las herramientas.</a:t>
            </a:r>
            <a:endParaRPr lang="es-ES" sz="1400">
              <a:effectLst/>
              <a:latin typeface="+mj-lt"/>
              <a:ea typeface="Calibri" panose="020F0502020204030204" pitchFamily="34" charset="0"/>
              <a:cs typeface="Times New Roman" panose="02020603050405020304" pitchFamily="18" charset="0"/>
            </a:endParaRP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Hay que definir y establecer el proceso.</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Se requieren recursos adicionales.</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Se requiere una cobertura de prueb</a:t>
            </a:r>
            <a:r>
              <a:rPr lang="es-ES" sz="1400">
                <a:latin typeface="+mj-lt"/>
                <a:ea typeface="Calibri" panose="020F0502020204030204" pitchFamily="34" charset="0"/>
                <a:cs typeface="Times New Roman" panose="02020603050405020304" pitchFamily="18" charset="0"/>
              </a:rPr>
              <a:t>a profunda.</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Exceso de confianza en las pruebas unitarias. </a:t>
            </a:r>
          </a:p>
        </p:txBody>
      </p:sp>
    </p:spTree>
    <p:extLst>
      <p:ext uri="{BB962C8B-B14F-4D97-AF65-F5344CB8AC3E}">
        <p14:creationId xmlns:p14="http://schemas.microsoft.com/office/powerpoint/2010/main" val="2846990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30" name="TextBox 29">
            <a:extLst>
              <a:ext uri="{FF2B5EF4-FFF2-40B4-BE49-F238E27FC236}">
                <a16:creationId xmlns:a16="http://schemas.microsoft.com/office/drawing/2014/main" id="{AB9DE26F-DC7E-4569-9118-90461BDA080D}"/>
              </a:ext>
            </a:extLst>
          </p:cNvPr>
          <p:cNvSpPr txBox="1"/>
          <p:nvPr/>
        </p:nvSpPr>
        <p:spPr>
          <a:xfrm>
            <a:off x="399892" y="2191353"/>
            <a:ext cx="10958921" cy="523220"/>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b="1">
                <a:effectLst/>
                <a:latin typeface="+mj-lt"/>
                <a:ea typeface="Calibri" panose="020F0502020204030204" pitchFamily="34" charset="0"/>
                <a:cs typeface="Times New Roman" panose="02020603050405020304" pitchFamily="18" charset="0"/>
              </a:rPr>
              <a:t>Planificación de entrega: </a:t>
            </a:r>
            <a:r>
              <a:rPr lang="es-ES" sz="1400">
                <a:effectLst/>
                <a:latin typeface="+mj-lt"/>
                <a:ea typeface="Calibri" panose="020F0502020204030204" pitchFamily="34" charset="0"/>
                <a:cs typeface="Times New Roman" panose="02020603050405020304" pitchFamily="18" charset="0"/>
              </a:rPr>
              <a:t>se produce unos meses antes del inicio del proyecto. </a:t>
            </a:r>
            <a:r>
              <a:rPr lang="es-ES" sz="1400">
                <a:latin typeface="+mj-lt"/>
                <a:ea typeface="Calibri" panose="020F0502020204030204" pitchFamily="34" charset="0"/>
                <a:cs typeface="Times New Roman" panose="02020603050405020304" pitchFamily="18" charset="0"/>
              </a:rPr>
              <a:t>En esta etapa se define la </a:t>
            </a:r>
            <a:r>
              <a:rPr lang="es-ES" sz="1400" b="1">
                <a:latin typeface="+mj-lt"/>
                <a:ea typeface="Calibri" panose="020F0502020204030204" pitchFamily="34" charset="0"/>
                <a:cs typeface="Times New Roman" panose="02020603050405020304" pitchFamily="18" charset="0"/>
              </a:rPr>
              <a:t>lista de trabajo acumulado.</a:t>
            </a:r>
            <a:endParaRPr lang="es-ES" sz="1400" b="1">
              <a:effectLst/>
              <a:latin typeface="+mj-lt"/>
              <a:ea typeface="Calibri" panose="020F0502020204030204" pitchFamily="34" charset="0"/>
              <a:cs typeface="Times New Roman" panose="02020603050405020304" pitchFamily="18" charset="0"/>
            </a:endParaRPr>
          </a:p>
        </p:txBody>
      </p:sp>
      <p:sp>
        <p:nvSpPr>
          <p:cNvPr id="3" name="Rectangle: Rounded Corners 2">
            <a:extLst>
              <a:ext uri="{FF2B5EF4-FFF2-40B4-BE49-F238E27FC236}">
                <a16:creationId xmlns:a16="http://schemas.microsoft.com/office/drawing/2014/main" id="{240E4BEB-B94C-1D23-0029-4D1AE11B78AD}"/>
              </a:ext>
            </a:extLst>
          </p:cNvPr>
          <p:cNvSpPr/>
          <p:nvPr/>
        </p:nvSpPr>
        <p:spPr bwMode="gray">
          <a:xfrm>
            <a:off x="427536" y="1663155"/>
            <a:ext cx="5124178"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5. Planificación de entregas e iteraciones</a:t>
            </a:r>
          </a:p>
        </p:txBody>
      </p:sp>
      <p:sp>
        <p:nvSpPr>
          <p:cNvPr id="4" name="TextBox 3">
            <a:extLst>
              <a:ext uri="{FF2B5EF4-FFF2-40B4-BE49-F238E27FC236}">
                <a16:creationId xmlns:a16="http://schemas.microsoft.com/office/drawing/2014/main" id="{F2EBBFD0-557D-5EC0-B228-46AAD85BAEE6}"/>
              </a:ext>
            </a:extLst>
          </p:cNvPr>
          <p:cNvSpPr txBox="1"/>
          <p:nvPr/>
        </p:nvSpPr>
        <p:spPr>
          <a:xfrm>
            <a:off x="833187" y="3896423"/>
            <a:ext cx="2587556" cy="338554"/>
          </a:xfrm>
          <a:prstGeom prst="rect">
            <a:avLst/>
          </a:prstGeom>
          <a:noFill/>
        </p:spPr>
        <p:txBody>
          <a:bodyPr wrap="square">
            <a:spAutoFit/>
          </a:bodyPr>
          <a:lstStyle/>
          <a:p>
            <a:r>
              <a:rPr lang="es-ES" sz="1600">
                <a:latin typeface="Calibri" panose="020F0502020204030204" pitchFamily="34" charset="0"/>
                <a:cs typeface="Times New Roman" panose="02020603050405020304" pitchFamily="18" charset="0"/>
              </a:rPr>
              <a:t>Los probadores participan en</a:t>
            </a:r>
            <a:endParaRPr lang="es-ES" sz="1600" b="1">
              <a:latin typeface="Calibri" panose="020F0502020204030204" pitchFamily="34" charset="0"/>
              <a:cs typeface="Times New Roman" panose="02020603050405020304" pitchFamily="18" charset="0"/>
            </a:endParaRPr>
          </a:p>
        </p:txBody>
      </p:sp>
      <p:sp>
        <p:nvSpPr>
          <p:cNvPr id="5" name="Left Brace 4">
            <a:extLst>
              <a:ext uri="{FF2B5EF4-FFF2-40B4-BE49-F238E27FC236}">
                <a16:creationId xmlns:a16="http://schemas.microsoft.com/office/drawing/2014/main" id="{0CBB0309-6DA1-8527-DDCF-41165D187E85}"/>
              </a:ext>
            </a:extLst>
          </p:cNvPr>
          <p:cNvSpPr/>
          <p:nvPr/>
        </p:nvSpPr>
        <p:spPr>
          <a:xfrm>
            <a:off x="3600385" y="3007127"/>
            <a:ext cx="615050" cy="2187718"/>
          </a:xfrm>
          <a:prstGeom prst="leftBrace">
            <a:avLst>
              <a:gd name="adj1" fmla="val 37157"/>
              <a:gd name="adj2" fmla="val 49612"/>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7" name="TextBox 6">
            <a:extLst>
              <a:ext uri="{FF2B5EF4-FFF2-40B4-BE49-F238E27FC236}">
                <a16:creationId xmlns:a16="http://schemas.microsoft.com/office/drawing/2014/main" id="{8B8FAAFD-D4DB-7F71-7379-AA5801F0749D}"/>
              </a:ext>
            </a:extLst>
          </p:cNvPr>
          <p:cNvSpPr txBox="1"/>
          <p:nvPr/>
        </p:nvSpPr>
        <p:spPr>
          <a:xfrm>
            <a:off x="4215435" y="3171320"/>
            <a:ext cx="7143378" cy="1795363"/>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b="1">
                <a:effectLst/>
                <a:latin typeface="+mj-lt"/>
                <a:ea typeface="Calibri" panose="020F0502020204030204" pitchFamily="34" charset="0"/>
                <a:cs typeface="Times New Roman" panose="02020603050405020304" pitchFamily="18" charset="0"/>
              </a:rPr>
              <a:t>Definir historias de usuario </a:t>
            </a:r>
            <a:r>
              <a:rPr lang="es-ES" sz="1400">
                <a:effectLst/>
                <a:latin typeface="+mj-lt"/>
                <a:ea typeface="Calibri" panose="020F0502020204030204" pitchFamily="34" charset="0"/>
                <a:cs typeface="Times New Roman" panose="02020603050405020304" pitchFamily="18" charset="0"/>
              </a:rPr>
              <a:t>que puedan ser probadas, incluyendo los criterios de aceptación.</a:t>
            </a:r>
          </a:p>
          <a:p>
            <a:pPr marL="285750" indent="-285750">
              <a:spcAft>
                <a:spcPts val="800"/>
              </a:spcAft>
              <a:buFont typeface="Arial" panose="020B0604020202020204" pitchFamily="34" charset="0"/>
              <a:buChar char="•"/>
            </a:pPr>
            <a:r>
              <a:rPr lang="es-ES" sz="1400" b="1">
                <a:latin typeface="+mj-lt"/>
                <a:ea typeface="Calibri" panose="020F0502020204030204" pitchFamily="34" charset="0"/>
                <a:cs typeface="Times New Roman" panose="02020603050405020304" pitchFamily="18" charset="0"/>
              </a:rPr>
              <a:t>Análisis de riesgo </a:t>
            </a:r>
            <a:r>
              <a:rPr lang="es-ES" sz="1400">
                <a:latin typeface="+mj-lt"/>
                <a:ea typeface="Calibri" panose="020F0502020204030204" pitchFamily="34" charset="0"/>
                <a:cs typeface="Times New Roman" panose="02020603050405020304" pitchFamily="18" charset="0"/>
              </a:rPr>
              <a:t>de proyecto y de calidad.</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Estimar el </a:t>
            </a:r>
            <a:r>
              <a:rPr lang="es-ES" sz="1400" b="1">
                <a:latin typeface="+mj-lt"/>
                <a:ea typeface="Calibri" panose="020F0502020204030204" pitchFamily="34" charset="0"/>
                <a:cs typeface="Times New Roman" panose="02020603050405020304" pitchFamily="18" charset="0"/>
              </a:rPr>
              <a:t>esfuerzo de prueba </a:t>
            </a:r>
            <a:r>
              <a:rPr lang="es-ES" sz="1400">
                <a:latin typeface="+mj-lt"/>
                <a:ea typeface="Calibri" panose="020F0502020204030204" pitchFamily="34" charset="0"/>
                <a:cs typeface="Times New Roman" panose="02020603050405020304" pitchFamily="18" charset="0"/>
              </a:rPr>
              <a:t>asociado a las historias de usuario.</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Definir los </a:t>
            </a:r>
            <a:r>
              <a:rPr lang="es-ES" sz="1400" b="1">
                <a:effectLst/>
                <a:latin typeface="+mj-lt"/>
                <a:ea typeface="Calibri" panose="020F0502020204030204" pitchFamily="34" charset="0"/>
                <a:cs typeface="Times New Roman" panose="02020603050405020304" pitchFamily="18" charset="0"/>
              </a:rPr>
              <a:t>niveles de prueba </a:t>
            </a:r>
            <a:r>
              <a:rPr lang="es-ES" sz="1400">
                <a:effectLst/>
                <a:latin typeface="+mj-lt"/>
                <a:ea typeface="Calibri" panose="020F0502020204030204" pitchFamily="34" charset="0"/>
                <a:cs typeface="Times New Roman" panose="02020603050405020304" pitchFamily="18" charset="0"/>
              </a:rPr>
              <a:t>necesarios.</a:t>
            </a:r>
          </a:p>
          <a:p>
            <a:pPr marL="285750" indent="-285750">
              <a:spcAft>
                <a:spcPts val="800"/>
              </a:spcAft>
              <a:buFont typeface="Arial" panose="020B0604020202020204" pitchFamily="34" charset="0"/>
              <a:buChar char="•"/>
            </a:pPr>
            <a:r>
              <a:rPr lang="es-ES" sz="1400" b="1">
                <a:effectLst/>
                <a:latin typeface="+mj-lt"/>
                <a:ea typeface="Calibri" panose="020F0502020204030204" pitchFamily="34" charset="0"/>
                <a:cs typeface="Times New Roman" panose="02020603050405020304" pitchFamily="18" charset="0"/>
              </a:rPr>
              <a:t>Planificar la prueba </a:t>
            </a:r>
            <a:r>
              <a:rPr lang="es-ES" sz="1400">
                <a:effectLst/>
                <a:latin typeface="+mj-lt"/>
                <a:ea typeface="Calibri" panose="020F0502020204030204" pitchFamily="34" charset="0"/>
                <a:cs typeface="Times New Roman" panose="02020603050405020304" pitchFamily="18" charset="0"/>
              </a:rPr>
              <a:t>para la entrega.</a:t>
            </a:r>
            <a:endParaRPr lang="es-ES" sz="1400" b="1">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8882024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30" name="TextBox 29">
            <a:extLst>
              <a:ext uri="{FF2B5EF4-FFF2-40B4-BE49-F238E27FC236}">
                <a16:creationId xmlns:a16="http://schemas.microsoft.com/office/drawing/2014/main" id="{AB9DE26F-DC7E-4569-9118-90461BDA080D}"/>
              </a:ext>
            </a:extLst>
          </p:cNvPr>
          <p:cNvSpPr txBox="1"/>
          <p:nvPr/>
        </p:nvSpPr>
        <p:spPr>
          <a:xfrm>
            <a:off x="399892" y="2191353"/>
            <a:ext cx="10958921" cy="523220"/>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b="1">
                <a:effectLst/>
                <a:latin typeface="+mj-lt"/>
                <a:ea typeface="Calibri" panose="020F0502020204030204" pitchFamily="34" charset="0"/>
                <a:cs typeface="Times New Roman" panose="02020603050405020304" pitchFamily="18" charset="0"/>
              </a:rPr>
              <a:t>Planificación de iteración: </a:t>
            </a:r>
            <a:r>
              <a:rPr lang="es-ES" sz="1400">
                <a:effectLst/>
                <a:latin typeface="+mj-lt"/>
                <a:ea typeface="Calibri" panose="020F0502020204030204" pitchFamily="34" charset="0"/>
                <a:cs typeface="Times New Roman" panose="02020603050405020304" pitchFamily="18" charset="0"/>
              </a:rPr>
              <a:t>el equipo de desarrollo selecciona historias de usuario de la lista de trabajo acumulado y estima el esfuerzo que requiere cada una.</a:t>
            </a:r>
            <a:endParaRPr lang="es-ES" sz="1400" b="1">
              <a:effectLst/>
              <a:latin typeface="+mj-lt"/>
              <a:ea typeface="Calibri" panose="020F0502020204030204" pitchFamily="34" charset="0"/>
              <a:cs typeface="Times New Roman" panose="02020603050405020304" pitchFamily="18" charset="0"/>
            </a:endParaRPr>
          </a:p>
        </p:txBody>
      </p:sp>
      <p:sp>
        <p:nvSpPr>
          <p:cNvPr id="3" name="Rectangle: Rounded Corners 2">
            <a:extLst>
              <a:ext uri="{FF2B5EF4-FFF2-40B4-BE49-F238E27FC236}">
                <a16:creationId xmlns:a16="http://schemas.microsoft.com/office/drawing/2014/main" id="{240E4BEB-B94C-1D23-0029-4D1AE11B78AD}"/>
              </a:ext>
            </a:extLst>
          </p:cNvPr>
          <p:cNvSpPr/>
          <p:nvPr/>
        </p:nvSpPr>
        <p:spPr bwMode="gray">
          <a:xfrm>
            <a:off x="427536" y="1663155"/>
            <a:ext cx="5124178"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5. Planificación de entregas e iteraciones</a:t>
            </a:r>
          </a:p>
        </p:txBody>
      </p:sp>
      <p:sp>
        <p:nvSpPr>
          <p:cNvPr id="4" name="TextBox 3">
            <a:extLst>
              <a:ext uri="{FF2B5EF4-FFF2-40B4-BE49-F238E27FC236}">
                <a16:creationId xmlns:a16="http://schemas.microsoft.com/office/drawing/2014/main" id="{F2EBBFD0-557D-5EC0-B228-46AAD85BAEE6}"/>
              </a:ext>
            </a:extLst>
          </p:cNvPr>
          <p:cNvSpPr txBox="1"/>
          <p:nvPr/>
        </p:nvSpPr>
        <p:spPr>
          <a:xfrm>
            <a:off x="833187" y="4082152"/>
            <a:ext cx="2587556" cy="338554"/>
          </a:xfrm>
          <a:prstGeom prst="rect">
            <a:avLst/>
          </a:prstGeom>
          <a:noFill/>
        </p:spPr>
        <p:txBody>
          <a:bodyPr wrap="square">
            <a:spAutoFit/>
          </a:bodyPr>
          <a:lstStyle/>
          <a:p>
            <a:r>
              <a:rPr lang="es-ES" sz="1600">
                <a:latin typeface="Calibri" panose="020F0502020204030204" pitchFamily="34" charset="0"/>
                <a:cs typeface="Times New Roman" panose="02020603050405020304" pitchFamily="18" charset="0"/>
              </a:rPr>
              <a:t>Los probadores participan en</a:t>
            </a:r>
            <a:endParaRPr lang="es-ES" sz="1600" b="1">
              <a:latin typeface="Calibri" panose="020F0502020204030204" pitchFamily="34" charset="0"/>
              <a:cs typeface="Times New Roman" panose="02020603050405020304" pitchFamily="18" charset="0"/>
            </a:endParaRPr>
          </a:p>
        </p:txBody>
      </p:sp>
      <p:sp>
        <p:nvSpPr>
          <p:cNvPr id="5" name="Left Brace 4">
            <a:extLst>
              <a:ext uri="{FF2B5EF4-FFF2-40B4-BE49-F238E27FC236}">
                <a16:creationId xmlns:a16="http://schemas.microsoft.com/office/drawing/2014/main" id="{0CBB0309-6DA1-8527-DDCF-41165D187E85}"/>
              </a:ext>
            </a:extLst>
          </p:cNvPr>
          <p:cNvSpPr/>
          <p:nvPr/>
        </p:nvSpPr>
        <p:spPr>
          <a:xfrm>
            <a:off x="3600385" y="3007127"/>
            <a:ext cx="615050" cy="2488604"/>
          </a:xfrm>
          <a:prstGeom prst="leftBrace">
            <a:avLst>
              <a:gd name="adj1" fmla="val 37157"/>
              <a:gd name="adj2" fmla="val 49612"/>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7" name="TextBox 6">
            <a:extLst>
              <a:ext uri="{FF2B5EF4-FFF2-40B4-BE49-F238E27FC236}">
                <a16:creationId xmlns:a16="http://schemas.microsoft.com/office/drawing/2014/main" id="{8B8FAAFD-D4DB-7F71-7379-AA5801F0749D}"/>
              </a:ext>
            </a:extLst>
          </p:cNvPr>
          <p:cNvSpPr txBox="1"/>
          <p:nvPr/>
        </p:nvSpPr>
        <p:spPr>
          <a:xfrm>
            <a:off x="4215435" y="3171320"/>
            <a:ext cx="7143378" cy="2215991"/>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Análisis de riesgo detallado de las historias de usuario</a:t>
            </a:r>
            <a:r>
              <a:rPr lang="es-ES" sz="1400">
                <a:effectLst/>
                <a:latin typeface="+mj-lt"/>
                <a:ea typeface="Calibri" panose="020F0502020204030204" pitchFamily="34" charset="0"/>
                <a:cs typeface="Times New Roman" panose="02020603050405020304" pitchFamily="18" charset="0"/>
              </a:rPr>
              <a:t>.</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Determinar la capacidad de una historia de ser probada.</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Crear </a:t>
            </a:r>
            <a:r>
              <a:rPr lang="es-ES" sz="1400" b="1">
                <a:latin typeface="+mj-lt"/>
                <a:ea typeface="Calibri" panose="020F0502020204030204" pitchFamily="34" charset="0"/>
                <a:cs typeface="Times New Roman" panose="02020603050405020304" pitchFamily="18" charset="0"/>
              </a:rPr>
              <a:t>pruebas de aceptación </a:t>
            </a:r>
            <a:r>
              <a:rPr lang="es-ES" sz="1400">
                <a:latin typeface="+mj-lt"/>
                <a:ea typeface="Calibri" panose="020F0502020204030204" pitchFamily="34" charset="0"/>
                <a:cs typeface="Times New Roman" panose="02020603050405020304" pitchFamily="18" charset="0"/>
              </a:rPr>
              <a:t>para las historias de usuario.</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Descomponer las historias de usuario en </a:t>
            </a:r>
            <a:r>
              <a:rPr lang="es-ES" sz="1400" b="1">
                <a:effectLst/>
                <a:latin typeface="+mj-lt"/>
                <a:ea typeface="Calibri" panose="020F0502020204030204" pitchFamily="34" charset="0"/>
                <a:cs typeface="Times New Roman" panose="02020603050405020304" pitchFamily="18" charset="0"/>
              </a:rPr>
              <a:t>tareas</a:t>
            </a:r>
            <a:r>
              <a:rPr lang="es-ES" sz="1400">
                <a:effectLst/>
                <a:latin typeface="+mj-lt"/>
                <a:ea typeface="Calibri" panose="020F0502020204030204" pitchFamily="34" charset="0"/>
                <a:cs typeface="Times New Roman" panose="02020603050405020304" pitchFamily="18" charset="0"/>
              </a:rPr>
              <a:t>.</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Estimar el </a:t>
            </a:r>
            <a:r>
              <a:rPr lang="es-ES" sz="1400" b="1">
                <a:latin typeface="+mj-lt"/>
                <a:ea typeface="Calibri" panose="020F0502020204030204" pitchFamily="34" charset="0"/>
                <a:cs typeface="Times New Roman" panose="02020603050405020304" pitchFamily="18" charset="0"/>
              </a:rPr>
              <a:t>esfuerzo de prueba </a:t>
            </a:r>
            <a:r>
              <a:rPr lang="es-ES" sz="1400">
                <a:latin typeface="+mj-lt"/>
                <a:ea typeface="Calibri" panose="020F0502020204030204" pitchFamily="34" charset="0"/>
                <a:cs typeface="Times New Roman" panose="02020603050405020304" pitchFamily="18" charset="0"/>
              </a:rPr>
              <a:t>para todas las tareas de prueba</a:t>
            </a:r>
            <a:r>
              <a:rPr lang="es-ES" sz="1400">
                <a:effectLst/>
                <a:latin typeface="+mj-lt"/>
                <a:ea typeface="Calibri" panose="020F0502020204030204" pitchFamily="34" charset="0"/>
                <a:cs typeface="Times New Roman" panose="02020603050405020304" pitchFamily="18" charset="0"/>
              </a:rPr>
              <a:t>.</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Identi</a:t>
            </a:r>
            <a:r>
              <a:rPr lang="es-ES" sz="1400">
                <a:latin typeface="+mj-lt"/>
                <a:ea typeface="Calibri" panose="020F0502020204030204" pitchFamily="34" charset="0"/>
                <a:cs typeface="Times New Roman" panose="02020603050405020304" pitchFamily="18" charset="0"/>
              </a:rPr>
              <a:t>ficar aspectos </a:t>
            </a:r>
            <a:r>
              <a:rPr lang="es-ES" sz="1400" b="1">
                <a:latin typeface="+mj-lt"/>
                <a:ea typeface="Calibri" panose="020F0502020204030204" pitchFamily="34" charset="0"/>
                <a:cs typeface="Times New Roman" panose="02020603050405020304" pitchFamily="18" charset="0"/>
              </a:rPr>
              <a:t>funcionales y no funcionales </a:t>
            </a:r>
            <a:r>
              <a:rPr lang="es-ES" sz="1400">
                <a:latin typeface="+mj-lt"/>
                <a:ea typeface="Calibri" panose="020F0502020204030204" pitchFamily="34" charset="0"/>
                <a:cs typeface="Times New Roman" panose="02020603050405020304" pitchFamily="18" charset="0"/>
              </a:rPr>
              <a:t>del sistema.</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Apoyar la </a:t>
            </a:r>
            <a:r>
              <a:rPr lang="es-ES" sz="1400" b="1">
                <a:effectLst/>
                <a:latin typeface="+mj-lt"/>
                <a:ea typeface="Calibri" panose="020F0502020204030204" pitchFamily="34" charset="0"/>
                <a:cs typeface="Times New Roman" panose="02020603050405020304" pitchFamily="18" charset="0"/>
              </a:rPr>
              <a:t>automatización </a:t>
            </a:r>
            <a:r>
              <a:rPr lang="es-ES" sz="1400">
                <a:effectLst/>
                <a:latin typeface="+mj-lt"/>
                <a:ea typeface="Calibri" panose="020F0502020204030204" pitchFamily="34" charset="0"/>
                <a:cs typeface="Times New Roman" panose="02020603050405020304" pitchFamily="18" charset="0"/>
              </a:rPr>
              <a:t>de pruebas.</a:t>
            </a:r>
          </a:p>
        </p:txBody>
      </p:sp>
    </p:spTree>
    <p:extLst>
      <p:ext uri="{BB962C8B-B14F-4D97-AF65-F5344CB8AC3E}">
        <p14:creationId xmlns:p14="http://schemas.microsoft.com/office/powerpoint/2010/main" val="374513060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30" name="TextBox 29">
            <a:extLst>
              <a:ext uri="{FF2B5EF4-FFF2-40B4-BE49-F238E27FC236}">
                <a16:creationId xmlns:a16="http://schemas.microsoft.com/office/drawing/2014/main" id="{AB9DE26F-DC7E-4569-9118-90461BDA080D}"/>
              </a:ext>
            </a:extLst>
          </p:cNvPr>
          <p:cNvSpPr txBox="1"/>
          <p:nvPr/>
        </p:nvSpPr>
        <p:spPr>
          <a:xfrm>
            <a:off x="399892" y="2191353"/>
            <a:ext cx="10958921" cy="307777"/>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Actividades comunes en ambas planificaciones:</a:t>
            </a:r>
          </a:p>
        </p:txBody>
      </p:sp>
      <p:sp>
        <p:nvSpPr>
          <p:cNvPr id="3" name="Rectangle: Rounded Corners 2">
            <a:extLst>
              <a:ext uri="{FF2B5EF4-FFF2-40B4-BE49-F238E27FC236}">
                <a16:creationId xmlns:a16="http://schemas.microsoft.com/office/drawing/2014/main" id="{240E4BEB-B94C-1D23-0029-4D1AE11B78AD}"/>
              </a:ext>
            </a:extLst>
          </p:cNvPr>
          <p:cNvSpPr/>
          <p:nvPr/>
        </p:nvSpPr>
        <p:spPr bwMode="gray">
          <a:xfrm>
            <a:off x="427536" y="1663155"/>
            <a:ext cx="5124178"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5. Planificación de entregas e iteraciones</a:t>
            </a:r>
          </a:p>
        </p:txBody>
      </p:sp>
      <p:sp>
        <p:nvSpPr>
          <p:cNvPr id="7" name="TextBox 6">
            <a:extLst>
              <a:ext uri="{FF2B5EF4-FFF2-40B4-BE49-F238E27FC236}">
                <a16:creationId xmlns:a16="http://schemas.microsoft.com/office/drawing/2014/main" id="{8B8FAAFD-D4DB-7F71-7379-AA5801F0749D}"/>
              </a:ext>
            </a:extLst>
          </p:cNvPr>
          <p:cNvSpPr txBox="1"/>
          <p:nvPr/>
        </p:nvSpPr>
        <p:spPr>
          <a:xfrm>
            <a:off x="1045029" y="2640108"/>
            <a:ext cx="10313784" cy="1579920"/>
          </a:xfrm>
          <a:prstGeom prst="rect">
            <a:avLst/>
          </a:prstGeom>
          <a:noFill/>
        </p:spPr>
        <p:txBody>
          <a:bodyPr wrap="square">
            <a:spAutoFit/>
          </a:bodyPr>
          <a:lstStyle/>
          <a:p>
            <a:pPr marL="285750" indent="-285750">
              <a:spcAft>
                <a:spcPts val="800"/>
              </a:spcAft>
              <a:buFont typeface="Wingdings" panose="05000000000000000000" pitchFamily="2" charset="2"/>
              <a:buChar char="Ø"/>
            </a:pPr>
            <a:r>
              <a:rPr lang="es-ES" sz="1400">
                <a:effectLst/>
                <a:latin typeface="+mj-lt"/>
                <a:ea typeface="Calibri" panose="020F0502020204030204" pitchFamily="34" charset="0"/>
                <a:cs typeface="Times New Roman" panose="02020603050405020304" pitchFamily="18" charset="0"/>
              </a:rPr>
              <a:t>Definir el</a:t>
            </a:r>
            <a:r>
              <a:rPr lang="es-ES" sz="1400" b="1">
                <a:effectLst/>
                <a:latin typeface="+mj-lt"/>
                <a:ea typeface="Calibri" panose="020F0502020204030204" pitchFamily="34" charset="0"/>
                <a:cs typeface="Times New Roman" panose="02020603050405020304" pitchFamily="18" charset="0"/>
              </a:rPr>
              <a:t> alcance de la prueba.</a:t>
            </a:r>
          </a:p>
          <a:p>
            <a:pPr marL="285750" indent="-285750">
              <a:spcAft>
                <a:spcPts val="800"/>
              </a:spcAft>
              <a:buFont typeface="Wingdings" panose="05000000000000000000" pitchFamily="2" charset="2"/>
              <a:buChar char="Ø"/>
            </a:pPr>
            <a:r>
              <a:rPr lang="es-ES" sz="1400">
                <a:latin typeface="+mj-lt"/>
                <a:ea typeface="Calibri" panose="020F0502020204030204" pitchFamily="34" charset="0"/>
                <a:cs typeface="Times New Roman" panose="02020603050405020304" pitchFamily="18" charset="0"/>
              </a:rPr>
              <a:t>Seleccionar los </a:t>
            </a:r>
            <a:r>
              <a:rPr lang="es-ES" sz="1400" b="1">
                <a:latin typeface="+mj-lt"/>
                <a:ea typeface="Calibri" panose="020F0502020204030204" pitchFamily="34" charset="0"/>
                <a:cs typeface="Times New Roman" panose="02020603050405020304" pitchFamily="18" charset="0"/>
              </a:rPr>
              <a:t>miembros del equipo </a:t>
            </a:r>
            <a:r>
              <a:rPr lang="es-ES" sz="1400">
                <a:latin typeface="+mj-lt"/>
                <a:ea typeface="Calibri" panose="020F0502020204030204" pitchFamily="34" charset="0"/>
                <a:cs typeface="Times New Roman" panose="02020603050405020304" pitchFamily="18" charset="0"/>
              </a:rPr>
              <a:t>que llevarán a cabo las actividades de prueba.</a:t>
            </a:r>
          </a:p>
          <a:p>
            <a:pPr marL="285750" indent="-285750">
              <a:spcAft>
                <a:spcPts val="800"/>
              </a:spcAft>
              <a:buFont typeface="Wingdings" panose="05000000000000000000" pitchFamily="2" charset="2"/>
              <a:buChar char="Ø"/>
            </a:pPr>
            <a:r>
              <a:rPr lang="es-ES" sz="1400">
                <a:effectLst/>
                <a:latin typeface="+mj-lt"/>
                <a:ea typeface="Calibri" panose="020F0502020204030204" pitchFamily="34" charset="0"/>
                <a:cs typeface="Times New Roman" panose="02020603050405020304" pitchFamily="18" charset="0"/>
              </a:rPr>
              <a:t>Definir el </a:t>
            </a:r>
            <a:r>
              <a:rPr lang="es-ES" sz="1400" b="1">
                <a:effectLst/>
                <a:latin typeface="+mj-lt"/>
                <a:ea typeface="Calibri" panose="020F0502020204030204" pitchFamily="34" charset="0"/>
                <a:cs typeface="Times New Roman" panose="02020603050405020304" pitchFamily="18" charset="0"/>
              </a:rPr>
              <a:t>entorno de prueba </a:t>
            </a:r>
            <a:r>
              <a:rPr lang="es-ES" sz="1400">
                <a:effectLst/>
                <a:latin typeface="+mj-lt"/>
                <a:ea typeface="Calibri" panose="020F0502020204030204" pitchFamily="34" charset="0"/>
                <a:cs typeface="Times New Roman" panose="02020603050405020304" pitchFamily="18" charset="0"/>
              </a:rPr>
              <a:t>y los </a:t>
            </a:r>
            <a:r>
              <a:rPr lang="es-ES" sz="1400" b="1">
                <a:latin typeface="+mj-lt"/>
                <a:ea typeface="Calibri" panose="020F0502020204030204" pitchFamily="34" charset="0"/>
                <a:cs typeface="Times New Roman" panose="02020603050405020304" pitchFamily="18" charset="0"/>
              </a:rPr>
              <a:t>datos de prueba </a:t>
            </a:r>
            <a:r>
              <a:rPr lang="es-ES" sz="1400">
                <a:latin typeface="+mj-lt"/>
                <a:ea typeface="Calibri" panose="020F0502020204030204" pitchFamily="34" charset="0"/>
                <a:cs typeface="Times New Roman" panose="02020603050405020304" pitchFamily="18" charset="0"/>
              </a:rPr>
              <a:t>necesarios.</a:t>
            </a:r>
          </a:p>
          <a:p>
            <a:pPr marL="285750" indent="-285750">
              <a:spcAft>
                <a:spcPts val="800"/>
              </a:spcAft>
              <a:buFont typeface="Wingdings" panose="05000000000000000000" pitchFamily="2" charset="2"/>
              <a:buChar char="Ø"/>
            </a:pPr>
            <a:r>
              <a:rPr lang="es-ES" sz="1400">
                <a:effectLst/>
                <a:latin typeface="+mj-lt"/>
                <a:ea typeface="Calibri" panose="020F0502020204030204" pitchFamily="34" charset="0"/>
                <a:cs typeface="Times New Roman" panose="02020603050405020304" pitchFamily="18" charset="0"/>
              </a:rPr>
              <a:t>Definir el </a:t>
            </a:r>
            <a:r>
              <a:rPr lang="es-ES" sz="1400" b="1">
                <a:effectLst/>
                <a:latin typeface="+mj-lt"/>
                <a:ea typeface="Calibri" panose="020F0502020204030204" pitchFamily="34" charset="0"/>
                <a:cs typeface="Times New Roman" panose="02020603050405020304" pitchFamily="18" charset="0"/>
              </a:rPr>
              <a:t>momento, </a:t>
            </a:r>
            <a:r>
              <a:rPr lang="es-ES" sz="1400">
                <a:effectLst/>
                <a:latin typeface="+mj-lt"/>
                <a:ea typeface="Calibri" panose="020F0502020204030204" pitchFamily="34" charset="0"/>
                <a:cs typeface="Times New Roman" panose="02020603050405020304" pitchFamily="18" charset="0"/>
              </a:rPr>
              <a:t>la </a:t>
            </a:r>
            <a:r>
              <a:rPr lang="es-ES" sz="1400" b="1">
                <a:effectLst/>
                <a:latin typeface="+mj-lt"/>
                <a:ea typeface="Calibri" panose="020F0502020204030204" pitchFamily="34" charset="0"/>
                <a:cs typeface="Times New Roman" panose="02020603050405020304" pitchFamily="18" charset="0"/>
              </a:rPr>
              <a:t>secuencia, </a:t>
            </a:r>
            <a:r>
              <a:rPr lang="es-ES" sz="1400">
                <a:effectLst/>
                <a:latin typeface="+mj-lt"/>
                <a:ea typeface="Calibri" panose="020F0502020204030204" pitchFamily="34" charset="0"/>
                <a:cs typeface="Times New Roman" panose="02020603050405020304" pitchFamily="18" charset="0"/>
              </a:rPr>
              <a:t>las </a:t>
            </a:r>
            <a:r>
              <a:rPr lang="es-ES" sz="1400" b="1">
                <a:effectLst/>
                <a:latin typeface="+mj-lt"/>
                <a:ea typeface="Calibri" panose="020F0502020204030204" pitchFamily="34" charset="0"/>
                <a:cs typeface="Times New Roman" panose="02020603050405020304" pitchFamily="18" charset="0"/>
              </a:rPr>
              <a:t>dependencias </a:t>
            </a:r>
            <a:r>
              <a:rPr lang="es-ES" sz="1400">
                <a:effectLst/>
                <a:latin typeface="+mj-lt"/>
                <a:ea typeface="Calibri" panose="020F0502020204030204" pitchFamily="34" charset="0"/>
                <a:cs typeface="Times New Roman" panose="02020603050405020304" pitchFamily="18" charset="0"/>
              </a:rPr>
              <a:t>y los </a:t>
            </a:r>
            <a:r>
              <a:rPr lang="es-ES" sz="1400" b="1">
                <a:effectLst/>
                <a:latin typeface="+mj-lt"/>
                <a:ea typeface="Calibri" panose="020F0502020204030204" pitchFamily="34" charset="0"/>
                <a:cs typeface="Times New Roman" panose="02020603050405020304" pitchFamily="18" charset="0"/>
              </a:rPr>
              <a:t>prerrequisitos </a:t>
            </a:r>
            <a:r>
              <a:rPr lang="es-ES" sz="1400">
                <a:effectLst/>
                <a:latin typeface="+mj-lt"/>
                <a:ea typeface="Calibri" panose="020F0502020204030204" pitchFamily="34" charset="0"/>
                <a:cs typeface="Times New Roman" panose="02020603050405020304" pitchFamily="18" charset="0"/>
              </a:rPr>
              <a:t>para las actividades de prueba.</a:t>
            </a:r>
          </a:p>
          <a:p>
            <a:pPr marL="285750" indent="-285750">
              <a:spcAft>
                <a:spcPts val="800"/>
              </a:spcAft>
              <a:buFont typeface="Wingdings" panose="05000000000000000000" pitchFamily="2" charset="2"/>
              <a:buChar char="Ø"/>
            </a:pPr>
            <a:r>
              <a:rPr lang="es-ES" sz="1400">
                <a:latin typeface="+mj-lt"/>
                <a:ea typeface="Calibri" panose="020F0502020204030204" pitchFamily="34" charset="0"/>
                <a:cs typeface="Times New Roman" panose="02020603050405020304" pitchFamily="18" charset="0"/>
              </a:rPr>
              <a:t>Los </a:t>
            </a:r>
            <a:r>
              <a:rPr lang="es-ES" sz="1400" b="1">
                <a:latin typeface="+mj-lt"/>
                <a:ea typeface="Calibri" panose="020F0502020204030204" pitchFamily="34" charset="0"/>
                <a:cs typeface="Times New Roman" panose="02020603050405020304" pitchFamily="18" charset="0"/>
              </a:rPr>
              <a:t>riesgos</a:t>
            </a:r>
            <a:r>
              <a:rPr lang="es-ES" sz="1400">
                <a:latin typeface="+mj-lt"/>
                <a:ea typeface="Calibri" panose="020F0502020204030204" pitchFamily="34" charset="0"/>
                <a:cs typeface="Times New Roman" panose="02020603050405020304" pitchFamily="18" charset="0"/>
              </a:rPr>
              <a:t> de proyecto y de calidad que deben abordarse.</a:t>
            </a:r>
            <a:endParaRPr lang="es-ES" sz="1400">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1131432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1</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74482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1</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841256"/>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Una </a:t>
            </a:r>
            <a:r>
              <a:rPr lang="es-ES" sz="1400" err="1">
                <a:latin typeface="+mj-lt"/>
                <a:cs typeface="Times New Roman" panose="02020603050405020304" pitchFamily="18" charset="0"/>
              </a:rPr>
              <a:t>User</a:t>
            </a:r>
            <a:r>
              <a:rPr lang="es-ES" sz="1400">
                <a:latin typeface="+mj-lt"/>
                <a:cs typeface="Times New Roman" panose="02020603050405020304" pitchFamily="18" charset="0"/>
              </a:rPr>
              <a:t> </a:t>
            </a:r>
            <a:r>
              <a:rPr lang="es-ES" sz="1400" err="1">
                <a:latin typeface="+mj-lt"/>
                <a:cs typeface="Times New Roman" panose="02020603050405020304" pitchFamily="18" charset="0"/>
              </a:rPr>
              <a:t>Story</a:t>
            </a:r>
            <a:r>
              <a:rPr lang="es-ES" sz="1400">
                <a:latin typeface="+mj-lt"/>
                <a:cs typeface="Times New Roman" panose="02020603050405020304" pitchFamily="18" charset="0"/>
              </a:rPr>
              <a:t> que fue considerada muy simple, resultó ser más compleja de lo que se estimó, requiriendo más esfuerzo para la implementación y el </a:t>
            </a:r>
            <a:r>
              <a:rPr lang="es-ES" sz="1400" err="1">
                <a:latin typeface="+mj-lt"/>
                <a:cs typeface="Times New Roman" panose="02020603050405020304" pitchFamily="18" charset="0"/>
              </a:rPr>
              <a:t>testing</a:t>
            </a:r>
            <a:r>
              <a:rPr lang="es-ES" sz="1400">
                <a:latin typeface="+mj-lt"/>
                <a:cs typeface="Times New Roman" panose="02020603050405020304" pitchFamily="18" charset="0"/>
              </a:rPr>
              <a:t>. </a:t>
            </a:r>
          </a:p>
          <a:p>
            <a:pPr>
              <a:spcAft>
                <a:spcPts val="800"/>
              </a:spcAft>
            </a:pPr>
            <a:r>
              <a:rPr lang="es-ES" sz="1400">
                <a:latin typeface="+mj-lt"/>
                <a:cs typeface="Times New Roman" panose="02020603050405020304" pitchFamily="18" charset="0"/>
              </a:rPr>
              <a:t>¿Qué planificación se verá afectada por esto?</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489076" y="3849476"/>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  Planificación de la iteración</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12087" y="384947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489076" y="4459074"/>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  Planificación de la entrega</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12087" y="4459074"/>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489076" y="5066603"/>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  Planificación de iteración y entrega</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12087" y="506660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89076" y="5672063"/>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  Ninguna planificación se verá afectada</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12087" y="567206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82999590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1</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74482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1</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841256"/>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Una </a:t>
            </a:r>
            <a:r>
              <a:rPr lang="es-ES" sz="1400" err="1">
                <a:latin typeface="+mj-lt"/>
                <a:cs typeface="Times New Roman" panose="02020603050405020304" pitchFamily="18" charset="0"/>
              </a:rPr>
              <a:t>User</a:t>
            </a:r>
            <a:r>
              <a:rPr lang="es-ES" sz="1400">
                <a:latin typeface="+mj-lt"/>
                <a:cs typeface="Times New Roman" panose="02020603050405020304" pitchFamily="18" charset="0"/>
              </a:rPr>
              <a:t> </a:t>
            </a:r>
            <a:r>
              <a:rPr lang="es-ES" sz="1400" err="1">
                <a:latin typeface="+mj-lt"/>
                <a:cs typeface="Times New Roman" panose="02020603050405020304" pitchFamily="18" charset="0"/>
              </a:rPr>
              <a:t>Story</a:t>
            </a:r>
            <a:r>
              <a:rPr lang="es-ES" sz="1400">
                <a:latin typeface="+mj-lt"/>
                <a:cs typeface="Times New Roman" panose="02020603050405020304" pitchFamily="18" charset="0"/>
              </a:rPr>
              <a:t> que fue considerada muy simple, resultó ser más compleja de lo que se estimó, requiriendo más esfuerzo para la implementación y el </a:t>
            </a:r>
            <a:r>
              <a:rPr lang="es-ES" sz="1400" err="1">
                <a:latin typeface="+mj-lt"/>
                <a:cs typeface="Times New Roman" panose="02020603050405020304" pitchFamily="18" charset="0"/>
              </a:rPr>
              <a:t>testing</a:t>
            </a:r>
            <a:r>
              <a:rPr lang="es-ES" sz="1400">
                <a:latin typeface="+mj-lt"/>
                <a:cs typeface="Times New Roman" panose="02020603050405020304" pitchFamily="18" charset="0"/>
              </a:rPr>
              <a:t>. </a:t>
            </a:r>
          </a:p>
          <a:p>
            <a:pPr>
              <a:spcAft>
                <a:spcPts val="800"/>
              </a:spcAft>
            </a:pPr>
            <a:r>
              <a:rPr lang="es-ES" sz="1400">
                <a:latin typeface="+mj-lt"/>
                <a:cs typeface="Times New Roman" panose="02020603050405020304" pitchFamily="18" charset="0"/>
              </a:rPr>
              <a:t>¿Qué planificación se verá afectada por esto?</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489076" y="3849476"/>
            <a:ext cx="4571999" cy="465931"/>
          </a:xfrm>
          <a:prstGeom prst="roundRect">
            <a:avLst/>
          </a:prstGeom>
          <a:solidFill>
            <a:schemeClr val="bg1">
              <a:lumMod val="95000"/>
            </a:schemeClr>
          </a:solidFill>
          <a:ln w="31750" algn="ctr">
            <a:solidFill>
              <a:srgbClr val="046A38"/>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  Planificación de la iteración</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12087" y="3849476"/>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489076" y="4459074"/>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  Planificación de la entrega</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12087" y="4459074"/>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489076" y="5066603"/>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  Planificación de iteración y entrega</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12087" y="506660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89076" y="5672063"/>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  Ninguna planificación se verá afectada</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12087" y="567206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
        <p:nvSpPr>
          <p:cNvPr id="3" name="Rectangle 2">
            <a:extLst>
              <a:ext uri="{FF2B5EF4-FFF2-40B4-BE49-F238E27FC236}">
                <a16:creationId xmlns:a16="http://schemas.microsoft.com/office/drawing/2014/main" id="{19685ED3-A670-9321-AB70-D43B0FC45894}"/>
              </a:ext>
            </a:extLst>
          </p:cNvPr>
          <p:cNvSpPr/>
          <p:nvPr/>
        </p:nvSpPr>
        <p:spPr bwMode="gray">
          <a:xfrm>
            <a:off x="541176" y="4385388"/>
            <a:ext cx="6139542" cy="1912775"/>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TextBox 6">
            <a:extLst>
              <a:ext uri="{FF2B5EF4-FFF2-40B4-BE49-F238E27FC236}">
                <a16:creationId xmlns:a16="http://schemas.microsoft.com/office/drawing/2014/main" id="{C58A66E9-58DA-72F9-D9B5-DA9BA0E63EBC}"/>
              </a:ext>
            </a:extLst>
          </p:cNvPr>
          <p:cNvSpPr txBox="1"/>
          <p:nvPr/>
        </p:nvSpPr>
        <p:spPr>
          <a:xfrm>
            <a:off x="6438123" y="3849476"/>
            <a:ext cx="5057191" cy="1918474"/>
          </a:xfrm>
          <a:prstGeom prst="rect">
            <a:avLst/>
          </a:prstGeom>
          <a:noFill/>
        </p:spPr>
        <p:txBody>
          <a:bodyPr wrap="square">
            <a:spAutoFit/>
          </a:bodyPr>
          <a:lstStyle/>
          <a:p>
            <a:pPr>
              <a:spcAft>
                <a:spcPts val="800"/>
              </a:spcAft>
            </a:pPr>
            <a:r>
              <a:rPr lang="es-ES" sz="1400" i="1">
                <a:latin typeface="+mj-lt"/>
                <a:cs typeface="Times New Roman" panose="02020603050405020304" pitchFamily="18" charset="0"/>
              </a:rPr>
              <a:t>Si una historia de usuario requiere más esfuerzo, significa que ese esfuerzo se obtiene de otras tareas de la misma iteración.</a:t>
            </a:r>
          </a:p>
          <a:p>
            <a:pPr>
              <a:spcAft>
                <a:spcPts val="800"/>
              </a:spcAft>
            </a:pPr>
            <a:r>
              <a:rPr lang="es-ES" sz="1400" i="1">
                <a:latin typeface="+mj-lt"/>
                <a:cs typeface="Times New Roman" panose="02020603050405020304" pitchFamily="18" charset="0"/>
              </a:rPr>
              <a:t>Un cambio en el esfuerzo requerido para una historia podría llegar a perjudicar a la planificación de la entrega si provocase retrasos reiteradamente. Pero, en principio, solo tiene impacto inmediato en la planificación de la iteración.</a:t>
            </a:r>
          </a:p>
        </p:txBody>
      </p:sp>
    </p:spTree>
    <p:extLst>
      <p:ext uri="{BB962C8B-B14F-4D97-AF65-F5344CB8AC3E}">
        <p14:creationId xmlns:p14="http://schemas.microsoft.com/office/powerpoint/2010/main" val="80654218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1</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7"/>
            <a:ext cx="11201400" cy="1162698"/>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2</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307777"/>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Según </a:t>
            </a:r>
            <a:r>
              <a:rPr lang="es-ES" sz="1400" i="1">
                <a:latin typeface="+mj-lt"/>
                <a:cs typeface="Times New Roman" panose="02020603050405020304" pitchFamily="18" charset="0"/>
              </a:rPr>
              <a:t>Scrum, </a:t>
            </a:r>
            <a:r>
              <a:rPr lang="es-ES" sz="1400">
                <a:latin typeface="+mj-lt"/>
                <a:cs typeface="Times New Roman" panose="02020603050405020304" pitchFamily="18" charset="0"/>
              </a:rPr>
              <a:t>¿qué significa la palabra “</a:t>
            </a:r>
            <a:r>
              <a:rPr lang="es-ES" sz="1400" i="1">
                <a:latin typeface="+mj-lt"/>
                <a:cs typeface="Times New Roman" panose="02020603050405020304" pitchFamily="18" charset="0"/>
              </a:rPr>
              <a:t>lista de trabajo acumulado del producto” </a:t>
            </a:r>
            <a:r>
              <a:rPr lang="es-ES" sz="1400">
                <a:latin typeface="+mj-lt"/>
                <a:cs typeface="Times New Roman" panose="02020603050405020304" pitchFamily="18" charset="0"/>
              </a:rPr>
              <a:t>o </a:t>
            </a:r>
            <a:r>
              <a:rPr lang="es-ES" sz="1400" i="1">
                <a:latin typeface="+mj-lt"/>
                <a:cs typeface="Times New Roman" panose="02020603050405020304" pitchFamily="18" charset="0"/>
              </a:rPr>
              <a:t>“pila del producto” </a:t>
            </a:r>
            <a:r>
              <a:rPr lang="es-ES" sz="1400">
                <a:latin typeface="+mj-lt"/>
                <a:cs typeface="Times New Roman" panose="02020603050405020304" pitchFamily="18" charset="0"/>
              </a:rPr>
              <a:t>?</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489077" y="3159001"/>
            <a:ext cx="5938090" cy="759853"/>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La evolución de una lista de priorización de productos de ítems gestionada por el Propietario del producto</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12087" y="3304927"/>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489075" y="4098611"/>
            <a:ext cx="593809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  Iteraciones divididas de 2 a 4 semanas</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12086" y="4098611"/>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489076" y="4761886"/>
            <a:ext cx="5938090" cy="62187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Lista de priorización de ítems gestionada por el propietario de producto</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12086" y="483882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89076" y="5560086"/>
            <a:ext cx="5938090" cy="62187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Tareas, requisitos y características que el equipo espera terminar dentro de un sprint</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12086" y="563702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113951381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1</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7"/>
            <a:ext cx="11201400" cy="1162698"/>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2</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307777"/>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Según </a:t>
            </a:r>
            <a:r>
              <a:rPr lang="es-ES" sz="1400" i="1">
                <a:latin typeface="+mj-lt"/>
                <a:cs typeface="Times New Roman" panose="02020603050405020304" pitchFamily="18" charset="0"/>
              </a:rPr>
              <a:t>Scrum, </a:t>
            </a:r>
            <a:r>
              <a:rPr lang="es-ES" sz="1400">
                <a:latin typeface="+mj-lt"/>
                <a:cs typeface="Times New Roman" panose="02020603050405020304" pitchFamily="18" charset="0"/>
              </a:rPr>
              <a:t>¿qué significa la palabra “</a:t>
            </a:r>
            <a:r>
              <a:rPr lang="es-ES" sz="1400" i="1">
                <a:latin typeface="+mj-lt"/>
                <a:cs typeface="Times New Roman" panose="02020603050405020304" pitchFamily="18" charset="0"/>
              </a:rPr>
              <a:t>lista de trabajo acumulado del producto” </a:t>
            </a:r>
            <a:r>
              <a:rPr lang="es-ES" sz="1400">
                <a:latin typeface="+mj-lt"/>
                <a:cs typeface="Times New Roman" panose="02020603050405020304" pitchFamily="18" charset="0"/>
              </a:rPr>
              <a:t>o </a:t>
            </a:r>
            <a:r>
              <a:rPr lang="es-ES" sz="1400" i="1">
                <a:latin typeface="+mj-lt"/>
                <a:cs typeface="Times New Roman" panose="02020603050405020304" pitchFamily="18" charset="0"/>
              </a:rPr>
              <a:t>“pila del producto” </a:t>
            </a:r>
            <a:r>
              <a:rPr lang="es-ES" sz="1400">
                <a:latin typeface="+mj-lt"/>
                <a:cs typeface="Times New Roman" panose="02020603050405020304" pitchFamily="18" charset="0"/>
              </a:rPr>
              <a:t>?</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489077" y="3159001"/>
            <a:ext cx="5938090" cy="759853"/>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La evolución de una lista de priorización de productos de ítems gestionada por el Propietario del producto</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12087" y="3304927"/>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489075" y="4098611"/>
            <a:ext cx="593809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  Iteraciones divididas de 2 a 4 semanas</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12086" y="4098611"/>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489076" y="4761886"/>
            <a:ext cx="5938090" cy="621874"/>
          </a:xfrm>
          <a:prstGeom prst="roundRect">
            <a:avLst/>
          </a:prstGeom>
          <a:solidFill>
            <a:schemeClr val="bg1">
              <a:lumMod val="95000"/>
            </a:schemeClr>
          </a:solidFill>
          <a:ln w="31750" algn="ctr">
            <a:solidFill>
              <a:srgbClr val="046A38"/>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Lista de priorización de ítems gestionada por el propietario de producto</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12086" y="4838823"/>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89076" y="5560086"/>
            <a:ext cx="5938090" cy="62187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Tareas, requisitos y características que el equipo espera terminar dentro de un sprint</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12086" y="563702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
        <p:nvSpPr>
          <p:cNvPr id="3" name="Rectangle 2">
            <a:extLst>
              <a:ext uri="{FF2B5EF4-FFF2-40B4-BE49-F238E27FC236}">
                <a16:creationId xmlns:a16="http://schemas.microsoft.com/office/drawing/2014/main" id="{5A3ADE04-1660-08F8-398F-D808DCDB6D30}"/>
              </a:ext>
            </a:extLst>
          </p:cNvPr>
          <p:cNvSpPr/>
          <p:nvPr/>
        </p:nvSpPr>
        <p:spPr bwMode="gray">
          <a:xfrm>
            <a:off x="669911" y="3013448"/>
            <a:ext cx="6850561" cy="1649049"/>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Rectangle 6">
            <a:extLst>
              <a:ext uri="{FF2B5EF4-FFF2-40B4-BE49-F238E27FC236}">
                <a16:creationId xmlns:a16="http://schemas.microsoft.com/office/drawing/2014/main" id="{10BA299F-3C4F-E68D-6ED1-6C6E64DE5474}"/>
              </a:ext>
            </a:extLst>
          </p:cNvPr>
          <p:cNvSpPr/>
          <p:nvPr/>
        </p:nvSpPr>
        <p:spPr bwMode="gray">
          <a:xfrm>
            <a:off x="669911" y="5483149"/>
            <a:ext cx="6850561" cy="790055"/>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1" name="TextBox 10">
            <a:extLst>
              <a:ext uri="{FF2B5EF4-FFF2-40B4-BE49-F238E27FC236}">
                <a16:creationId xmlns:a16="http://schemas.microsoft.com/office/drawing/2014/main" id="{76C0ADB1-A1EC-1C1E-15EA-B20D3216AACC}"/>
              </a:ext>
            </a:extLst>
          </p:cNvPr>
          <p:cNvSpPr txBox="1"/>
          <p:nvPr/>
        </p:nvSpPr>
        <p:spPr>
          <a:xfrm>
            <a:off x="7729461" y="3913156"/>
            <a:ext cx="3932314" cy="2349361"/>
          </a:xfrm>
          <a:prstGeom prst="rect">
            <a:avLst/>
          </a:prstGeom>
          <a:noFill/>
        </p:spPr>
        <p:txBody>
          <a:bodyPr wrap="square">
            <a:spAutoFit/>
          </a:bodyPr>
          <a:lstStyle/>
          <a:p>
            <a:pPr>
              <a:spcAft>
                <a:spcPts val="800"/>
              </a:spcAft>
            </a:pPr>
            <a:r>
              <a:rPr lang="es-ES" sz="1400" i="1">
                <a:latin typeface="+mj-lt"/>
                <a:cs typeface="Times New Roman" panose="02020603050405020304" pitchFamily="18" charset="0"/>
              </a:rPr>
              <a:t>La lista de trabajo acumulado contiene todos los elementos planificados para realizarse en vista a todo el proyecto, y es gestionado por el propietario del producto.</a:t>
            </a:r>
          </a:p>
          <a:p>
            <a:pPr>
              <a:spcAft>
                <a:spcPts val="800"/>
              </a:spcAft>
            </a:pPr>
            <a:r>
              <a:rPr lang="es-ES" sz="1400" i="1">
                <a:latin typeface="+mj-lt"/>
                <a:cs typeface="Times New Roman" panose="02020603050405020304" pitchFamily="18" charset="0"/>
              </a:rPr>
              <a:t>No confundir con la lista de trabajo acumulado del sprint, que contiene una serie de elementos seleccionados de la lista de trabajo acumulado que se van a realizar durante el sprint.</a:t>
            </a:r>
          </a:p>
        </p:txBody>
      </p:sp>
    </p:spTree>
    <p:extLst>
      <p:ext uri="{BB962C8B-B14F-4D97-AF65-F5344CB8AC3E}">
        <p14:creationId xmlns:p14="http://schemas.microsoft.com/office/powerpoint/2010/main" val="342943623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1</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7"/>
            <a:ext cx="11201400" cy="1162698"/>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3</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307777"/>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ómo optimiza </a:t>
            </a:r>
            <a:r>
              <a:rPr lang="es-ES" sz="1400" i="1">
                <a:latin typeface="+mj-lt"/>
                <a:cs typeface="Times New Roman" panose="02020603050405020304" pitchFamily="18" charset="0"/>
              </a:rPr>
              <a:t>Kanban </a:t>
            </a:r>
            <a:r>
              <a:rPr lang="es-ES" sz="1400">
                <a:latin typeface="+mj-lt"/>
                <a:cs typeface="Times New Roman" panose="02020603050405020304" pitchFamily="18" charset="0"/>
              </a:rPr>
              <a:t>el flujo continuo de tareas?</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489077" y="3159002"/>
            <a:ext cx="5938090" cy="654396"/>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Minimizando el tiempo de espera para el flujo de valor completo</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12086" y="3287728"/>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489075" y="4014716"/>
            <a:ext cx="5938090" cy="64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Maximizando el tiempo de espera para el flujo de valor completo</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12086" y="4143330"/>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489076" y="4849756"/>
            <a:ext cx="5938090" cy="62187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Haciendo constante el tiempo de espera para el flujo de valor completo para todas las iteraciones</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12086" y="492669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89075" y="5637023"/>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Kanban no optimiza el flujo continuo de tareas</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12086" y="563702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105327633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1</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7"/>
            <a:ext cx="11201400" cy="1162698"/>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3</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307777"/>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ómo optimiza </a:t>
            </a:r>
            <a:r>
              <a:rPr lang="es-ES" sz="1400" i="1">
                <a:latin typeface="+mj-lt"/>
                <a:cs typeface="Times New Roman" panose="02020603050405020304" pitchFamily="18" charset="0"/>
              </a:rPr>
              <a:t>Kanban </a:t>
            </a:r>
            <a:r>
              <a:rPr lang="es-ES" sz="1400">
                <a:latin typeface="+mj-lt"/>
                <a:cs typeface="Times New Roman" panose="02020603050405020304" pitchFamily="18" charset="0"/>
              </a:rPr>
              <a:t>el flujo continuo de tareas?</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489077" y="3159002"/>
            <a:ext cx="5938090" cy="654396"/>
          </a:xfrm>
          <a:prstGeom prst="roundRect">
            <a:avLst/>
          </a:prstGeom>
          <a:solidFill>
            <a:schemeClr val="bg1">
              <a:lumMod val="95000"/>
            </a:schemeClr>
          </a:solidFill>
          <a:ln w="31750" algn="ctr">
            <a:solidFill>
              <a:srgbClr val="046A38"/>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Minimizando el tiempo de espera para el flujo de valor completo</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12086" y="3287728"/>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489075" y="4014716"/>
            <a:ext cx="5938090" cy="64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Maximizando el tiempo de espera para el flujo de valor completo</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12086" y="4143330"/>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489076" y="4849756"/>
            <a:ext cx="5938090" cy="62187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Haciendo constante el tiempo de espera para el flujo de valor completo para todas las iteraciones</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12086" y="492669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89075" y="5637023"/>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Kanban no optimiza el flujo continuo de tareas</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12086" y="563702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
        <p:nvSpPr>
          <p:cNvPr id="3" name="Rectangle 2">
            <a:extLst>
              <a:ext uri="{FF2B5EF4-FFF2-40B4-BE49-F238E27FC236}">
                <a16:creationId xmlns:a16="http://schemas.microsoft.com/office/drawing/2014/main" id="{BB667BE9-1861-EE49-37E4-2461AD38CC73}"/>
              </a:ext>
            </a:extLst>
          </p:cNvPr>
          <p:cNvSpPr/>
          <p:nvPr/>
        </p:nvSpPr>
        <p:spPr bwMode="gray">
          <a:xfrm>
            <a:off x="669912" y="3921121"/>
            <a:ext cx="6850561" cy="2321059"/>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TextBox 6">
            <a:extLst>
              <a:ext uri="{FF2B5EF4-FFF2-40B4-BE49-F238E27FC236}">
                <a16:creationId xmlns:a16="http://schemas.microsoft.com/office/drawing/2014/main" id="{EED04ABC-F904-80AA-6B19-AA331021457A}"/>
              </a:ext>
            </a:extLst>
          </p:cNvPr>
          <p:cNvSpPr txBox="1"/>
          <p:nvPr/>
        </p:nvSpPr>
        <p:spPr>
          <a:xfrm>
            <a:off x="7729461" y="3154926"/>
            <a:ext cx="3932314" cy="1487587"/>
          </a:xfrm>
          <a:prstGeom prst="rect">
            <a:avLst/>
          </a:prstGeom>
          <a:noFill/>
        </p:spPr>
        <p:txBody>
          <a:bodyPr wrap="square">
            <a:spAutoFit/>
          </a:bodyPr>
          <a:lstStyle/>
          <a:p>
            <a:pPr>
              <a:spcAft>
                <a:spcPts val="800"/>
              </a:spcAft>
            </a:pPr>
            <a:r>
              <a:rPr lang="es-ES" sz="1400" i="1">
                <a:latin typeface="+mj-lt"/>
                <a:cs typeface="Times New Roman" panose="02020603050405020304" pitchFamily="18" charset="0"/>
              </a:rPr>
              <a:t>En el enfoque Kanban, se le da especial importancia al flujo de las tareas. Se intenta que no haya interrupciones para así terminar el trabajo más rápido.</a:t>
            </a:r>
          </a:p>
          <a:p>
            <a:pPr>
              <a:spcAft>
                <a:spcPts val="800"/>
              </a:spcAft>
            </a:pPr>
            <a:r>
              <a:rPr lang="es-ES" sz="1400" i="1">
                <a:latin typeface="+mj-lt"/>
                <a:cs typeface="Times New Roman" panose="02020603050405020304" pitchFamily="18" charset="0"/>
              </a:rPr>
              <a:t>Eso significa que se intenta reducir ese “tiempo de espera”.</a:t>
            </a:r>
          </a:p>
        </p:txBody>
      </p:sp>
    </p:spTree>
    <p:extLst>
      <p:ext uri="{BB962C8B-B14F-4D97-AF65-F5344CB8AC3E}">
        <p14:creationId xmlns:p14="http://schemas.microsoft.com/office/powerpoint/2010/main" val="12106727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600276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ubtitle 3"/>
          <p:cNvSpPr txBox="1">
            <a:spLocks/>
          </p:cNvSpPr>
          <p:nvPr/>
        </p:nvSpPr>
        <p:spPr bwMode="gray">
          <a:xfrm>
            <a:off x="3382230" y="2425148"/>
            <a:ext cx="4554000" cy="1620628"/>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s-ES_tradnl"/>
              <a:t>TEMA 1</a:t>
            </a:r>
          </a:p>
          <a:p>
            <a:endParaRPr lang="es-ES_tradnl" b="0"/>
          </a:p>
          <a:p>
            <a:r>
              <a:rPr lang="es-ES_tradnl" sz="3600">
                <a:solidFill>
                  <a:srgbClr val="43B02A"/>
                </a:solidFill>
              </a:rPr>
              <a:t>Desarrollo Ágil de Software</a:t>
            </a:r>
          </a:p>
        </p:txBody>
      </p:sp>
      <p:pic>
        <p:nvPicPr>
          <p:cNvPr id="2" name="Picture 1"/>
          <p:cNvPicPr>
            <a:picLocks noChangeAspect="1"/>
          </p:cNvPicPr>
          <p:nvPr/>
        </p:nvPicPr>
        <p:blipFill>
          <a:blip r:embed="rId6"/>
          <a:stretch>
            <a:fillRect/>
          </a:stretch>
        </p:blipFill>
        <p:spPr>
          <a:xfrm>
            <a:off x="9337712" y="5164226"/>
            <a:ext cx="2447925" cy="1219200"/>
          </a:xfrm>
          <a:prstGeom prst="rect">
            <a:avLst/>
          </a:prstGeom>
        </p:spPr>
      </p:pic>
      <p:sp>
        <p:nvSpPr>
          <p:cNvPr id="10" name="Text Placeholder 8">
            <a:extLst>
              <a:ext uri="{FF2B5EF4-FFF2-40B4-BE49-F238E27FC236}">
                <a16:creationId xmlns:a16="http://schemas.microsoft.com/office/drawing/2014/main" id="{A422B0C3-4FE4-403E-9788-A9CF31992EF3}"/>
              </a:ext>
            </a:extLst>
          </p:cNvPr>
          <p:cNvSpPr>
            <a:spLocks noGrp="1"/>
          </p:cNvSpPr>
          <p:nvPr>
            <p:ph type="body" sz="quarter" idx="10"/>
          </p:nvPr>
        </p:nvSpPr>
        <p:spPr>
          <a:xfrm>
            <a:off x="501647" y="6074224"/>
            <a:ext cx="7807851" cy="298451"/>
          </a:xfrm>
        </p:spPr>
        <p:txBody>
          <a:bodyPr/>
          <a:lstStyle/>
          <a:p>
            <a:r>
              <a:rPr lang="es-ES" sz="1600" b="1"/>
              <a:t>ISTQB Programa de Estudio de Nivel Básico Extensión Ágil</a:t>
            </a:r>
          </a:p>
        </p:txBody>
      </p:sp>
    </p:spTree>
    <p:extLst>
      <p:ext uri="{BB962C8B-B14F-4D97-AF65-F5344CB8AC3E}">
        <p14:creationId xmlns:p14="http://schemas.microsoft.com/office/powerpoint/2010/main" val="169558476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1</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343605"/>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4</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5232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La retrospectiva se puede utilizar para evaluar la productividad de los evaluadores y, por lo tanto, realizar una auditoría para que el equipo sea más eficiente.</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479744" y="3435768"/>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Verdadero</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02755" y="3435768"/>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479744" y="4093316"/>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Falso</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02755" y="409331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479744" y="4758996"/>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Depende del tipo de </a:t>
            </a:r>
            <a:r>
              <a:rPr lang="es-ES" sz="1400" err="1"/>
              <a:t>tester</a:t>
            </a:r>
            <a:r>
              <a:rPr lang="es-ES" sz="1400"/>
              <a:t> en el equipo</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02755" y="479551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79744" y="5418205"/>
            <a:ext cx="5938090" cy="64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Las retrospectivas pueden ser usadas para asistir la productividad de los desarrolladores, no de los </a:t>
            </a:r>
            <a:r>
              <a:rPr lang="es-ES" sz="1400" err="1"/>
              <a:t>testers</a:t>
            </a:r>
            <a:endParaRPr lang="es-ES" sz="1400"/>
          </a:p>
        </p:txBody>
      </p:sp>
      <p:sp>
        <p:nvSpPr>
          <p:cNvPr id="19" name="Oval 18">
            <a:extLst>
              <a:ext uri="{FF2B5EF4-FFF2-40B4-BE49-F238E27FC236}">
                <a16:creationId xmlns:a16="http://schemas.microsoft.com/office/drawing/2014/main" id="{F9C3640E-B7A4-C2E8-DCFC-8F6830F7E699}"/>
              </a:ext>
            </a:extLst>
          </p:cNvPr>
          <p:cNvSpPr/>
          <p:nvPr/>
        </p:nvSpPr>
        <p:spPr bwMode="gray">
          <a:xfrm>
            <a:off x="802755" y="550820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259561312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1</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343605"/>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4</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5232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La retrospectiva se puede utilizar para evaluar la productividad de los probadores y, por lo tanto, realizar una auditoría para que el equipo sea más eficiente.</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479744" y="3435768"/>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Verdadero</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02755" y="3435768"/>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479744" y="4093316"/>
            <a:ext cx="5938090" cy="468000"/>
          </a:xfrm>
          <a:prstGeom prst="roundRect">
            <a:avLst/>
          </a:prstGeom>
          <a:solidFill>
            <a:schemeClr val="bg1">
              <a:lumMod val="95000"/>
            </a:schemeClr>
          </a:solidFill>
          <a:ln w="31750" algn="ctr">
            <a:solidFill>
              <a:srgbClr val="046A38"/>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Falso</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02755" y="4093316"/>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479744" y="4758996"/>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Depende del tipo de </a:t>
            </a:r>
            <a:r>
              <a:rPr lang="es-ES" sz="1400" err="1"/>
              <a:t>tester</a:t>
            </a:r>
            <a:r>
              <a:rPr lang="es-ES" sz="1400"/>
              <a:t> en el equipo</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02755" y="479551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79744" y="5418205"/>
            <a:ext cx="5938090" cy="64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Las retrospectivas pueden ser usadas para asistir la productividad de los desarrolladores, no de los </a:t>
            </a:r>
            <a:r>
              <a:rPr lang="es-ES" sz="1400" err="1"/>
              <a:t>testers</a:t>
            </a:r>
            <a:endParaRPr lang="es-ES" sz="1400"/>
          </a:p>
        </p:txBody>
      </p:sp>
      <p:sp>
        <p:nvSpPr>
          <p:cNvPr id="19" name="Oval 18">
            <a:extLst>
              <a:ext uri="{FF2B5EF4-FFF2-40B4-BE49-F238E27FC236}">
                <a16:creationId xmlns:a16="http://schemas.microsoft.com/office/drawing/2014/main" id="{F9C3640E-B7A4-C2E8-DCFC-8F6830F7E699}"/>
              </a:ext>
            </a:extLst>
          </p:cNvPr>
          <p:cNvSpPr/>
          <p:nvPr/>
        </p:nvSpPr>
        <p:spPr bwMode="gray">
          <a:xfrm>
            <a:off x="802755" y="550820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
        <p:nvSpPr>
          <p:cNvPr id="3" name="Rectangle 2">
            <a:extLst>
              <a:ext uri="{FF2B5EF4-FFF2-40B4-BE49-F238E27FC236}">
                <a16:creationId xmlns:a16="http://schemas.microsoft.com/office/drawing/2014/main" id="{350BE610-53A0-1697-6EDD-9427DBFEA6B0}"/>
              </a:ext>
            </a:extLst>
          </p:cNvPr>
          <p:cNvSpPr/>
          <p:nvPr/>
        </p:nvSpPr>
        <p:spPr bwMode="gray">
          <a:xfrm>
            <a:off x="735226" y="4627985"/>
            <a:ext cx="6850561" cy="1614196"/>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Rectangle 6">
            <a:extLst>
              <a:ext uri="{FF2B5EF4-FFF2-40B4-BE49-F238E27FC236}">
                <a16:creationId xmlns:a16="http://schemas.microsoft.com/office/drawing/2014/main" id="{86373A56-A19A-6F59-8E4B-BB796072C1D4}"/>
              </a:ext>
            </a:extLst>
          </p:cNvPr>
          <p:cNvSpPr/>
          <p:nvPr/>
        </p:nvSpPr>
        <p:spPr bwMode="gray">
          <a:xfrm>
            <a:off x="690852" y="3358161"/>
            <a:ext cx="6850561" cy="635341"/>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1" name="TextBox 10">
            <a:extLst>
              <a:ext uri="{FF2B5EF4-FFF2-40B4-BE49-F238E27FC236}">
                <a16:creationId xmlns:a16="http://schemas.microsoft.com/office/drawing/2014/main" id="{8E258937-4AD0-35B9-97A8-66295F6B204B}"/>
              </a:ext>
            </a:extLst>
          </p:cNvPr>
          <p:cNvSpPr txBox="1"/>
          <p:nvPr/>
        </p:nvSpPr>
        <p:spPr>
          <a:xfrm>
            <a:off x="7729461" y="4020618"/>
            <a:ext cx="3932314" cy="1703030"/>
          </a:xfrm>
          <a:prstGeom prst="rect">
            <a:avLst/>
          </a:prstGeom>
          <a:noFill/>
        </p:spPr>
        <p:txBody>
          <a:bodyPr wrap="square">
            <a:spAutoFit/>
          </a:bodyPr>
          <a:lstStyle/>
          <a:p>
            <a:pPr>
              <a:spcAft>
                <a:spcPts val="800"/>
              </a:spcAft>
            </a:pPr>
            <a:r>
              <a:rPr lang="es-ES" sz="1400" i="1">
                <a:latin typeface="+mj-lt"/>
                <a:cs typeface="Times New Roman" panose="02020603050405020304" pitchFamily="18" charset="0"/>
              </a:rPr>
              <a:t>Las retrospectivas no se usan para evaluar el rendimiento de los miembros del equipo, ni para señalar culpables de los problemas.</a:t>
            </a:r>
          </a:p>
          <a:p>
            <a:pPr>
              <a:spcAft>
                <a:spcPts val="800"/>
              </a:spcAft>
            </a:pPr>
            <a:r>
              <a:rPr lang="es-ES" sz="1400" i="1">
                <a:latin typeface="+mj-lt"/>
                <a:cs typeface="Times New Roman" panose="02020603050405020304" pitchFamily="18" charset="0"/>
              </a:rPr>
              <a:t>La utilidad de las retrospectivas se basa en remarcar las cosas que han ido bien, y las que se pueden mejorar a futuro.</a:t>
            </a:r>
          </a:p>
        </p:txBody>
      </p:sp>
    </p:spTree>
    <p:extLst>
      <p:ext uri="{BB962C8B-B14F-4D97-AF65-F5344CB8AC3E}">
        <p14:creationId xmlns:p14="http://schemas.microsoft.com/office/powerpoint/2010/main" val="210756452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1</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343605"/>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5</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5232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ómo ayuda la integración continua a proporcionar más confianza a los miembros del equipo y aportarles mayor visibilidad del progreso?</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479744" y="3435768"/>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Gracias a herramientas que automatizan tareas</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02755" y="3435768"/>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479744" y="4093316"/>
            <a:ext cx="5938090" cy="64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Gracias a que el código se analiza, compila, se despliega y se prueba frecuentemente con un sistema estable</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02755" y="4241754"/>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479744" y="4930864"/>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Gracias a </a:t>
            </a:r>
            <a:r>
              <a:rPr lang="es-ES" sz="1400" err="1"/>
              <a:t>testers</a:t>
            </a:r>
            <a:r>
              <a:rPr lang="es-ES" sz="1400"/>
              <a:t> con gran conocimiento técnico</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02755" y="4967381"/>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79744" y="5557728"/>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Ninguna de las anteriores</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02755" y="5557728"/>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185595399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1</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343605"/>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5</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5232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ómo ayuda la integración continua a proporcionar más confianza a los miembros del equipo y aportarles mayor visibilidad del progreso?</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479744" y="3435768"/>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Gracias a herramientas que automatizan tareas</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02755" y="3435768"/>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479744" y="4093316"/>
            <a:ext cx="5938090" cy="648000"/>
          </a:xfrm>
          <a:prstGeom prst="roundRect">
            <a:avLst/>
          </a:prstGeom>
          <a:solidFill>
            <a:schemeClr val="bg1">
              <a:lumMod val="95000"/>
            </a:schemeClr>
          </a:solidFill>
          <a:ln w="31750" algn="ctr">
            <a:solidFill>
              <a:srgbClr val="046A38"/>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Gracias a que el código se analiza, compila, se despliega y se prueba frecuentemente con un sistema estable</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02755" y="4241754"/>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479744" y="4930864"/>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Gracias a </a:t>
            </a:r>
            <a:r>
              <a:rPr lang="es-ES" sz="1400" err="1"/>
              <a:t>testers</a:t>
            </a:r>
            <a:r>
              <a:rPr lang="es-ES" sz="1400"/>
              <a:t> con gran conocimiento técnico</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02755" y="4967381"/>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79744" y="5557728"/>
            <a:ext cx="5938090" cy="46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Ninguna de las anteriores</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02755" y="5557728"/>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
        <p:nvSpPr>
          <p:cNvPr id="3" name="Rectangle 2">
            <a:extLst>
              <a:ext uri="{FF2B5EF4-FFF2-40B4-BE49-F238E27FC236}">
                <a16:creationId xmlns:a16="http://schemas.microsoft.com/office/drawing/2014/main" id="{30369FA1-9D05-357C-1497-BFB423614E3A}"/>
              </a:ext>
            </a:extLst>
          </p:cNvPr>
          <p:cNvSpPr/>
          <p:nvPr/>
        </p:nvSpPr>
        <p:spPr bwMode="gray">
          <a:xfrm>
            <a:off x="690852" y="3358161"/>
            <a:ext cx="6850561" cy="635341"/>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Rectangle 6">
            <a:extLst>
              <a:ext uri="{FF2B5EF4-FFF2-40B4-BE49-F238E27FC236}">
                <a16:creationId xmlns:a16="http://schemas.microsoft.com/office/drawing/2014/main" id="{A90E4352-C00C-E8E4-A67E-30C106E97FCF}"/>
              </a:ext>
            </a:extLst>
          </p:cNvPr>
          <p:cNvSpPr/>
          <p:nvPr/>
        </p:nvSpPr>
        <p:spPr bwMode="gray">
          <a:xfrm>
            <a:off x="735226" y="4841129"/>
            <a:ext cx="6850561" cy="1401051"/>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1" name="TextBox 10">
            <a:extLst>
              <a:ext uri="{FF2B5EF4-FFF2-40B4-BE49-F238E27FC236}">
                <a16:creationId xmlns:a16="http://schemas.microsoft.com/office/drawing/2014/main" id="{6DE533E6-F65A-BEC8-F385-285FC30F60B8}"/>
              </a:ext>
            </a:extLst>
          </p:cNvPr>
          <p:cNvSpPr txBox="1"/>
          <p:nvPr/>
        </p:nvSpPr>
        <p:spPr>
          <a:xfrm>
            <a:off x="7696519" y="3993502"/>
            <a:ext cx="3932314" cy="1703030"/>
          </a:xfrm>
          <a:prstGeom prst="rect">
            <a:avLst/>
          </a:prstGeom>
          <a:noFill/>
        </p:spPr>
        <p:txBody>
          <a:bodyPr wrap="square">
            <a:spAutoFit/>
          </a:bodyPr>
          <a:lstStyle/>
          <a:p>
            <a:pPr>
              <a:spcAft>
                <a:spcPts val="800"/>
              </a:spcAft>
            </a:pPr>
            <a:r>
              <a:rPr lang="es-ES" sz="1400" i="1">
                <a:latin typeface="+mj-lt"/>
                <a:cs typeface="Times New Roman" panose="02020603050405020304" pitchFamily="18" charset="0"/>
              </a:rPr>
              <a:t>La integración continua aporta ventajas al equipo gracias a todas las etapas que la componen.</a:t>
            </a:r>
          </a:p>
          <a:p>
            <a:pPr>
              <a:spcAft>
                <a:spcPts val="800"/>
              </a:spcAft>
            </a:pPr>
            <a:r>
              <a:rPr lang="es-ES" sz="1400" i="1">
                <a:latin typeface="+mj-lt"/>
                <a:cs typeface="Times New Roman" panose="02020603050405020304" pitchFamily="18" charset="0"/>
              </a:rPr>
              <a:t>Las demás opciones mencionadas son positivas para el proyecto, pero no están estrechamente relacionadas con la integración continua.</a:t>
            </a:r>
          </a:p>
        </p:txBody>
      </p:sp>
    </p:spTree>
    <p:extLst>
      <p:ext uri="{BB962C8B-B14F-4D97-AF65-F5344CB8AC3E}">
        <p14:creationId xmlns:p14="http://schemas.microsoft.com/office/powerpoint/2010/main" val="181359999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ubtitle 3"/>
          <p:cNvSpPr txBox="1">
            <a:spLocks/>
          </p:cNvSpPr>
          <p:nvPr/>
        </p:nvSpPr>
        <p:spPr bwMode="gray">
          <a:xfrm>
            <a:off x="2276856" y="726630"/>
            <a:ext cx="7845552" cy="3538602"/>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s-ES_tradnl"/>
              <a:t>TEMA 2</a:t>
            </a:r>
          </a:p>
          <a:p>
            <a:endParaRPr lang="es-ES_tradnl" b="0"/>
          </a:p>
          <a:p>
            <a:r>
              <a:rPr lang="es-ES" sz="3600">
                <a:solidFill>
                  <a:srgbClr val="43B02A"/>
                </a:solidFill>
              </a:rPr>
              <a:t>Principios, Prácticas y Procesos Fundamentales de Prueba Ágil</a:t>
            </a:r>
            <a:endParaRPr lang="es-ES_tradnl" sz="3600">
              <a:solidFill>
                <a:srgbClr val="43B02A"/>
              </a:solidFill>
            </a:endParaRPr>
          </a:p>
        </p:txBody>
      </p:sp>
      <p:pic>
        <p:nvPicPr>
          <p:cNvPr id="2" name="Picture 1"/>
          <p:cNvPicPr>
            <a:picLocks noChangeAspect="1"/>
          </p:cNvPicPr>
          <p:nvPr/>
        </p:nvPicPr>
        <p:blipFill>
          <a:blip r:embed="rId6"/>
          <a:stretch>
            <a:fillRect/>
          </a:stretch>
        </p:blipFill>
        <p:spPr>
          <a:xfrm>
            <a:off x="9337712" y="5164226"/>
            <a:ext cx="2447925" cy="1219200"/>
          </a:xfrm>
          <a:prstGeom prst="rect">
            <a:avLst/>
          </a:prstGeom>
        </p:spPr>
      </p:pic>
      <p:sp>
        <p:nvSpPr>
          <p:cNvPr id="14" name="Text Placeholder 8">
            <a:extLst>
              <a:ext uri="{FF2B5EF4-FFF2-40B4-BE49-F238E27FC236}">
                <a16:creationId xmlns:a16="http://schemas.microsoft.com/office/drawing/2014/main" id="{97342870-8AE4-44A3-99BD-D2BFA17D0833}"/>
              </a:ext>
            </a:extLst>
          </p:cNvPr>
          <p:cNvSpPr>
            <a:spLocks noGrp="1"/>
          </p:cNvSpPr>
          <p:nvPr>
            <p:ph type="body" sz="quarter" idx="10"/>
          </p:nvPr>
        </p:nvSpPr>
        <p:spPr>
          <a:xfrm>
            <a:off x="501647" y="6074224"/>
            <a:ext cx="7807851" cy="298451"/>
          </a:xfrm>
        </p:spPr>
        <p:txBody>
          <a:bodyPr/>
          <a:lstStyle/>
          <a:p>
            <a:r>
              <a:rPr lang="es-ES" sz="1600" b="1"/>
              <a:t>ISTQB Programa de Estudio de Nivel Básico Extensión Ágil</a:t>
            </a:r>
          </a:p>
        </p:txBody>
      </p:sp>
    </p:spTree>
    <p:extLst>
      <p:ext uri="{BB962C8B-B14F-4D97-AF65-F5344CB8AC3E}">
        <p14:creationId xmlns:p14="http://schemas.microsoft.com/office/powerpoint/2010/main" val="268246623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BDF62899-C1BE-17F4-1FC8-D2719B0B8DF7}"/>
              </a:ext>
            </a:extLst>
          </p:cNvPr>
          <p:cNvSpPr/>
          <p:nvPr/>
        </p:nvSpPr>
        <p:spPr bwMode="gray">
          <a:xfrm>
            <a:off x="4976236" y="3530166"/>
            <a:ext cx="2889381"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2.2.2. Gestión del riesgo de regresión</a:t>
            </a:r>
          </a:p>
        </p:txBody>
      </p:sp>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2">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10017486"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TEMA 2: PRINCIPIOS, PRÁCTICAS Y PROCESOS FUNDAMENTALES DE PRUEBA ÁGIL</a:t>
            </a:r>
          </a:p>
        </p:txBody>
      </p:sp>
      <p:sp>
        <p:nvSpPr>
          <p:cNvPr id="60" name="Freeform 685">
            <a:extLst>
              <a:ext uri="{FF2B5EF4-FFF2-40B4-BE49-F238E27FC236}">
                <a16:creationId xmlns:a16="http://schemas.microsoft.com/office/drawing/2014/main" id="{3D1F0A89-067B-4D7D-AA41-ED6C03096218}"/>
              </a:ext>
            </a:extLst>
          </p:cNvPr>
          <p:cNvSpPr>
            <a:spLocks noEditPoints="1"/>
          </p:cNvSpPr>
          <p:nvPr/>
        </p:nvSpPr>
        <p:spPr bwMode="auto">
          <a:xfrm>
            <a:off x="8819562" y="6550110"/>
            <a:ext cx="268054" cy="206011"/>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Rectangle: Rounded Corners 3">
            <a:extLst>
              <a:ext uri="{FF2B5EF4-FFF2-40B4-BE49-F238E27FC236}">
                <a16:creationId xmlns:a16="http://schemas.microsoft.com/office/drawing/2014/main" id="{4E1E5335-73F1-3905-5825-92E06A1F2D35}"/>
              </a:ext>
            </a:extLst>
          </p:cNvPr>
          <p:cNvSpPr/>
          <p:nvPr/>
        </p:nvSpPr>
        <p:spPr bwMode="gray">
          <a:xfrm>
            <a:off x="1058335" y="2752521"/>
            <a:ext cx="3026163"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2.1.1. Actividades de prueba y desarrollo</a:t>
            </a:r>
          </a:p>
        </p:txBody>
      </p:sp>
      <p:sp>
        <p:nvSpPr>
          <p:cNvPr id="7" name="Rectangle: Rounded Corners 6">
            <a:extLst>
              <a:ext uri="{FF2B5EF4-FFF2-40B4-BE49-F238E27FC236}">
                <a16:creationId xmlns:a16="http://schemas.microsoft.com/office/drawing/2014/main" id="{DCA2725D-D496-4FA9-3932-E3592EFC0034}"/>
              </a:ext>
            </a:extLst>
          </p:cNvPr>
          <p:cNvSpPr/>
          <p:nvPr/>
        </p:nvSpPr>
        <p:spPr bwMode="gray">
          <a:xfrm>
            <a:off x="1058335" y="3419761"/>
            <a:ext cx="3026164"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2.1.2. Productos de trabajo de un proyecto</a:t>
            </a:r>
          </a:p>
        </p:txBody>
      </p:sp>
      <p:sp>
        <p:nvSpPr>
          <p:cNvPr id="8" name="Rectangle: Rounded Corners 7">
            <a:extLst>
              <a:ext uri="{FF2B5EF4-FFF2-40B4-BE49-F238E27FC236}">
                <a16:creationId xmlns:a16="http://schemas.microsoft.com/office/drawing/2014/main" id="{68F4AFBF-5890-894B-30E9-3B25703D07D2}"/>
              </a:ext>
            </a:extLst>
          </p:cNvPr>
          <p:cNvSpPr/>
          <p:nvPr/>
        </p:nvSpPr>
        <p:spPr bwMode="gray">
          <a:xfrm>
            <a:off x="1058327" y="5261631"/>
            <a:ext cx="3026165" cy="828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2.1.5. Opciones de organización para pruebas independientes</a:t>
            </a:r>
          </a:p>
        </p:txBody>
      </p:sp>
      <p:cxnSp>
        <p:nvCxnSpPr>
          <p:cNvPr id="10" name="Connector: Elbow 9">
            <a:extLst>
              <a:ext uri="{FF2B5EF4-FFF2-40B4-BE49-F238E27FC236}">
                <a16:creationId xmlns:a16="http://schemas.microsoft.com/office/drawing/2014/main" id="{9DA2F590-EDB0-F307-6985-878C7D655062}"/>
              </a:ext>
            </a:extLst>
          </p:cNvPr>
          <p:cNvCxnSpPr>
            <a:cxnSpLocks/>
            <a:endCxn id="8" idx="1"/>
          </p:cNvCxnSpPr>
          <p:nvPr/>
        </p:nvCxnSpPr>
        <p:spPr>
          <a:xfrm rot="16200000" flipH="1">
            <a:off x="-660801" y="3956503"/>
            <a:ext cx="3203366" cy="234890"/>
          </a:xfrm>
          <a:prstGeom prst="bentConnector2">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BD62F9AB-61EA-BFD9-9B3B-5CC6D742B44B}"/>
              </a:ext>
            </a:extLst>
          </p:cNvPr>
          <p:cNvSpPr/>
          <p:nvPr/>
        </p:nvSpPr>
        <p:spPr bwMode="gray">
          <a:xfrm>
            <a:off x="439404" y="1786191"/>
            <a:ext cx="3645094" cy="774441"/>
          </a:xfrm>
          <a:prstGeom prst="roundRect">
            <a:avLst>
              <a:gd name="adj" fmla="val 50000"/>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t>2.1. Diferencias entre probar en enfoques tradicionales y ágiles</a:t>
            </a:r>
          </a:p>
        </p:txBody>
      </p:sp>
      <p:cxnSp>
        <p:nvCxnSpPr>
          <p:cNvPr id="14" name="Straight Arrow Connector 13">
            <a:extLst>
              <a:ext uri="{FF2B5EF4-FFF2-40B4-BE49-F238E27FC236}">
                <a16:creationId xmlns:a16="http://schemas.microsoft.com/office/drawing/2014/main" id="{F980479C-CE03-649E-F12A-FD234788C1F2}"/>
              </a:ext>
            </a:extLst>
          </p:cNvPr>
          <p:cNvCxnSpPr>
            <a:cxnSpLocks/>
            <a:endCxn id="7" idx="1"/>
          </p:cNvCxnSpPr>
          <p:nvPr/>
        </p:nvCxnSpPr>
        <p:spPr>
          <a:xfrm>
            <a:off x="823445" y="3707761"/>
            <a:ext cx="234890"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10B2AC5-69C8-E345-30F1-7FCBDCD313D7}"/>
              </a:ext>
            </a:extLst>
          </p:cNvPr>
          <p:cNvCxnSpPr/>
          <p:nvPr/>
        </p:nvCxnSpPr>
        <p:spPr>
          <a:xfrm>
            <a:off x="828112" y="3032432"/>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2FD921E3-0A81-61F8-020C-E44280FDB9F5}"/>
              </a:ext>
            </a:extLst>
          </p:cNvPr>
          <p:cNvSpPr/>
          <p:nvPr/>
        </p:nvSpPr>
        <p:spPr bwMode="gray">
          <a:xfrm>
            <a:off x="4951018" y="2778763"/>
            <a:ext cx="2889380"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2.2.1. Comunicar el estado de la prueba</a:t>
            </a:r>
          </a:p>
        </p:txBody>
      </p:sp>
      <p:cxnSp>
        <p:nvCxnSpPr>
          <p:cNvPr id="20" name="Connector: Elbow 19">
            <a:extLst>
              <a:ext uri="{FF2B5EF4-FFF2-40B4-BE49-F238E27FC236}">
                <a16:creationId xmlns:a16="http://schemas.microsoft.com/office/drawing/2014/main" id="{5AD38BDE-2E1A-77DF-B376-C6B1BFECDE73}"/>
              </a:ext>
            </a:extLst>
          </p:cNvPr>
          <p:cNvCxnSpPr>
            <a:cxnSpLocks/>
            <a:endCxn id="32" idx="1"/>
          </p:cNvCxnSpPr>
          <p:nvPr/>
        </p:nvCxnSpPr>
        <p:spPr>
          <a:xfrm rot="16200000" flipH="1">
            <a:off x="4192235" y="3034165"/>
            <a:ext cx="1303230" cy="264772"/>
          </a:xfrm>
          <a:prstGeom prst="bentConnector2">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B460105E-2692-65EB-FFBA-E34EC662EEDA}"/>
              </a:ext>
            </a:extLst>
          </p:cNvPr>
          <p:cNvSpPr/>
          <p:nvPr/>
        </p:nvSpPr>
        <p:spPr bwMode="gray">
          <a:xfrm>
            <a:off x="4322757" y="1786191"/>
            <a:ext cx="3517641" cy="774441"/>
          </a:xfrm>
          <a:prstGeom prst="roundRect">
            <a:avLst>
              <a:gd name="adj" fmla="val 50000"/>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a:t>2.2. Situación de la prueba en proyectos ágiles</a:t>
            </a:r>
          </a:p>
        </p:txBody>
      </p:sp>
      <p:cxnSp>
        <p:nvCxnSpPr>
          <p:cNvPr id="34" name="Straight Arrow Connector 33">
            <a:extLst>
              <a:ext uri="{FF2B5EF4-FFF2-40B4-BE49-F238E27FC236}">
                <a16:creationId xmlns:a16="http://schemas.microsoft.com/office/drawing/2014/main" id="{59421078-AF1E-83E7-E7E7-267B78BC2B24}"/>
              </a:ext>
            </a:extLst>
          </p:cNvPr>
          <p:cNvCxnSpPr>
            <a:cxnSpLocks/>
          </p:cNvCxnSpPr>
          <p:nvPr/>
        </p:nvCxnSpPr>
        <p:spPr>
          <a:xfrm>
            <a:off x="4711465" y="3065825"/>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94AFB3A7-C7A8-47BA-E986-C9E285D7385B}"/>
              </a:ext>
            </a:extLst>
          </p:cNvPr>
          <p:cNvSpPr/>
          <p:nvPr/>
        </p:nvSpPr>
        <p:spPr bwMode="gray">
          <a:xfrm>
            <a:off x="1058334" y="4090002"/>
            <a:ext cx="3026164" cy="39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2.1.3. Niveles de prueba</a:t>
            </a:r>
          </a:p>
        </p:txBody>
      </p:sp>
      <p:cxnSp>
        <p:nvCxnSpPr>
          <p:cNvPr id="12" name="Straight Arrow Connector 11">
            <a:extLst>
              <a:ext uri="{FF2B5EF4-FFF2-40B4-BE49-F238E27FC236}">
                <a16:creationId xmlns:a16="http://schemas.microsoft.com/office/drawing/2014/main" id="{5C455B78-43FC-9B92-C390-16AC5892EA73}"/>
              </a:ext>
            </a:extLst>
          </p:cNvPr>
          <p:cNvCxnSpPr>
            <a:cxnSpLocks/>
            <a:endCxn id="11" idx="1"/>
          </p:cNvCxnSpPr>
          <p:nvPr/>
        </p:nvCxnSpPr>
        <p:spPr>
          <a:xfrm>
            <a:off x="823445" y="4288002"/>
            <a:ext cx="234889"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BE1D3EF5-9CED-C213-3342-B3C9E8C3A18A}"/>
              </a:ext>
            </a:extLst>
          </p:cNvPr>
          <p:cNvSpPr/>
          <p:nvPr/>
        </p:nvSpPr>
        <p:spPr bwMode="gray">
          <a:xfrm>
            <a:off x="1058332" y="4583093"/>
            <a:ext cx="3026164"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2.1.4. Prueba y Gestión de la Configuración</a:t>
            </a:r>
          </a:p>
        </p:txBody>
      </p:sp>
      <p:cxnSp>
        <p:nvCxnSpPr>
          <p:cNvPr id="25" name="Straight Arrow Connector 24">
            <a:extLst>
              <a:ext uri="{FF2B5EF4-FFF2-40B4-BE49-F238E27FC236}">
                <a16:creationId xmlns:a16="http://schemas.microsoft.com/office/drawing/2014/main" id="{CDB0F0DB-7B8A-CCA7-5445-CEA40389223A}"/>
              </a:ext>
            </a:extLst>
          </p:cNvPr>
          <p:cNvCxnSpPr>
            <a:cxnSpLocks/>
            <a:endCxn id="21" idx="1"/>
          </p:cNvCxnSpPr>
          <p:nvPr/>
        </p:nvCxnSpPr>
        <p:spPr>
          <a:xfrm>
            <a:off x="823442" y="4871093"/>
            <a:ext cx="234890"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BFC572C3-7B84-E809-DE42-714D238A31DC}"/>
              </a:ext>
            </a:extLst>
          </p:cNvPr>
          <p:cNvSpPr/>
          <p:nvPr/>
        </p:nvSpPr>
        <p:spPr bwMode="gray">
          <a:xfrm>
            <a:off x="8783869" y="3540244"/>
            <a:ext cx="2889381"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2.3.2. Rol de un probador ágil</a:t>
            </a:r>
          </a:p>
        </p:txBody>
      </p:sp>
      <p:sp>
        <p:nvSpPr>
          <p:cNvPr id="33" name="Rectangle: Rounded Corners 32">
            <a:extLst>
              <a:ext uri="{FF2B5EF4-FFF2-40B4-BE49-F238E27FC236}">
                <a16:creationId xmlns:a16="http://schemas.microsoft.com/office/drawing/2014/main" id="{5CBCD76F-E3F1-8B3E-92EA-147B6E915FE5}"/>
              </a:ext>
            </a:extLst>
          </p:cNvPr>
          <p:cNvSpPr/>
          <p:nvPr/>
        </p:nvSpPr>
        <p:spPr bwMode="gray">
          <a:xfrm>
            <a:off x="8758650" y="2778763"/>
            <a:ext cx="2889380"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2.3.1. Competencias de un probador ágil</a:t>
            </a:r>
          </a:p>
        </p:txBody>
      </p:sp>
      <p:cxnSp>
        <p:nvCxnSpPr>
          <p:cNvPr id="36" name="Connector: Elbow 35">
            <a:extLst>
              <a:ext uri="{FF2B5EF4-FFF2-40B4-BE49-F238E27FC236}">
                <a16:creationId xmlns:a16="http://schemas.microsoft.com/office/drawing/2014/main" id="{4AB2F8E6-0471-C704-8945-EE1DE86BBC70}"/>
              </a:ext>
            </a:extLst>
          </p:cNvPr>
          <p:cNvCxnSpPr>
            <a:cxnSpLocks/>
            <a:endCxn id="31" idx="1"/>
          </p:cNvCxnSpPr>
          <p:nvPr/>
        </p:nvCxnSpPr>
        <p:spPr>
          <a:xfrm rot="16200000" flipH="1">
            <a:off x="7999868" y="3044243"/>
            <a:ext cx="1303230" cy="264772"/>
          </a:xfrm>
          <a:prstGeom prst="bentConnector2">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7" name="Rectangle: Rounded Corners 36">
            <a:extLst>
              <a:ext uri="{FF2B5EF4-FFF2-40B4-BE49-F238E27FC236}">
                <a16:creationId xmlns:a16="http://schemas.microsoft.com/office/drawing/2014/main" id="{AC8BE24E-DE79-42C5-B82E-91493F3499DF}"/>
              </a:ext>
            </a:extLst>
          </p:cNvPr>
          <p:cNvSpPr/>
          <p:nvPr/>
        </p:nvSpPr>
        <p:spPr bwMode="gray">
          <a:xfrm>
            <a:off x="8130389" y="1786191"/>
            <a:ext cx="3517641" cy="774441"/>
          </a:xfrm>
          <a:prstGeom prst="roundRect">
            <a:avLst>
              <a:gd name="adj" fmla="val 50000"/>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a:t>2.3. Rol y competencias de un probador ágil</a:t>
            </a:r>
          </a:p>
        </p:txBody>
      </p:sp>
      <p:cxnSp>
        <p:nvCxnSpPr>
          <p:cNvPr id="38" name="Straight Arrow Connector 37">
            <a:extLst>
              <a:ext uri="{FF2B5EF4-FFF2-40B4-BE49-F238E27FC236}">
                <a16:creationId xmlns:a16="http://schemas.microsoft.com/office/drawing/2014/main" id="{B507CCB0-A129-3536-1F2C-0F6B7AA5D4B3}"/>
              </a:ext>
            </a:extLst>
          </p:cNvPr>
          <p:cNvCxnSpPr>
            <a:cxnSpLocks/>
          </p:cNvCxnSpPr>
          <p:nvPr/>
        </p:nvCxnSpPr>
        <p:spPr>
          <a:xfrm>
            <a:off x="8519097" y="3065825"/>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62121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7718780"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2.1 </a:t>
            </a:r>
            <a:r>
              <a:rPr lang="en-GB" altLang="en-US" sz="1600" b="1" err="1">
                <a:solidFill>
                  <a:schemeClr val="accent1"/>
                </a:solidFill>
                <a:latin typeface="Verdana" pitchFamily="34" charset="0"/>
                <a:ea typeface="Arial" pitchFamily="34" charset="0"/>
                <a:cs typeface="Verdana" pitchFamily="34" charset="0"/>
              </a:rPr>
              <a:t>Diferencias</a:t>
            </a:r>
            <a:r>
              <a:rPr lang="en-GB" altLang="en-US" sz="1600" b="1">
                <a:solidFill>
                  <a:schemeClr val="accent1"/>
                </a:solidFill>
                <a:latin typeface="Verdana" pitchFamily="34" charset="0"/>
                <a:ea typeface="Arial" pitchFamily="34" charset="0"/>
                <a:cs typeface="Verdana" pitchFamily="34" charset="0"/>
              </a:rPr>
              <a:t> entre </a:t>
            </a:r>
            <a:r>
              <a:rPr lang="en-GB" altLang="en-US" sz="1600" b="1" err="1">
                <a:solidFill>
                  <a:schemeClr val="accent1"/>
                </a:solidFill>
                <a:latin typeface="Verdana" pitchFamily="34" charset="0"/>
                <a:ea typeface="Arial" pitchFamily="34" charset="0"/>
                <a:cs typeface="Verdana" pitchFamily="34" charset="0"/>
              </a:rPr>
              <a:t>probar</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en</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tradicionales</a:t>
            </a:r>
            <a:r>
              <a:rPr lang="en-GB" altLang="en-US" sz="1600" b="1">
                <a:solidFill>
                  <a:schemeClr val="accent1"/>
                </a:solidFill>
                <a:latin typeface="Verdana" pitchFamily="34" charset="0"/>
                <a:ea typeface="Arial" pitchFamily="34" charset="0"/>
                <a:cs typeface="Verdana" pitchFamily="34" charset="0"/>
              </a:rPr>
              <a:t> y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30" name="TextBox 29">
            <a:extLst>
              <a:ext uri="{FF2B5EF4-FFF2-40B4-BE49-F238E27FC236}">
                <a16:creationId xmlns:a16="http://schemas.microsoft.com/office/drawing/2014/main" id="{AB9DE26F-DC7E-4569-9118-90461BDA080D}"/>
              </a:ext>
            </a:extLst>
          </p:cNvPr>
          <p:cNvSpPr txBox="1"/>
          <p:nvPr/>
        </p:nvSpPr>
        <p:spPr>
          <a:xfrm>
            <a:off x="616539" y="2266021"/>
            <a:ext cx="10958921" cy="2431435"/>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Las pruebas se realizan </a:t>
            </a:r>
            <a:r>
              <a:rPr lang="es-ES" sz="1400" b="1">
                <a:effectLst/>
                <a:latin typeface="+mj-lt"/>
                <a:ea typeface="Calibri" panose="020F0502020204030204" pitchFamily="34" charset="0"/>
                <a:cs typeface="Times New Roman" panose="02020603050405020304" pitchFamily="18" charset="0"/>
              </a:rPr>
              <a:t>durante toda la iteración, </a:t>
            </a:r>
            <a:r>
              <a:rPr lang="es-ES" sz="1400">
                <a:effectLst/>
                <a:latin typeface="+mj-lt"/>
                <a:ea typeface="Calibri" panose="020F0502020204030204" pitchFamily="34" charset="0"/>
                <a:cs typeface="Times New Roman" panose="02020603050405020304" pitchFamily="18" charset="0"/>
              </a:rPr>
              <a:t>no solamente al final.</a:t>
            </a:r>
          </a:p>
          <a:p>
            <a:pPr marL="285750" indent="-285750">
              <a:spcAft>
                <a:spcPts val="800"/>
              </a:spcAft>
              <a:buFont typeface="Arial" panose="020B0604020202020204" pitchFamily="34" charset="0"/>
              <a:buChar char="•"/>
            </a:pPr>
            <a:r>
              <a:rPr lang="es-ES" sz="1400" b="1">
                <a:latin typeface="+mj-lt"/>
                <a:ea typeface="Calibri" panose="020F0502020204030204" pitchFamily="34" charset="0"/>
                <a:cs typeface="Times New Roman" panose="02020603050405020304" pitchFamily="18" charset="0"/>
              </a:rPr>
              <a:t>Todo el equipo </a:t>
            </a:r>
            <a:r>
              <a:rPr lang="es-ES" sz="1400">
                <a:latin typeface="+mj-lt"/>
                <a:ea typeface="Calibri" panose="020F0502020204030204" pitchFamily="34" charset="0"/>
                <a:cs typeface="Times New Roman" panose="02020603050405020304" pitchFamily="18" charset="0"/>
              </a:rPr>
              <a:t>se involucra en las pruebas.</a:t>
            </a:r>
          </a:p>
          <a:p>
            <a:pPr marL="285750" indent="-285750">
              <a:spcAft>
                <a:spcPts val="800"/>
              </a:spcAft>
              <a:buFont typeface="Arial" panose="020B0604020202020204" pitchFamily="34" charset="0"/>
              <a:buChar char="•"/>
            </a:pPr>
            <a:r>
              <a:rPr lang="es-ES" sz="1400" b="1">
                <a:latin typeface="+mj-lt"/>
                <a:ea typeface="Calibri" panose="020F0502020204030204" pitchFamily="34" charset="0"/>
                <a:cs typeface="Times New Roman" panose="02020603050405020304" pitchFamily="18" charset="0"/>
              </a:rPr>
              <a:t>Práctica de “Corregir errores primero” </a:t>
            </a:r>
            <a:r>
              <a:rPr lang="es-ES" sz="1400" b="1">
                <a:latin typeface="+mj-lt"/>
                <a:ea typeface="Calibri" panose="020F0502020204030204" pitchFamily="34" charset="0"/>
                <a:cs typeface="Times New Roman" panose="02020603050405020304" pitchFamily="18" charset="0"/>
                <a:sym typeface="Wingdings" panose="05000000000000000000" pitchFamily="2" charset="2"/>
              </a:rPr>
              <a:t> </a:t>
            </a:r>
            <a:r>
              <a:rPr lang="es-ES" sz="1400">
                <a:latin typeface="+mj-lt"/>
                <a:ea typeface="Calibri" panose="020F0502020204030204" pitchFamily="34" charset="0"/>
                <a:cs typeface="Times New Roman" panose="02020603050405020304" pitchFamily="18" charset="0"/>
                <a:sym typeface="Wingdings" panose="05000000000000000000" pitchFamily="2" charset="2"/>
              </a:rPr>
              <a:t>solucionar los defectos de la anterior iteración al principio de la siguiente.</a:t>
            </a:r>
            <a:endParaRPr lang="es-ES" sz="1400" b="1">
              <a:latin typeface="+mj-lt"/>
              <a:ea typeface="Calibri" panose="020F0502020204030204" pitchFamily="34" charset="0"/>
              <a:cs typeface="Times New Roman" panose="02020603050405020304" pitchFamily="18" charset="0"/>
            </a:endParaRP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En la Programación Extrema (XP) </a:t>
            </a:r>
            <a:r>
              <a:rPr lang="es-ES" sz="1400" b="1">
                <a:latin typeface="+mj-lt"/>
                <a:ea typeface="Calibri" panose="020F0502020204030204" pitchFamily="34" charset="0"/>
                <a:cs typeface="Times New Roman" panose="02020603050405020304" pitchFamily="18" charset="0"/>
                <a:sym typeface="Wingdings" panose="05000000000000000000" pitchFamily="2" charset="2"/>
              </a:rPr>
              <a:t></a:t>
            </a:r>
            <a:r>
              <a:rPr lang="es-ES" sz="1400">
                <a:latin typeface="+mj-lt"/>
                <a:ea typeface="Calibri" panose="020F0502020204030204" pitchFamily="34" charset="0"/>
                <a:cs typeface="Times New Roman" panose="02020603050405020304" pitchFamily="18" charset="0"/>
                <a:sym typeface="Wingdings" panose="05000000000000000000" pitchFamily="2" charset="2"/>
              </a:rPr>
              <a:t> </a:t>
            </a:r>
            <a:r>
              <a:rPr lang="es-ES" sz="1400" b="1">
                <a:latin typeface="+mj-lt"/>
                <a:ea typeface="Calibri" panose="020F0502020204030204" pitchFamily="34" charset="0"/>
                <a:cs typeface="Times New Roman" panose="02020603050405020304" pitchFamily="18" charset="0"/>
                <a:sym typeface="Wingdings" panose="05000000000000000000" pitchFamily="2" charset="2"/>
              </a:rPr>
              <a:t>Programación en pareja.</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Los probadores actúan como </a:t>
            </a:r>
            <a:r>
              <a:rPr lang="es-ES" sz="1400" b="1">
                <a:effectLst/>
                <a:latin typeface="+mj-lt"/>
                <a:ea typeface="Calibri" panose="020F0502020204030204" pitchFamily="34" charset="0"/>
                <a:cs typeface="Times New Roman" panose="02020603050405020304" pitchFamily="18" charset="0"/>
              </a:rPr>
              <a:t>entrenadores de la prueba.</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Las </a:t>
            </a:r>
            <a:r>
              <a:rPr lang="es-ES" sz="1400" b="1">
                <a:effectLst/>
                <a:latin typeface="+mj-lt"/>
                <a:ea typeface="Calibri" panose="020F0502020204030204" pitchFamily="34" charset="0"/>
                <a:cs typeface="Times New Roman" panose="02020603050405020304" pitchFamily="18" charset="0"/>
              </a:rPr>
              <a:t>pruebas automatizadas </a:t>
            </a:r>
            <a:r>
              <a:rPr lang="es-ES" sz="1400">
                <a:effectLst/>
                <a:latin typeface="+mj-lt"/>
                <a:ea typeface="Calibri" panose="020F0502020204030204" pitchFamily="34" charset="0"/>
                <a:cs typeface="Times New Roman" panose="02020603050405020304" pitchFamily="18" charset="0"/>
              </a:rPr>
              <a:t>juegan un papel fundamental.</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Las pruebas manuales se reducen a pruebas basadas en la experiencia del probador.</a:t>
            </a:r>
          </a:p>
        </p:txBody>
      </p:sp>
      <p:sp>
        <p:nvSpPr>
          <p:cNvPr id="3" name="Rectangle: Rounded Corners 2">
            <a:extLst>
              <a:ext uri="{FF2B5EF4-FFF2-40B4-BE49-F238E27FC236}">
                <a16:creationId xmlns:a16="http://schemas.microsoft.com/office/drawing/2014/main" id="{240E4BEB-B94C-1D23-0029-4D1AE11B78AD}"/>
              </a:ext>
            </a:extLst>
          </p:cNvPr>
          <p:cNvSpPr/>
          <p:nvPr/>
        </p:nvSpPr>
        <p:spPr bwMode="gray">
          <a:xfrm>
            <a:off x="427536" y="1663155"/>
            <a:ext cx="4584731"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2.1.1. Actividades de prueba y desarrollo</a:t>
            </a:r>
          </a:p>
        </p:txBody>
      </p:sp>
      <p:sp>
        <p:nvSpPr>
          <p:cNvPr id="4" name="Rectangle: Rounded Corners 3">
            <a:extLst>
              <a:ext uri="{FF2B5EF4-FFF2-40B4-BE49-F238E27FC236}">
                <a16:creationId xmlns:a16="http://schemas.microsoft.com/office/drawing/2014/main" id="{8B421C3D-0B78-C4CC-A271-2AC658D39783}"/>
              </a:ext>
            </a:extLst>
          </p:cNvPr>
          <p:cNvSpPr/>
          <p:nvPr/>
        </p:nvSpPr>
        <p:spPr bwMode="gray">
          <a:xfrm>
            <a:off x="616539" y="5100381"/>
            <a:ext cx="11045236" cy="1110936"/>
          </a:xfrm>
          <a:prstGeom prst="roundRect">
            <a:avLst/>
          </a:prstGeom>
          <a:solidFill>
            <a:schemeClr val="bg1"/>
          </a:solidFill>
          <a:ln w="31750" algn="ctr">
            <a:solidFill>
              <a:srgbClr val="046A38"/>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080CF1DA-094C-10BF-92B2-CF17DE7CE145}"/>
              </a:ext>
            </a:extLst>
          </p:cNvPr>
          <p:cNvSpPr/>
          <p:nvPr/>
        </p:nvSpPr>
        <p:spPr bwMode="gray">
          <a:xfrm>
            <a:off x="1496008" y="4896912"/>
            <a:ext cx="9199983" cy="387220"/>
          </a:xfrm>
          <a:prstGeom prst="roundRect">
            <a:avLst>
              <a:gd name="adj" fmla="val 50000"/>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Es recomendable hacer la práctica de </a:t>
            </a:r>
            <a:r>
              <a:rPr lang="es-ES" sz="1400" b="1" i="1">
                <a:solidFill>
                  <a:schemeClr val="bg1"/>
                </a:solidFill>
              </a:rPr>
              <a:t>“Corregir errores primero”</a:t>
            </a:r>
            <a:r>
              <a:rPr lang="es-ES" sz="1400" b="1">
                <a:solidFill>
                  <a:schemeClr val="bg1"/>
                </a:solidFill>
              </a:rPr>
              <a:t>? </a:t>
            </a:r>
          </a:p>
        </p:txBody>
      </p:sp>
      <p:sp>
        <p:nvSpPr>
          <p:cNvPr id="8" name="TextBox 7">
            <a:extLst>
              <a:ext uri="{FF2B5EF4-FFF2-40B4-BE49-F238E27FC236}">
                <a16:creationId xmlns:a16="http://schemas.microsoft.com/office/drawing/2014/main" id="{BDA14C7C-3457-3335-247D-E4A5CDFB05AA}"/>
              </a:ext>
            </a:extLst>
          </p:cNvPr>
          <p:cNvSpPr txBox="1"/>
          <p:nvPr/>
        </p:nvSpPr>
        <p:spPr>
          <a:xfrm>
            <a:off x="885380" y="5467882"/>
            <a:ext cx="10421236" cy="523220"/>
          </a:xfrm>
          <a:prstGeom prst="rect">
            <a:avLst/>
          </a:prstGeom>
          <a:noFill/>
        </p:spPr>
        <p:txBody>
          <a:bodyPr wrap="square">
            <a:spAutoFit/>
          </a:bodyPr>
          <a:lstStyle/>
          <a:p>
            <a:pPr>
              <a:spcAft>
                <a:spcPts val="800"/>
              </a:spcAft>
            </a:pPr>
            <a:r>
              <a:rPr lang="es-ES" sz="1400">
                <a:latin typeface="+mj-lt"/>
                <a:ea typeface="Calibri" panose="020F0502020204030204" pitchFamily="34" charset="0"/>
                <a:cs typeface="Times New Roman" panose="02020603050405020304" pitchFamily="18" charset="0"/>
              </a:rPr>
              <a:t>No siempre. A veces puede provocar que se desconozca el trabajo total a realizar en la iteración, complicando así la estimación de las tareas.</a:t>
            </a:r>
            <a:endParaRPr lang="es-ES" sz="1400">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4805838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82573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2.1 </a:t>
            </a:r>
            <a:r>
              <a:rPr lang="es-ES" altLang="en-US" sz="1600" b="1">
                <a:solidFill>
                  <a:schemeClr val="accent1"/>
                </a:solidFill>
                <a:latin typeface="Verdana" pitchFamily="34" charset="0"/>
                <a:ea typeface="Arial" pitchFamily="34" charset="0"/>
                <a:cs typeface="Verdana" pitchFamily="34" charset="0"/>
              </a:rPr>
              <a:t>Las Diferencias entre Probar en Enfoques Tradicionales y Ágiles</a:t>
            </a:r>
            <a:endParaRPr lang="en-GB" altLang="en-US" sz="1600" b="1">
              <a:solidFill>
                <a:schemeClr val="accent1"/>
              </a:solidFill>
              <a:latin typeface="Verdana" pitchFamily="34" charset="0"/>
              <a:ea typeface="Arial" pitchFamily="34" charset="0"/>
              <a:cs typeface="Verdana" pitchFamily="34" charset="0"/>
            </a:endParaRPr>
          </a:p>
        </p:txBody>
      </p:sp>
      <p:sp>
        <p:nvSpPr>
          <p:cNvPr id="30" name="TextBox 29">
            <a:extLst>
              <a:ext uri="{FF2B5EF4-FFF2-40B4-BE49-F238E27FC236}">
                <a16:creationId xmlns:a16="http://schemas.microsoft.com/office/drawing/2014/main" id="{AB9DE26F-DC7E-4569-9118-90461BDA080D}"/>
              </a:ext>
            </a:extLst>
          </p:cNvPr>
          <p:cNvSpPr txBox="1"/>
          <p:nvPr/>
        </p:nvSpPr>
        <p:spPr>
          <a:xfrm>
            <a:off x="399892" y="2191353"/>
            <a:ext cx="11201400" cy="307777"/>
          </a:xfrm>
          <a:prstGeom prst="rect">
            <a:avLst/>
          </a:prstGeom>
          <a:noFill/>
        </p:spPr>
        <p:txBody>
          <a:bodyPr wrap="square">
            <a:spAutoFit/>
          </a:bodyPr>
          <a:lstStyle/>
          <a:p>
            <a:pPr>
              <a:spcAft>
                <a:spcPts val="800"/>
              </a:spcAft>
            </a:pPr>
            <a:r>
              <a:rPr lang="es-ES" sz="1400">
                <a:effectLst/>
                <a:latin typeface="+mj-lt"/>
                <a:ea typeface="Calibri" panose="020F0502020204030204" pitchFamily="34" charset="0"/>
                <a:cs typeface="Times New Roman" panose="02020603050405020304" pitchFamily="18" charset="0"/>
              </a:rPr>
              <a:t>Los </a:t>
            </a:r>
            <a:r>
              <a:rPr lang="es-ES" sz="1400" b="1">
                <a:effectLst/>
                <a:latin typeface="+mj-lt"/>
                <a:ea typeface="Calibri" panose="020F0502020204030204" pitchFamily="34" charset="0"/>
                <a:cs typeface="Times New Roman" panose="02020603050405020304" pitchFamily="18" charset="0"/>
              </a:rPr>
              <a:t>productos de trabajo</a:t>
            </a:r>
            <a:r>
              <a:rPr lang="es-ES" sz="1400">
                <a:effectLst/>
                <a:latin typeface="+mj-lt"/>
                <a:ea typeface="Calibri" panose="020F0502020204030204" pitchFamily="34" charset="0"/>
                <a:cs typeface="Times New Roman" panose="02020603050405020304" pitchFamily="18" charset="0"/>
              </a:rPr>
              <a:t> del proyecto de interés directo para los probadores ágiles suelen pertenecer a tres categorías:</a:t>
            </a:r>
          </a:p>
        </p:txBody>
      </p:sp>
      <p:sp>
        <p:nvSpPr>
          <p:cNvPr id="3" name="Rectangle: Rounded Corners 2">
            <a:extLst>
              <a:ext uri="{FF2B5EF4-FFF2-40B4-BE49-F238E27FC236}">
                <a16:creationId xmlns:a16="http://schemas.microsoft.com/office/drawing/2014/main" id="{A1E03A27-95D4-B6F0-160F-3EE945D98AAF}"/>
              </a:ext>
            </a:extLst>
          </p:cNvPr>
          <p:cNvSpPr/>
          <p:nvPr/>
        </p:nvSpPr>
        <p:spPr bwMode="gray">
          <a:xfrm>
            <a:off x="427536" y="1663155"/>
            <a:ext cx="4853591"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2.1.2. Productos de trabajo en un proyecto</a:t>
            </a:r>
          </a:p>
        </p:txBody>
      </p:sp>
      <p:sp>
        <p:nvSpPr>
          <p:cNvPr id="4" name="Rectangle: Rounded Corners 3">
            <a:extLst>
              <a:ext uri="{FF2B5EF4-FFF2-40B4-BE49-F238E27FC236}">
                <a16:creationId xmlns:a16="http://schemas.microsoft.com/office/drawing/2014/main" id="{4EDDFF95-0F9D-F6B2-B9CA-E3F40713CC95}"/>
              </a:ext>
            </a:extLst>
          </p:cNvPr>
          <p:cNvSpPr/>
          <p:nvPr/>
        </p:nvSpPr>
        <p:spPr bwMode="gray">
          <a:xfrm>
            <a:off x="1216045" y="2919719"/>
            <a:ext cx="3026164" cy="1039377"/>
          </a:xfrm>
          <a:prstGeom prst="roundRect">
            <a:avLst>
              <a:gd name="adj" fmla="val 17461"/>
            </a:avLst>
          </a:prstGeom>
          <a:solidFill>
            <a:schemeClr val="bg1"/>
          </a:solidFill>
          <a:ln w="31750" algn="ctr">
            <a:solidFill>
              <a:srgbClr val="046A38"/>
            </a:solidFill>
            <a:miter lim="800000"/>
            <a:headEnd/>
            <a:tailEnd/>
          </a:ln>
        </p:spPr>
        <p:txBody>
          <a:bodyPr wrap="square" lIns="88900" tIns="88900" rIns="88900" bIns="88900" rtlCol="0" anchor="ctr"/>
          <a:lstStyle/>
          <a:p>
            <a:pPr>
              <a:lnSpc>
                <a:spcPct val="106000"/>
              </a:lnSpc>
              <a:buFont typeface="Wingdings 2" pitchFamily="18" charset="2"/>
              <a:buNone/>
            </a:pPr>
            <a:endParaRPr lang="es-ES" sz="1400"/>
          </a:p>
        </p:txBody>
      </p:sp>
      <p:sp>
        <p:nvSpPr>
          <p:cNvPr id="5" name="Rectangle: Rounded Corners 4">
            <a:extLst>
              <a:ext uri="{FF2B5EF4-FFF2-40B4-BE49-F238E27FC236}">
                <a16:creationId xmlns:a16="http://schemas.microsoft.com/office/drawing/2014/main" id="{0628EA40-CD33-6009-1BFB-A907F7F5B9F5}"/>
              </a:ext>
            </a:extLst>
          </p:cNvPr>
          <p:cNvSpPr/>
          <p:nvPr/>
        </p:nvSpPr>
        <p:spPr bwMode="gray">
          <a:xfrm>
            <a:off x="1472703" y="2726109"/>
            <a:ext cx="2512847" cy="387220"/>
          </a:xfrm>
          <a:prstGeom prst="roundRect">
            <a:avLst>
              <a:gd name="adj" fmla="val 50000"/>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De negocio </a:t>
            </a:r>
          </a:p>
        </p:txBody>
      </p:sp>
      <p:sp>
        <p:nvSpPr>
          <p:cNvPr id="7" name="Rectangle: Rounded Corners 6">
            <a:extLst>
              <a:ext uri="{FF2B5EF4-FFF2-40B4-BE49-F238E27FC236}">
                <a16:creationId xmlns:a16="http://schemas.microsoft.com/office/drawing/2014/main" id="{B6EB4B28-B76D-1C9A-1CE7-C1E7A32EF819}"/>
              </a:ext>
            </a:extLst>
          </p:cNvPr>
          <p:cNvSpPr/>
          <p:nvPr/>
        </p:nvSpPr>
        <p:spPr bwMode="gray">
          <a:xfrm>
            <a:off x="4531557" y="2919719"/>
            <a:ext cx="3026164" cy="1039377"/>
          </a:xfrm>
          <a:prstGeom prst="roundRect">
            <a:avLst>
              <a:gd name="adj" fmla="val 17461"/>
            </a:avLst>
          </a:prstGeom>
          <a:solidFill>
            <a:schemeClr val="bg1"/>
          </a:solidFill>
          <a:ln w="31750" algn="ctr">
            <a:solidFill>
              <a:srgbClr val="43B02A"/>
            </a:solidFill>
            <a:miter lim="800000"/>
            <a:headEnd/>
            <a:tailEnd/>
          </a:ln>
        </p:spPr>
        <p:txBody>
          <a:bodyPr wrap="square" lIns="88900" tIns="88900" rIns="88900" bIns="88900" rtlCol="0" anchor="ctr"/>
          <a:lstStyle/>
          <a:p>
            <a:pPr>
              <a:lnSpc>
                <a:spcPct val="106000"/>
              </a:lnSpc>
              <a:buFont typeface="Wingdings 2" pitchFamily="18" charset="2"/>
              <a:buNone/>
            </a:pPr>
            <a:endParaRPr lang="es-ES" sz="1400"/>
          </a:p>
        </p:txBody>
      </p:sp>
      <p:sp>
        <p:nvSpPr>
          <p:cNvPr id="9" name="Rectangle: Rounded Corners 8">
            <a:extLst>
              <a:ext uri="{FF2B5EF4-FFF2-40B4-BE49-F238E27FC236}">
                <a16:creationId xmlns:a16="http://schemas.microsoft.com/office/drawing/2014/main" id="{C5F0E448-66DA-36C6-962A-F165A5AB5E3C}"/>
              </a:ext>
            </a:extLst>
          </p:cNvPr>
          <p:cNvSpPr/>
          <p:nvPr/>
        </p:nvSpPr>
        <p:spPr bwMode="gray">
          <a:xfrm>
            <a:off x="4788215" y="2726109"/>
            <a:ext cx="2512847" cy="387220"/>
          </a:xfrm>
          <a:prstGeom prst="roundRect">
            <a:avLst>
              <a:gd name="adj" fmla="val 50000"/>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De desarrollo</a:t>
            </a:r>
          </a:p>
        </p:txBody>
      </p:sp>
      <p:sp>
        <p:nvSpPr>
          <p:cNvPr id="10" name="TextBox 9">
            <a:extLst>
              <a:ext uri="{FF2B5EF4-FFF2-40B4-BE49-F238E27FC236}">
                <a16:creationId xmlns:a16="http://schemas.microsoft.com/office/drawing/2014/main" id="{B0496E5F-8886-0299-6802-1C451FA5FEB6}"/>
              </a:ext>
            </a:extLst>
          </p:cNvPr>
          <p:cNvSpPr txBox="1"/>
          <p:nvPr/>
        </p:nvSpPr>
        <p:spPr>
          <a:xfrm>
            <a:off x="1276529" y="3253816"/>
            <a:ext cx="2879984" cy="523220"/>
          </a:xfrm>
          <a:prstGeom prst="rect">
            <a:avLst/>
          </a:prstGeom>
          <a:noFill/>
        </p:spPr>
        <p:txBody>
          <a:bodyPr wrap="square">
            <a:spAutoFit/>
          </a:bodyPr>
          <a:lstStyle/>
          <a:p>
            <a:pPr>
              <a:spcAft>
                <a:spcPts val="800"/>
              </a:spcAft>
            </a:pPr>
            <a:r>
              <a:rPr lang="es-ES" sz="1400"/>
              <a:t>Describen lo que se necesita y cómo utilizarlo.</a:t>
            </a:r>
          </a:p>
        </p:txBody>
      </p:sp>
      <p:sp>
        <p:nvSpPr>
          <p:cNvPr id="12" name="TextBox 11">
            <a:extLst>
              <a:ext uri="{FF2B5EF4-FFF2-40B4-BE49-F238E27FC236}">
                <a16:creationId xmlns:a16="http://schemas.microsoft.com/office/drawing/2014/main" id="{83C8F0AD-84A1-4871-BD8B-D14ED84C2159}"/>
              </a:ext>
            </a:extLst>
          </p:cNvPr>
          <p:cNvSpPr txBox="1"/>
          <p:nvPr/>
        </p:nvSpPr>
        <p:spPr>
          <a:xfrm>
            <a:off x="4657288" y="3253816"/>
            <a:ext cx="2879984" cy="529312"/>
          </a:xfrm>
          <a:prstGeom prst="rect">
            <a:avLst/>
          </a:prstGeom>
          <a:noFill/>
        </p:spPr>
        <p:txBody>
          <a:bodyPr wrap="square">
            <a:spAutoFit/>
          </a:bodyPr>
          <a:lstStyle/>
          <a:p>
            <a:pPr>
              <a:lnSpc>
                <a:spcPct val="106000"/>
              </a:lnSpc>
              <a:buFont typeface="Wingdings 2" pitchFamily="18" charset="2"/>
              <a:buNone/>
            </a:pPr>
            <a:r>
              <a:rPr lang="es-ES" sz="1400"/>
              <a:t>Describen cómo se construye el sistema.</a:t>
            </a:r>
          </a:p>
        </p:txBody>
      </p:sp>
      <p:sp>
        <p:nvSpPr>
          <p:cNvPr id="13" name="Rectangle: Rounded Corners 12">
            <a:extLst>
              <a:ext uri="{FF2B5EF4-FFF2-40B4-BE49-F238E27FC236}">
                <a16:creationId xmlns:a16="http://schemas.microsoft.com/office/drawing/2014/main" id="{9A84F590-542E-2AFF-803C-DA2EC49EF718}"/>
              </a:ext>
            </a:extLst>
          </p:cNvPr>
          <p:cNvSpPr/>
          <p:nvPr/>
        </p:nvSpPr>
        <p:spPr bwMode="gray">
          <a:xfrm>
            <a:off x="7847068" y="2919719"/>
            <a:ext cx="3026164" cy="1039377"/>
          </a:xfrm>
          <a:prstGeom prst="roundRect">
            <a:avLst>
              <a:gd name="adj" fmla="val 17461"/>
            </a:avLst>
          </a:prstGeom>
          <a:solidFill>
            <a:schemeClr val="bg1"/>
          </a:solidFill>
          <a:ln w="31750" algn="ctr">
            <a:solidFill>
              <a:schemeClr val="accent5"/>
            </a:solidFill>
            <a:miter lim="800000"/>
            <a:headEnd/>
            <a:tailEnd/>
          </a:ln>
        </p:spPr>
        <p:txBody>
          <a:bodyPr wrap="square" lIns="88900" tIns="88900" rIns="88900" bIns="88900" rtlCol="0" anchor="ctr"/>
          <a:lstStyle/>
          <a:p>
            <a:pPr>
              <a:lnSpc>
                <a:spcPct val="106000"/>
              </a:lnSpc>
              <a:buFont typeface="Wingdings 2" pitchFamily="18" charset="2"/>
              <a:buNone/>
            </a:pPr>
            <a:endParaRPr lang="es-ES" sz="1400"/>
          </a:p>
        </p:txBody>
      </p:sp>
      <p:sp>
        <p:nvSpPr>
          <p:cNvPr id="14" name="Rectangle: Rounded Corners 13">
            <a:extLst>
              <a:ext uri="{FF2B5EF4-FFF2-40B4-BE49-F238E27FC236}">
                <a16:creationId xmlns:a16="http://schemas.microsoft.com/office/drawing/2014/main" id="{12164C89-FFE8-15D4-A2AB-D0B437FE8CAB}"/>
              </a:ext>
            </a:extLst>
          </p:cNvPr>
          <p:cNvSpPr/>
          <p:nvPr/>
        </p:nvSpPr>
        <p:spPr bwMode="gray">
          <a:xfrm>
            <a:off x="8103726" y="2726109"/>
            <a:ext cx="2512847" cy="387220"/>
          </a:xfrm>
          <a:prstGeom prst="roundRect">
            <a:avLst>
              <a:gd name="adj" fmla="val 50000"/>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De prueba</a:t>
            </a:r>
          </a:p>
        </p:txBody>
      </p:sp>
      <p:sp>
        <p:nvSpPr>
          <p:cNvPr id="16" name="TextBox 15">
            <a:extLst>
              <a:ext uri="{FF2B5EF4-FFF2-40B4-BE49-F238E27FC236}">
                <a16:creationId xmlns:a16="http://schemas.microsoft.com/office/drawing/2014/main" id="{E9612010-52E1-0C05-2E2C-83056FEFA6EB}"/>
              </a:ext>
            </a:extLst>
          </p:cNvPr>
          <p:cNvSpPr txBox="1"/>
          <p:nvPr/>
        </p:nvSpPr>
        <p:spPr>
          <a:xfrm>
            <a:off x="7972799" y="3253816"/>
            <a:ext cx="2879984" cy="529312"/>
          </a:xfrm>
          <a:prstGeom prst="rect">
            <a:avLst/>
          </a:prstGeom>
          <a:noFill/>
        </p:spPr>
        <p:txBody>
          <a:bodyPr wrap="square">
            <a:spAutoFit/>
          </a:bodyPr>
          <a:lstStyle/>
          <a:p>
            <a:pPr>
              <a:lnSpc>
                <a:spcPct val="106000"/>
              </a:lnSpc>
              <a:buFont typeface="Wingdings 2" pitchFamily="18" charset="2"/>
              <a:buNone/>
            </a:pPr>
            <a:r>
              <a:rPr lang="es-ES" sz="1400"/>
              <a:t>Describen cómo se prueba el sistema.</a:t>
            </a:r>
          </a:p>
        </p:txBody>
      </p:sp>
      <p:cxnSp>
        <p:nvCxnSpPr>
          <p:cNvPr id="18" name="Straight Arrow Connector 17">
            <a:extLst>
              <a:ext uri="{FF2B5EF4-FFF2-40B4-BE49-F238E27FC236}">
                <a16:creationId xmlns:a16="http://schemas.microsoft.com/office/drawing/2014/main" id="{3F35948F-02AD-5BFC-7BB2-E90047D8624F}"/>
              </a:ext>
            </a:extLst>
          </p:cNvPr>
          <p:cNvCxnSpPr>
            <a:stCxn id="4" idx="2"/>
          </p:cNvCxnSpPr>
          <p:nvPr/>
        </p:nvCxnSpPr>
        <p:spPr>
          <a:xfrm flipH="1">
            <a:off x="2724539" y="3959096"/>
            <a:ext cx="4588" cy="454284"/>
          </a:xfrm>
          <a:prstGeom prst="straightConnector1">
            <a:avLst/>
          </a:prstGeom>
          <a:ln w="31750">
            <a:solidFill>
              <a:srgbClr val="046A38"/>
            </a:solidFill>
            <a:tailEnd type="ova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8435241-8F6D-B149-5150-7E99AF3D79EF}"/>
              </a:ext>
            </a:extLst>
          </p:cNvPr>
          <p:cNvSpPr txBox="1"/>
          <p:nvPr/>
        </p:nvSpPr>
        <p:spPr>
          <a:xfrm>
            <a:off x="1216045" y="4595440"/>
            <a:ext cx="3021576" cy="523220"/>
          </a:xfrm>
          <a:prstGeom prst="rect">
            <a:avLst/>
          </a:prstGeom>
          <a:noFill/>
        </p:spPr>
        <p:txBody>
          <a:bodyPr wrap="square">
            <a:spAutoFit/>
          </a:bodyPr>
          <a:lstStyle/>
          <a:p>
            <a:pPr algn="ctr">
              <a:spcAft>
                <a:spcPts val="800"/>
              </a:spcAft>
            </a:pPr>
            <a:r>
              <a:rPr lang="es-ES" sz="1400" i="1"/>
              <a:t>Especificaciones de requisitos, documentación de usuario, etc.</a:t>
            </a:r>
          </a:p>
        </p:txBody>
      </p:sp>
      <p:cxnSp>
        <p:nvCxnSpPr>
          <p:cNvPr id="20" name="Straight Arrow Connector 19">
            <a:extLst>
              <a:ext uri="{FF2B5EF4-FFF2-40B4-BE49-F238E27FC236}">
                <a16:creationId xmlns:a16="http://schemas.microsoft.com/office/drawing/2014/main" id="{28A91A7C-9B4B-31F5-2F48-07185241DB0C}"/>
              </a:ext>
            </a:extLst>
          </p:cNvPr>
          <p:cNvCxnSpPr/>
          <p:nvPr/>
        </p:nvCxnSpPr>
        <p:spPr>
          <a:xfrm flipH="1">
            <a:off x="6044639" y="3959096"/>
            <a:ext cx="4588" cy="454284"/>
          </a:xfrm>
          <a:prstGeom prst="straightConnector1">
            <a:avLst/>
          </a:prstGeom>
          <a:ln w="31750">
            <a:solidFill>
              <a:srgbClr val="43B02A"/>
            </a:solidFil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70A6A6A-A361-EB6C-F6BC-674285A8189E}"/>
              </a:ext>
            </a:extLst>
          </p:cNvPr>
          <p:cNvSpPr txBox="1"/>
          <p:nvPr/>
        </p:nvSpPr>
        <p:spPr>
          <a:xfrm>
            <a:off x="4536145" y="4595440"/>
            <a:ext cx="3021576" cy="523220"/>
          </a:xfrm>
          <a:prstGeom prst="rect">
            <a:avLst/>
          </a:prstGeom>
          <a:noFill/>
        </p:spPr>
        <p:txBody>
          <a:bodyPr wrap="square">
            <a:spAutoFit/>
          </a:bodyPr>
          <a:lstStyle/>
          <a:p>
            <a:pPr algn="ctr">
              <a:spcAft>
                <a:spcPts val="800"/>
              </a:spcAft>
            </a:pPr>
            <a:r>
              <a:rPr lang="es-ES" sz="1400" i="1"/>
              <a:t>Diagramas entidad-relación, código, pruebas unitarias, etc.</a:t>
            </a:r>
          </a:p>
        </p:txBody>
      </p:sp>
      <p:cxnSp>
        <p:nvCxnSpPr>
          <p:cNvPr id="22" name="Straight Arrow Connector 21">
            <a:extLst>
              <a:ext uri="{FF2B5EF4-FFF2-40B4-BE49-F238E27FC236}">
                <a16:creationId xmlns:a16="http://schemas.microsoft.com/office/drawing/2014/main" id="{0D04819E-C977-CC73-6007-F22CDC08D3B8}"/>
              </a:ext>
            </a:extLst>
          </p:cNvPr>
          <p:cNvCxnSpPr/>
          <p:nvPr/>
        </p:nvCxnSpPr>
        <p:spPr>
          <a:xfrm flipH="1">
            <a:off x="9364739" y="3959096"/>
            <a:ext cx="4588" cy="454284"/>
          </a:xfrm>
          <a:prstGeom prst="straightConnector1">
            <a:avLst/>
          </a:prstGeom>
          <a:ln w="31750">
            <a:solidFill>
              <a:schemeClr val="accent5"/>
            </a:solidFill>
            <a:tailEnd type="ova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33151198-55AB-E444-0915-844BCB41D7D9}"/>
              </a:ext>
            </a:extLst>
          </p:cNvPr>
          <p:cNvSpPr txBox="1"/>
          <p:nvPr/>
        </p:nvSpPr>
        <p:spPr>
          <a:xfrm>
            <a:off x="7856245" y="4595440"/>
            <a:ext cx="3021576" cy="523220"/>
          </a:xfrm>
          <a:prstGeom prst="rect">
            <a:avLst/>
          </a:prstGeom>
          <a:noFill/>
        </p:spPr>
        <p:txBody>
          <a:bodyPr wrap="square">
            <a:spAutoFit/>
          </a:bodyPr>
          <a:lstStyle/>
          <a:p>
            <a:pPr algn="ctr">
              <a:spcAft>
                <a:spcPts val="800"/>
              </a:spcAft>
            </a:pPr>
            <a:r>
              <a:rPr lang="es-ES" sz="1400" i="1"/>
              <a:t>Planes de prueba, pruebas automatizadas, etc.</a:t>
            </a:r>
          </a:p>
        </p:txBody>
      </p:sp>
      <p:sp>
        <p:nvSpPr>
          <p:cNvPr id="24" name="TextBox 23">
            <a:extLst>
              <a:ext uri="{FF2B5EF4-FFF2-40B4-BE49-F238E27FC236}">
                <a16:creationId xmlns:a16="http://schemas.microsoft.com/office/drawing/2014/main" id="{F6B3E454-97C6-505D-A850-78720496669A}"/>
              </a:ext>
            </a:extLst>
          </p:cNvPr>
          <p:cNvSpPr txBox="1"/>
          <p:nvPr/>
        </p:nvSpPr>
        <p:spPr>
          <a:xfrm>
            <a:off x="399891" y="5447227"/>
            <a:ext cx="11261883" cy="523220"/>
          </a:xfrm>
          <a:prstGeom prst="rect">
            <a:avLst/>
          </a:prstGeom>
          <a:noFill/>
        </p:spPr>
        <p:txBody>
          <a:bodyPr wrap="square">
            <a:spAutoFit/>
          </a:bodyPr>
          <a:lstStyle/>
          <a:p>
            <a:pPr>
              <a:spcAft>
                <a:spcPts val="800"/>
              </a:spcAft>
            </a:pPr>
            <a:r>
              <a:rPr lang="es-ES" sz="1400" b="1">
                <a:effectLst/>
                <a:latin typeface="+mj-lt"/>
                <a:ea typeface="Calibri" panose="020F0502020204030204" pitchFamily="34" charset="0"/>
                <a:cs typeface="Times New Roman" panose="02020603050405020304" pitchFamily="18" charset="0"/>
              </a:rPr>
              <a:t>ÉPICAS:</a:t>
            </a:r>
            <a:r>
              <a:rPr lang="es-ES" sz="1400">
                <a:effectLst/>
                <a:latin typeface="+mj-lt"/>
                <a:ea typeface="Calibri" panose="020F0502020204030204" pitchFamily="34" charset="0"/>
                <a:cs typeface="Times New Roman" panose="02020603050405020304" pitchFamily="18" charset="0"/>
              </a:rPr>
              <a:t> colecciones de características relacionadas. Muchas historias de usuario sobre una misma funcionalidad conforman una épica.</a:t>
            </a:r>
          </a:p>
        </p:txBody>
      </p:sp>
    </p:spTree>
    <p:extLst>
      <p:ext uri="{BB962C8B-B14F-4D97-AF65-F5344CB8AC3E}">
        <p14:creationId xmlns:p14="http://schemas.microsoft.com/office/powerpoint/2010/main" val="399058966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7F01F8B8-5CAC-B523-4EAC-29A285CFA14B}"/>
              </a:ext>
            </a:extLst>
          </p:cNvPr>
          <p:cNvCxnSpPr>
            <a:cxnSpLocks/>
            <a:stCxn id="36" idx="6"/>
          </p:cNvCxnSpPr>
          <p:nvPr/>
        </p:nvCxnSpPr>
        <p:spPr>
          <a:xfrm>
            <a:off x="2441532" y="3857679"/>
            <a:ext cx="8228445" cy="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82573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2.1 </a:t>
            </a:r>
            <a:r>
              <a:rPr lang="es-ES" altLang="en-US" sz="1600" b="1">
                <a:solidFill>
                  <a:schemeClr val="accent1"/>
                </a:solidFill>
                <a:latin typeface="Verdana" pitchFamily="34" charset="0"/>
                <a:ea typeface="Arial" pitchFamily="34" charset="0"/>
                <a:cs typeface="Verdana" pitchFamily="34" charset="0"/>
              </a:rPr>
              <a:t>Las Diferencias entre Probar en Enfoques Tradicionales y Ágiles</a:t>
            </a:r>
            <a:endParaRPr lang="en-GB" altLang="en-US" sz="1600" b="1">
              <a:solidFill>
                <a:schemeClr val="accent1"/>
              </a:solidFill>
              <a:latin typeface="Verdana" pitchFamily="34" charset="0"/>
              <a:ea typeface="Arial" pitchFamily="34" charset="0"/>
              <a:cs typeface="Verdana" pitchFamily="34" charset="0"/>
            </a:endParaRPr>
          </a:p>
        </p:txBody>
      </p:sp>
      <p:sp>
        <p:nvSpPr>
          <p:cNvPr id="7" name="Rectangle: Rounded Corners 6">
            <a:extLst>
              <a:ext uri="{FF2B5EF4-FFF2-40B4-BE49-F238E27FC236}">
                <a16:creationId xmlns:a16="http://schemas.microsoft.com/office/drawing/2014/main" id="{2558CEA3-6C1E-D0FA-E4F7-4DB5D1BD104D}"/>
              </a:ext>
            </a:extLst>
          </p:cNvPr>
          <p:cNvSpPr/>
          <p:nvPr/>
        </p:nvSpPr>
        <p:spPr bwMode="gray">
          <a:xfrm>
            <a:off x="427537" y="1663155"/>
            <a:ext cx="2925264"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2.1.3. Niveles de prueba</a:t>
            </a:r>
          </a:p>
        </p:txBody>
      </p:sp>
      <p:sp>
        <p:nvSpPr>
          <p:cNvPr id="9" name="TextBox 8">
            <a:extLst>
              <a:ext uri="{FF2B5EF4-FFF2-40B4-BE49-F238E27FC236}">
                <a16:creationId xmlns:a16="http://schemas.microsoft.com/office/drawing/2014/main" id="{95226259-FD78-24ED-7CD5-5E4473EB212B}"/>
              </a:ext>
            </a:extLst>
          </p:cNvPr>
          <p:cNvSpPr txBox="1"/>
          <p:nvPr/>
        </p:nvSpPr>
        <p:spPr>
          <a:xfrm>
            <a:off x="616539" y="2142196"/>
            <a:ext cx="10958921" cy="841256"/>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Los </a:t>
            </a:r>
            <a:r>
              <a:rPr lang="es-ES" sz="1400" b="1">
                <a:effectLst/>
                <a:latin typeface="+mj-lt"/>
                <a:ea typeface="Calibri" panose="020F0502020204030204" pitchFamily="34" charset="0"/>
                <a:cs typeface="Times New Roman" panose="02020603050405020304" pitchFamily="18" charset="0"/>
              </a:rPr>
              <a:t>niveles de prueba </a:t>
            </a:r>
            <a:r>
              <a:rPr lang="es-ES" sz="1400">
                <a:effectLst/>
                <a:latin typeface="+mj-lt"/>
                <a:ea typeface="Calibri" panose="020F0502020204030204" pitchFamily="34" charset="0"/>
                <a:cs typeface="Times New Roman" panose="02020603050405020304" pitchFamily="18" charset="0"/>
              </a:rPr>
              <a:t>son actividades de prueba que están relacionadas de forma lógica, a menudo por la madurez o completitud del elemento sujeto a prueba.</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Modelos secuenciales</a:t>
            </a:r>
            <a:r>
              <a:rPr lang="es-ES" sz="1400">
                <a:latin typeface="+mj-lt"/>
                <a:ea typeface="Calibri" panose="020F0502020204030204" pitchFamily="34" charset="0"/>
                <a:cs typeface="Times New Roman" panose="02020603050405020304" pitchFamily="18" charset="0"/>
              </a:rPr>
              <a:t>:</a:t>
            </a:r>
            <a:r>
              <a:rPr lang="es-ES" sz="1400">
                <a:effectLst/>
                <a:latin typeface="+mj-lt"/>
                <a:ea typeface="Calibri" panose="020F0502020204030204" pitchFamily="34" charset="0"/>
                <a:cs typeface="Times New Roman" panose="02020603050405020304" pitchFamily="18" charset="0"/>
                <a:sym typeface="Wingdings" panose="05000000000000000000" pitchFamily="2" charset="2"/>
              </a:rPr>
              <a:t> los niveles de prueba </a:t>
            </a:r>
            <a:r>
              <a:rPr lang="es-ES" sz="1400" b="1">
                <a:effectLst/>
                <a:latin typeface="+mj-lt"/>
                <a:ea typeface="Calibri" panose="020F0502020204030204" pitchFamily="34" charset="0"/>
                <a:cs typeface="Times New Roman" panose="02020603050405020304" pitchFamily="18" charset="0"/>
                <a:sym typeface="Wingdings" panose="05000000000000000000" pitchFamily="2" charset="2"/>
              </a:rPr>
              <a:t>NO se solapan. | </a:t>
            </a:r>
            <a:r>
              <a:rPr lang="es-ES" sz="1400">
                <a:latin typeface="+mj-lt"/>
                <a:ea typeface="Calibri" panose="020F0502020204030204" pitchFamily="34" charset="0"/>
                <a:cs typeface="Times New Roman" panose="02020603050405020304" pitchFamily="18" charset="0"/>
                <a:sym typeface="Wingdings" panose="05000000000000000000" pitchFamily="2" charset="2"/>
              </a:rPr>
              <a:t>Modelos iterativos </a:t>
            </a:r>
            <a:r>
              <a:rPr lang="es-ES" sz="1400" b="1">
                <a:latin typeface="+mj-lt"/>
                <a:ea typeface="Calibri" panose="020F0502020204030204" pitchFamily="34" charset="0"/>
                <a:cs typeface="Times New Roman" panose="02020603050405020304" pitchFamily="18" charset="0"/>
                <a:sym typeface="Wingdings" panose="05000000000000000000" pitchFamily="2" charset="2"/>
              </a:rPr>
              <a:t></a:t>
            </a:r>
            <a:r>
              <a:rPr lang="es-ES" sz="1400">
                <a:latin typeface="+mj-lt"/>
                <a:ea typeface="Calibri" panose="020F0502020204030204" pitchFamily="34" charset="0"/>
                <a:cs typeface="Times New Roman" panose="02020603050405020304" pitchFamily="18" charset="0"/>
                <a:sym typeface="Wingdings" panose="05000000000000000000" pitchFamily="2" charset="2"/>
              </a:rPr>
              <a:t> sí </a:t>
            </a:r>
            <a:r>
              <a:rPr lang="es-ES" sz="1400" b="1">
                <a:latin typeface="+mj-lt"/>
                <a:ea typeface="Calibri" panose="020F0502020204030204" pitchFamily="34" charset="0"/>
                <a:cs typeface="Times New Roman" panose="02020603050405020304" pitchFamily="18" charset="0"/>
                <a:sym typeface="Wingdings" panose="05000000000000000000" pitchFamily="2" charset="2"/>
              </a:rPr>
              <a:t>PUEDEN solaparse.</a:t>
            </a:r>
            <a:endParaRPr lang="es-ES" sz="1400">
              <a:effectLst/>
              <a:latin typeface="+mj-lt"/>
              <a:ea typeface="Calibri" panose="020F0502020204030204" pitchFamily="34" charset="0"/>
              <a:cs typeface="Times New Roman" panose="02020603050405020304" pitchFamily="18" charset="0"/>
            </a:endParaRPr>
          </a:p>
        </p:txBody>
      </p:sp>
      <p:sp>
        <p:nvSpPr>
          <p:cNvPr id="10" name="Oval 9">
            <a:extLst>
              <a:ext uri="{FF2B5EF4-FFF2-40B4-BE49-F238E27FC236}">
                <a16:creationId xmlns:a16="http://schemas.microsoft.com/office/drawing/2014/main" id="{B338A180-F112-693B-9273-6844731A3F6D}"/>
              </a:ext>
            </a:extLst>
          </p:cNvPr>
          <p:cNvSpPr/>
          <p:nvPr/>
        </p:nvSpPr>
        <p:spPr bwMode="gray">
          <a:xfrm>
            <a:off x="866087" y="4079615"/>
            <a:ext cx="360000" cy="360000"/>
          </a:xfrm>
          <a:prstGeom prst="ellipse">
            <a:avLst/>
          </a:prstGeom>
          <a:solidFill>
            <a:schemeClr val="bg1"/>
          </a:solidFill>
          <a:ln w="19050"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2" name="Oval 11">
            <a:extLst>
              <a:ext uri="{FF2B5EF4-FFF2-40B4-BE49-F238E27FC236}">
                <a16:creationId xmlns:a16="http://schemas.microsoft.com/office/drawing/2014/main" id="{D17BBD3C-63DD-8598-C2C6-C9342565D1C2}"/>
              </a:ext>
            </a:extLst>
          </p:cNvPr>
          <p:cNvSpPr/>
          <p:nvPr/>
        </p:nvSpPr>
        <p:spPr bwMode="gray">
          <a:xfrm>
            <a:off x="902087" y="4115615"/>
            <a:ext cx="288000" cy="28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cxnSp>
        <p:nvCxnSpPr>
          <p:cNvPr id="14" name="Straight Connector 13">
            <a:extLst>
              <a:ext uri="{FF2B5EF4-FFF2-40B4-BE49-F238E27FC236}">
                <a16:creationId xmlns:a16="http://schemas.microsoft.com/office/drawing/2014/main" id="{ABD1024E-F86C-AA1F-833B-EC35928579E9}"/>
              </a:ext>
            </a:extLst>
          </p:cNvPr>
          <p:cNvCxnSpPr>
            <a:cxnSpLocks/>
            <a:stCxn id="10" idx="6"/>
            <a:endCxn id="18" idx="2"/>
          </p:cNvCxnSpPr>
          <p:nvPr/>
        </p:nvCxnSpPr>
        <p:spPr>
          <a:xfrm>
            <a:off x="1226087" y="4259615"/>
            <a:ext cx="3631909" cy="0"/>
          </a:xfrm>
          <a:prstGeom prst="line">
            <a:avLst/>
          </a:prstGeom>
          <a:ln w="25400">
            <a:gradFill flip="none" rotWithShape="1">
              <a:gsLst>
                <a:gs pos="100000">
                  <a:srgbClr val="046A38"/>
                </a:gs>
                <a:gs pos="0">
                  <a:srgbClr val="86BC25"/>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E38D3CF-0A7C-0C8C-CCF3-CE50AC9D0153}"/>
              </a:ext>
            </a:extLst>
          </p:cNvPr>
          <p:cNvSpPr txBox="1"/>
          <p:nvPr/>
        </p:nvSpPr>
        <p:spPr>
          <a:xfrm>
            <a:off x="460375" y="4514653"/>
            <a:ext cx="1254593" cy="523220"/>
          </a:xfrm>
          <a:prstGeom prst="rect">
            <a:avLst/>
          </a:prstGeom>
          <a:noFill/>
        </p:spPr>
        <p:txBody>
          <a:bodyPr wrap="square">
            <a:spAutoFit/>
          </a:bodyPr>
          <a:lstStyle/>
          <a:p>
            <a:pPr algn="ctr">
              <a:spcAft>
                <a:spcPts val="800"/>
              </a:spcAft>
            </a:pPr>
            <a:r>
              <a:rPr lang="es-ES" sz="1400" b="1">
                <a:solidFill>
                  <a:srgbClr val="046A38"/>
                </a:solidFill>
                <a:latin typeface="+mj-lt"/>
                <a:ea typeface="Calibri" panose="020F0502020204030204" pitchFamily="34" charset="0"/>
                <a:cs typeface="Times New Roman" panose="02020603050405020304" pitchFamily="18" charset="0"/>
              </a:rPr>
              <a:t>PRUEBA UNITARIA</a:t>
            </a:r>
            <a:endParaRPr lang="es-ES" sz="1400" b="1">
              <a:solidFill>
                <a:srgbClr val="046A38"/>
              </a:solidFill>
              <a:effectLst/>
              <a:latin typeface="+mj-lt"/>
              <a:ea typeface="Calibri" panose="020F0502020204030204" pitchFamily="34" charset="0"/>
              <a:cs typeface="Times New Roman" panose="02020603050405020304" pitchFamily="18" charset="0"/>
            </a:endParaRPr>
          </a:p>
        </p:txBody>
      </p:sp>
      <p:sp>
        <p:nvSpPr>
          <p:cNvPr id="17" name="TextBox 16">
            <a:extLst>
              <a:ext uri="{FF2B5EF4-FFF2-40B4-BE49-F238E27FC236}">
                <a16:creationId xmlns:a16="http://schemas.microsoft.com/office/drawing/2014/main" id="{A5BCB337-2FB8-FEA3-27B3-7A0B053E32B0}"/>
              </a:ext>
            </a:extLst>
          </p:cNvPr>
          <p:cNvSpPr txBox="1"/>
          <p:nvPr/>
        </p:nvSpPr>
        <p:spPr>
          <a:xfrm>
            <a:off x="234791" y="5103386"/>
            <a:ext cx="1705759" cy="523220"/>
          </a:xfrm>
          <a:prstGeom prst="rect">
            <a:avLst/>
          </a:prstGeom>
          <a:noFill/>
        </p:spPr>
        <p:txBody>
          <a:bodyPr wrap="square">
            <a:spAutoFit/>
          </a:bodyPr>
          <a:lstStyle/>
          <a:p>
            <a:pPr algn="ctr">
              <a:spcAft>
                <a:spcPts val="800"/>
              </a:spcAft>
            </a:pPr>
            <a:r>
              <a:rPr lang="es-ES" sz="1400">
                <a:effectLst/>
                <a:latin typeface="+mj-lt"/>
                <a:ea typeface="Calibri" panose="020F0502020204030204" pitchFamily="34" charset="0"/>
                <a:cs typeface="Times New Roman" panose="02020603050405020304" pitchFamily="18" charset="0"/>
              </a:rPr>
              <a:t>Realizadas por desarrolladores</a:t>
            </a:r>
          </a:p>
        </p:txBody>
      </p:sp>
      <p:sp>
        <p:nvSpPr>
          <p:cNvPr id="18" name="Oval 17">
            <a:extLst>
              <a:ext uri="{FF2B5EF4-FFF2-40B4-BE49-F238E27FC236}">
                <a16:creationId xmlns:a16="http://schemas.microsoft.com/office/drawing/2014/main" id="{0D19B179-C537-8577-2FC2-FFB34F25E4E3}"/>
              </a:ext>
            </a:extLst>
          </p:cNvPr>
          <p:cNvSpPr/>
          <p:nvPr/>
        </p:nvSpPr>
        <p:spPr bwMode="gray">
          <a:xfrm>
            <a:off x="4857996" y="4079615"/>
            <a:ext cx="360000" cy="360000"/>
          </a:xfrm>
          <a:prstGeom prst="ellipse">
            <a:avLst/>
          </a:prstGeom>
          <a:solidFill>
            <a:schemeClr val="bg1"/>
          </a:solid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9" name="Oval 18">
            <a:extLst>
              <a:ext uri="{FF2B5EF4-FFF2-40B4-BE49-F238E27FC236}">
                <a16:creationId xmlns:a16="http://schemas.microsoft.com/office/drawing/2014/main" id="{4E31604D-5316-E539-1907-1F2FFB671FDB}"/>
              </a:ext>
            </a:extLst>
          </p:cNvPr>
          <p:cNvSpPr/>
          <p:nvPr/>
        </p:nvSpPr>
        <p:spPr bwMode="gray">
          <a:xfrm>
            <a:off x="4893996" y="4115615"/>
            <a:ext cx="288000" cy="288000"/>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20" name="TextBox 19">
            <a:extLst>
              <a:ext uri="{FF2B5EF4-FFF2-40B4-BE49-F238E27FC236}">
                <a16:creationId xmlns:a16="http://schemas.microsoft.com/office/drawing/2014/main" id="{D8F54AA8-5FD4-7E48-97BA-1220343E83A5}"/>
              </a:ext>
            </a:extLst>
          </p:cNvPr>
          <p:cNvSpPr txBox="1"/>
          <p:nvPr/>
        </p:nvSpPr>
        <p:spPr>
          <a:xfrm>
            <a:off x="3692055" y="4514653"/>
            <a:ext cx="2691881" cy="738664"/>
          </a:xfrm>
          <a:prstGeom prst="rect">
            <a:avLst/>
          </a:prstGeom>
          <a:noFill/>
        </p:spPr>
        <p:txBody>
          <a:bodyPr wrap="square">
            <a:spAutoFit/>
          </a:bodyPr>
          <a:lstStyle/>
          <a:p>
            <a:pPr algn="ctr">
              <a:spcAft>
                <a:spcPts val="800"/>
              </a:spcAft>
            </a:pPr>
            <a:r>
              <a:rPr lang="es-ES" sz="1400" b="1">
                <a:solidFill>
                  <a:srgbClr val="86BC25"/>
                </a:solidFill>
                <a:latin typeface="+mj-lt"/>
                <a:ea typeface="Calibri" panose="020F0502020204030204" pitchFamily="34" charset="0"/>
                <a:cs typeface="Times New Roman" panose="02020603050405020304" pitchFamily="18" charset="0"/>
              </a:rPr>
              <a:t>PRUEBA DE VERIFICACIÓN DE LA PRESTACIÓN</a:t>
            </a:r>
            <a:endParaRPr lang="es-ES" sz="1400" b="1">
              <a:solidFill>
                <a:srgbClr val="86BC25"/>
              </a:solidFill>
              <a:effectLst/>
              <a:latin typeface="+mj-lt"/>
              <a:ea typeface="Calibri" panose="020F0502020204030204" pitchFamily="34" charset="0"/>
              <a:cs typeface="Times New Roman" panose="02020603050405020304" pitchFamily="18" charset="0"/>
            </a:endParaRPr>
          </a:p>
        </p:txBody>
      </p:sp>
      <p:cxnSp>
        <p:nvCxnSpPr>
          <p:cNvPr id="22" name="Straight Connector 21">
            <a:extLst>
              <a:ext uri="{FF2B5EF4-FFF2-40B4-BE49-F238E27FC236}">
                <a16:creationId xmlns:a16="http://schemas.microsoft.com/office/drawing/2014/main" id="{F062A603-25D6-967E-D7F2-F45EB94FDD08}"/>
              </a:ext>
            </a:extLst>
          </p:cNvPr>
          <p:cNvCxnSpPr>
            <a:cxnSpLocks/>
            <a:stCxn id="18" idx="6"/>
            <a:endCxn id="23" idx="2"/>
          </p:cNvCxnSpPr>
          <p:nvPr/>
        </p:nvCxnSpPr>
        <p:spPr>
          <a:xfrm>
            <a:off x="5217996" y="4259615"/>
            <a:ext cx="4244472" cy="0"/>
          </a:xfrm>
          <a:prstGeom prst="line">
            <a:avLst/>
          </a:prstGeom>
          <a:ln w="25400">
            <a:solidFill>
              <a:srgbClr val="86BC25"/>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F6C9E302-C5A4-E301-F4D5-B2CB59ACB625}"/>
              </a:ext>
            </a:extLst>
          </p:cNvPr>
          <p:cNvSpPr/>
          <p:nvPr/>
        </p:nvSpPr>
        <p:spPr bwMode="gray">
          <a:xfrm>
            <a:off x="9462468" y="4079615"/>
            <a:ext cx="360000" cy="360000"/>
          </a:xfrm>
          <a:prstGeom prst="ellipse">
            <a:avLst/>
          </a:prstGeom>
          <a:solidFill>
            <a:schemeClr val="bg1"/>
          </a:solid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24" name="Oval 23">
            <a:extLst>
              <a:ext uri="{FF2B5EF4-FFF2-40B4-BE49-F238E27FC236}">
                <a16:creationId xmlns:a16="http://schemas.microsoft.com/office/drawing/2014/main" id="{256B11C8-C0DC-6A02-C704-E3EBF3745D26}"/>
              </a:ext>
            </a:extLst>
          </p:cNvPr>
          <p:cNvSpPr/>
          <p:nvPr/>
        </p:nvSpPr>
        <p:spPr bwMode="gray">
          <a:xfrm>
            <a:off x="9498468" y="4115615"/>
            <a:ext cx="288000" cy="288000"/>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29" name="TextBox 28">
            <a:extLst>
              <a:ext uri="{FF2B5EF4-FFF2-40B4-BE49-F238E27FC236}">
                <a16:creationId xmlns:a16="http://schemas.microsoft.com/office/drawing/2014/main" id="{3E6E009B-3F98-D6D2-44F2-314636B14E3D}"/>
              </a:ext>
            </a:extLst>
          </p:cNvPr>
          <p:cNvSpPr txBox="1"/>
          <p:nvPr/>
        </p:nvSpPr>
        <p:spPr>
          <a:xfrm>
            <a:off x="3518061" y="5305870"/>
            <a:ext cx="3425664" cy="1159292"/>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Realizadas por desarrolladores o probadores.</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Automatizadas.</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Prueban criterios de aceptación.</a:t>
            </a:r>
          </a:p>
        </p:txBody>
      </p:sp>
      <p:sp>
        <p:nvSpPr>
          <p:cNvPr id="32" name="TextBox 31">
            <a:extLst>
              <a:ext uri="{FF2B5EF4-FFF2-40B4-BE49-F238E27FC236}">
                <a16:creationId xmlns:a16="http://schemas.microsoft.com/office/drawing/2014/main" id="{A42E591D-915C-0768-35DA-49A23803C2A0}"/>
              </a:ext>
            </a:extLst>
          </p:cNvPr>
          <p:cNvSpPr txBox="1"/>
          <p:nvPr/>
        </p:nvSpPr>
        <p:spPr>
          <a:xfrm>
            <a:off x="8296527" y="4514653"/>
            <a:ext cx="2691881" cy="523220"/>
          </a:xfrm>
          <a:prstGeom prst="rect">
            <a:avLst/>
          </a:prstGeom>
          <a:noFill/>
        </p:spPr>
        <p:txBody>
          <a:bodyPr wrap="square">
            <a:spAutoFit/>
          </a:bodyPr>
          <a:lstStyle/>
          <a:p>
            <a:pPr algn="ctr">
              <a:spcAft>
                <a:spcPts val="800"/>
              </a:spcAft>
            </a:pPr>
            <a:r>
              <a:rPr lang="es-ES" sz="1400" b="1">
                <a:solidFill>
                  <a:srgbClr val="86BC25"/>
                </a:solidFill>
                <a:latin typeface="+mj-lt"/>
                <a:ea typeface="Calibri" panose="020F0502020204030204" pitchFamily="34" charset="0"/>
                <a:cs typeface="Times New Roman" panose="02020603050405020304" pitchFamily="18" charset="0"/>
              </a:rPr>
              <a:t>PRUEBA DE VALIDACIÓN DE LA PRESTACIÓN</a:t>
            </a:r>
            <a:endParaRPr lang="es-ES" sz="1400" b="1">
              <a:solidFill>
                <a:srgbClr val="86BC25"/>
              </a:solidFill>
              <a:effectLst/>
              <a:latin typeface="+mj-lt"/>
              <a:ea typeface="Calibri" panose="020F0502020204030204" pitchFamily="34" charset="0"/>
              <a:cs typeface="Times New Roman" panose="02020603050405020304" pitchFamily="18" charset="0"/>
            </a:endParaRPr>
          </a:p>
        </p:txBody>
      </p:sp>
      <p:sp>
        <p:nvSpPr>
          <p:cNvPr id="33" name="TextBox 32">
            <a:extLst>
              <a:ext uri="{FF2B5EF4-FFF2-40B4-BE49-F238E27FC236}">
                <a16:creationId xmlns:a16="http://schemas.microsoft.com/office/drawing/2014/main" id="{0D251DE8-3F8F-D81A-423D-0CE676CF80D1}"/>
              </a:ext>
            </a:extLst>
          </p:cNvPr>
          <p:cNvSpPr txBox="1"/>
          <p:nvPr/>
        </p:nvSpPr>
        <p:spPr>
          <a:xfrm>
            <a:off x="8122533" y="5103386"/>
            <a:ext cx="3327870" cy="1374735"/>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Realizadas por desarrolladores, probadores o negocio.</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Manuales.</a:t>
            </a: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Confirman si la prestación es apta para su uso.</a:t>
            </a:r>
          </a:p>
        </p:txBody>
      </p:sp>
      <p:sp>
        <p:nvSpPr>
          <p:cNvPr id="34" name="Rectangle: Rounded Corners 33">
            <a:extLst>
              <a:ext uri="{FF2B5EF4-FFF2-40B4-BE49-F238E27FC236}">
                <a16:creationId xmlns:a16="http://schemas.microsoft.com/office/drawing/2014/main" id="{109B486B-901F-FD48-4DEE-907AA6AB594C}"/>
              </a:ext>
            </a:extLst>
          </p:cNvPr>
          <p:cNvSpPr/>
          <p:nvPr/>
        </p:nvSpPr>
        <p:spPr bwMode="gray">
          <a:xfrm>
            <a:off x="3352801" y="3514725"/>
            <a:ext cx="8097602" cy="3075868"/>
          </a:xfrm>
          <a:prstGeom prst="roundRect">
            <a:avLst>
              <a:gd name="adj" fmla="val 11712"/>
            </a:avLst>
          </a:prstGeom>
          <a:noFill/>
          <a:ln w="31750" algn="ctr">
            <a:solidFill>
              <a:srgbClr val="86BC25"/>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35" name="Rectangle: Rounded Corners 34">
            <a:extLst>
              <a:ext uri="{FF2B5EF4-FFF2-40B4-BE49-F238E27FC236}">
                <a16:creationId xmlns:a16="http://schemas.microsoft.com/office/drawing/2014/main" id="{0D937498-1E9B-71B1-4116-4A181C69A552}"/>
              </a:ext>
            </a:extLst>
          </p:cNvPr>
          <p:cNvSpPr/>
          <p:nvPr/>
        </p:nvSpPr>
        <p:spPr bwMode="gray">
          <a:xfrm>
            <a:off x="5559299" y="3313725"/>
            <a:ext cx="3264151" cy="387220"/>
          </a:xfrm>
          <a:prstGeom prst="roundRect">
            <a:avLst>
              <a:gd name="adj" fmla="val 50000"/>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PRUEBAS DE ACEPTACIÓN</a:t>
            </a:r>
          </a:p>
        </p:txBody>
      </p:sp>
      <p:sp>
        <p:nvSpPr>
          <p:cNvPr id="36" name="Oval 35">
            <a:extLst>
              <a:ext uri="{FF2B5EF4-FFF2-40B4-BE49-F238E27FC236}">
                <a16:creationId xmlns:a16="http://schemas.microsoft.com/office/drawing/2014/main" id="{E593EC71-CD38-ED8F-2B33-35BFEC7981FC}"/>
              </a:ext>
            </a:extLst>
          </p:cNvPr>
          <p:cNvSpPr/>
          <p:nvPr/>
        </p:nvSpPr>
        <p:spPr bwMode="gray">
          <a:xfrm>
            <a:off x="2081532" y="3677679"/>
            <a:ext cx="360000" cy="360000"/>
          </a:xfrm>
          <a:prstGeom prst="ellipse">
            <a:avLst/>
          </a:prstGeom>
          <a:solidFill>
            <a:schemeClr val="bg1"/>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37" name="Oval 36">
            <a:extLst>
              <a:ext uri="{FF2B5EF4-FFF2-40B4-BE49-F238E27FC236}">
                <a16:creationId xmlns:a16="http://schemas.microsoft.com/office/drawing/2014/main" id="{33AEDB68-0333-1E01-B061-CF868B9792D4}"/>
              </a:ext>
            </a:extLst>
          </p:cNvPr>
          <p:cNvSpPr/>
          <p:nvPr/>
        </p:nvSpPr>
        <p:spPr bwMode="gray">
          <a:xfrm>
            <a:off x="2117532" y="3713679"/>
            <a:ext cx="288000" cy="28800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cxnSp>
        <p:nvCxnSpPr>
          <p:cNvPr id="41" name="Straight Connector 40">
            <a:extLst>
              <a:ext uri="{FF2B5EF4-FFF2-40B4-BE49-F238E27FC236}">
                <a16:creationId xmlns:a16="http://schemas.microsoft.com/office/drawing/2014/main" id="{7048A30C-FE6F-B3F9-A59D-EC1173EC7289}"/>
              </a:ext>
            </a:extLst>
          </p:cNvPr>
          <p:cNvCxnSpPr>
            <a:cxnSpLocks/>
            <a:stCxn id="23" idx="6"/>
          </p:cNvCxnSpPr>
          <p:nvPr/>
        </p:nvCxnSpPr>
        <p:spPr>
          <a:xfrm>
            <a:off x="9822468" y="4259615"/>
            <a:ext cx="1988532" cy="0"/>
          </a:xfrm>
          <a:prstGeom prst="line">
            <a:avLst/>
          </a:prstGeom>
          <a:ln w="2540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0213D23-480E-8E44-68AF-4C28884C199C}"/>
              </a:ext>
            </a:extLst>
          </p:cNvPr>
          <p:cNvCxnSpPr>
            <a:cxnSpLocks/>
            <a:stCxn id="10" idx="6"/>
            <a:endCxn id="36" idx="2"/>
          </p:cNvCxnSpPr>
          <p:nvPr/>
        </p:nvCxnSpPr>
        <p:spPr>
          <a:xfrm flipV="1">
            <a:off x="1226087" y="3857679"/>
            <a:ext cx="855445" cy="401936"/>
          </a:xfrm>
          <a:prstGeom prst="line">
            <a:avLst/>
          </a:prstGeom>
          <a:ln w="25400">
            <a:gradFill flip="none" rotWithShape="1">
              <a:gsLst>
                <a:gs pos="0">
                  <a:srgbClr val="046A38"/>
                </a:gs>
                <a:gs pos="100000">
                  <a:schemeClr val="accent5"/>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918B0E6-1955-1032-6E4C-0E4B23897491}"/>
              </a:ext>
            </a:extLst>
          </p:cNvPr>
          <p:cNvCxnSpPr>
            <a:cxnSpLocks/>
          </p:cNvCxnSpPr>
          <p:nvPr/>
        </p:nvCxnSpPr>
        <p:spPr>
          <a:xfrm>
            <a:off x="10658802" y="3857679"/>
            <a:ext cx="1152198" cy="40193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DE2E9B7-73E5-EC9B-E801-A6C822BAD694}"/>
              </a:ext>
            </a:extLst>
          </p:cNvPr>
          <p:cNvSpPr txBox="1"/>
          <p:nvPr/>
        </p:nvSpPr>
        <p:spPr>
          <a:xfrm>
            <a:off x="1428736" y="3133491"/>
            <a:ext cx="1665591" cy="523220"/>
          </a:xfrm>
          <a:prstGeom prst="rect">
            <a:avLst/>
          </a:prstGeom>
          <a:noFill/>
        </p:spPr>
        <p:txBody>
          <a:bodyPr wrap="square">
            <a:spAutoFit/>
          </a:bodyPr>
          <a:lstStyle/>
          <a:p>
            <a:pPr algn="ctr">
              <a:spcAft>
                <a:spcPts val="800"/>
              </a:spcAft>
            </a:pPr>
            <a:r>
              <a:rPr lang="es-ES" sz="1400" b="1">
                <a:solidFill>
                  <a:schemeClr val="accent5"/>
                </a:solidFill>
                <a:latin typeface="+mj-lt"/>
                <a:ea typeface="Calibri" panose="020F0502020204030204" pitchFamily="34" charset="0"/>
                <a:cs typeface="Times New Roman" panose="02020603050405020304" pitchFamily="18" charset="0"/>
              </a:rPr>
              <a:t>PRUEBAS DE REGRESIÓN</a:t>
            </a:r>
            <a:endParaRPr lang="es-ES" sz="1400" b="1">
              <a:solidFill>
                <a:schemeClr val="accent5"/>
              </a:solidFill>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6858575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82573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2.1 </a:t>
            </a:r>
            <a:r>
              <a:rPr lang="es-ES" altLang="en-US" sz="1600" b="1">
                <a:solidFill>
                  <a:schemeClr val="accent1"/>
                </a:solidFill>
                <a:latin typeface="Verdana" pitchFamily="34" charset="0"/>
                <a:ea typeface="Arial" pitchFamily="34" charset="0"/>
                <a:cs typeface="Verdana" pitchFamily="34" charset="0"/>
              </a:rPr>
              <a:t>Las Diferencias entre Probar en Enfoques Tradicionales y Ágiles</a:t>
            </a:r>
            <a:endParaRPr lang="en-GB" altLang="en-US" sz="1600" b="1">
              <a:solidFill>
                <a:schemeClr val="accent1"/>
              </a:solidFill>
              <a:latin typeface="Verdana" pitchFamily="34" charset="0"/>
              <a:ea typeface="Arial" pitchFamily="34" charset="0"/>
              <a:cs typeface="Verdana" pitchFamily="34" charset="0"/>
            </a:endParaRPr>
          </a:p>
        </p:txBody>
      </p:sp>
      <p:sp>
        <p:nvSpPr>
          <p:cNvPr id="3" name="Rectangle: Rounded Corners 2">
            <a:extLst>
              <a:ext uri="{FF2B5EF4-FFF2-40B4-BE49-F238E27FC236}">
                <a16:creationId xmlns:a16="http://schemas.microsoft.com/office/drawing/2014/main" id="{A402552E-F508-DB4D-80FB-ECE36337B36E}"/>
              </a:ext>
            </a:extLst>
          </p:cNvPr>
          <p:cNvSpPr/>
          <p:nvPr/>
        </p:nvSpPr>
        <p:spPr bwMode="gray">
          <a:xfrm>
            <a:off x="427537" y="1663155"/>
            <a:ext cx="4928234"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2.1.4. Prueba y Gestión de la Configuración</a:t>
            </a:r>
          </a:p>
        </p:txBody>
      </p:sp>
      <p:sp>
        <p:nvSpPr>
          <p:cNvPr id="5" name="TextBox 4">
            <a:extLst>
              <a:ext uri="{FF2B5EF4-FFF2-40B4-BE49-F238E27FC236}">
                <a16:creationId xmlns:a16="http://schemas.microsoft.com/office/drawing/2014/main" id="{E90685C6-1C30-8FE7-6A40-E7BF395381C2}"/>
              </a:ext>
            </a:extLst>
          </p:cNvPr>
          <p:cNvSpPr txBox="1"/>
          <p:nvPr/>
        </p:nvSpPr>
        <p:spPr>
          <a:xfrm>
            <a:off x="616539" y="2259181"/>
            <a:ext cx="10958921" cy="307777"/>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Uso intensivo de </a:t>
            </a:r>
            <a:r>
              <a:rPr lang="es-ES" sz="1400" b="1">
                <a:effectLst/>
                <a:latin typeface="+mj-lt"/>
                <a:ea typeface="Calibri" panose="020F0502020204030204" pitchFamily="34" charset="0"/>
                <a:cs typeface="Times New Roman" panose="02020603050405020304" pitchFamily="18" charset="0"/>
              </a:rPr>
              <a:t>herramientas automatizadas</a:t>
            </a:r>
            <a:r>
              <a:rPr lang="es-ES" sz="1400">
                <a:effectLst/>
                <a:latin typeface="+mj-lt"/>
                <a:ea typeface="Calibri" panose="020F0502020204030204" pitchFamily="34" charset="0"/>
                <a:cs typeface="Times New Roman" panose="02020603050405020304" pitchFamily="18" charset="0"/>
              </a:rPr>
              <a:t> para desarrollar, probar y gestionar el producto.</a:t>
            </a:r>
          </a:p>
        </p:txBody>
      </p:sp>
      <p:sp>
        <p:nvSpPr>
          <p:cNvPr id="7" name="Rectangle: Rounded Corners 6">
            <a:extLst>
              <a:ext uri="{FF2B5EF4-FFF2-40B4-BE49-F238E27FC236}">
                <a16:creationId xmlns:a16="http://schemas.microsoft.com/office/drawing/2014/main" id="{7C4269F2-2D85-2491-2BA9-B507BA95EE4C}"/>
              </a:ext>
            </a:extLst>
          </p:cNvPr>
          <p:cNvSpPr/>
          <p:nvPr/>
        </p:nvSpPr>
        <p:spPr bwMode="gray">
          <a:xfrm>
            <a:off x="664704" y="2929049"/>
            <a:ext cx="2226951" cy="509281"/>
          </a:xfrm>
          <a:prstGeom prst="roundRect">
            <a:avLst>
              <a:gd name="adj" fmla="val 17461"/>
            </a:avLst>
          </a:prstGeom>
          <a:solidFill>
            <a:schemeClr val="bg1"/>
          </a:solidFill>
          <a:ln w="31750"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a:t>PRUEBAS UNITARIAS</a:t>
            </a:r>
            <a:endParaRPr lang="es-ES" sz="1400"/>
          </a:p>
        </p:txBody>
      </p:sp>
      <p:sp>
        <p:nvSpPr>
          <p:cNvPr id="9" name="Rectangle: Rounded Corners 8">
            <a:extLst>
              <a:ext uri="{FF2B5EF4-FFF2-40B4-BE49-F238E27FC236}">
                <a16:creationId xmlns:a16="http://schemas.microsoft.com/office/drawing/2014/main" id="{77D71F1C-68DC-2757-8961-5CCE8C308787}"/>
              </a:ext>
            </a:extLst>
          </p:cNvPr>
          <p:cNvSpPr/>
          <p:nvPr/>
        </p:nvSpPr>
        <p:spPr bwMode="gray">
          <a:xfrm>
            <a:off x="664703" y="3678608"/>
            <a:ext cx="2226951" cy="509281"/>
          </a:xfrm>
          <a:prstGeom prst="roundRect">
            <a:avLst>
              <a:gd name="adj" fmla="val 17461"/>
            </a:avLst>
          </a:prstGeom>
          <a:solidFill>
            <a:schemeClr val="bg1"/>
          </a:solidFill>
          <a:ln w="31750"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a:t>CÓDIGO</a:t>
            </a:r>
            <a:endParaRPr lang="es-ES" sz="1400"/>
          </a:p>
        </p:txBody>
      </p:sp>
      <p:sp>
        <p:nvSpPr>
          <p:cNvPr id="10" name="Rectangle: Rounded Corners 9">
            <a:extLst>
              <a:ext uri="{FF2B5EF4-FFF2-40B4-BE49-F238E27FC236}">
                <a16:creationId xmlns:a16="http://schemas.microsoft.com/office/drawing/2014/main" id="{C6403996-0683-65A1-D243-95A4CDFAFC75}"/>
              </a:ext>
            </a:extLst>
          </p:cNvPr>
          <p:cNvSpPr/>
          <p:nvPr/>
        </p:nvSpPr>
        <p:spPr bwMode="gray">
          <a:xfrm>
            <a:off x="4865495" y="3183689"/>
            <a:ext cx="2806997" cy="729635"/>
          </a:xfrm>
          <a:prstGeom prst="roundRect">
            <a:avLst>
              <a:gd name="adj" fmla="val 17461"/>
            </a:avLst>
          </a:prstGeom>
          <a:solidFill>
            <a:schemeClr val="accent1">
              <a:lumMod val="20000"/>
              <a:lumOff val="80000"/>
            </a:schemeClr>
          </a:solidFill>
          <a:ln w="31750" algn="ctr">
            <a:solidFill>
              <a:srgbClr val="046A38"/>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a:t>Sistema de gestión de la configuración</a:t>
            </a:r>
            <a:endParaRPr lang="es-ES" sz="1400"/>
          </a:p>
        </p:txBody>
      </p:sp>
      <p:cxnSp>
        <p:nvCxnSpPr>
          <p:cNvPr id="13" name="Connector: Elbow 12">
            <a:extLst>
              <a:ext uri="{FF2B5EF4-FFF2-40B4-BE49-F238E27FC236}">
                <a16:creationId xmlns:a16="http://schemas.microsoft.com/office/drawing/2014/main" id="{2286836D-9B8A-5C78-C66A-55BA7CAE2E3A}"/>
              </a:ext>
            </a:extLst>
          </p:cNvPr>
          <p:cNvCxnSpPr>
            <a:cxnSpLocks/>
            <a:stCxn id="7" idx="3"/>
            <a:endCxn id="10" idx="1"/>
          </p:cNvCxnSpPr>
          <p:nvPr/>
        </p:nvCxnSpPr>
        <p:spPr>
          <a:xfrm>
            <a:off x="2891655" y="3183690"/>
            <a:ext cx="1973840" cy="364817"/>
          </a:xfrm>
          <a:prstGeom prst="bentConnector3">
            <a:avLst>
              <a:gd name="adj1" fmla="val 13601"/>
            </a:avLst>
          </a:prstGeom>
          <a:ln w="25400">
            <a:solidFill>
              <a:srgbClr val="046A38"/>
            </a:solidFill>
            <a:tailEnd type="oval"/>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F538E44C-9014-A354-6D41-E8EC135C5B93}"/>
              </a:ext>
            </a:extLst>
          </p:cNvPr>
          <p:cNvCxnSpPr>
            <a:cxnSpLocks/>
            <a:stCxn id="9" idx="3"/>
            <a:endCxn id="10" idx="1"/>
          </p:cNvCxnSpPr>
          <p:nvPr/>
        </p:nvCxnSpPr>
        <p:spPr>
          <a:xfrm flipV="1">
            <a:off x="2891654" y="3548507"/>
            <a:ext cx="1973841" cy="384742"/>
          </a:xfrm>
          <a:prstGeom prst="bentConnector3">
            <a:avLst>
              <a:gd name="adj1" fmla="val 13601"/>
            </a:avLst>
          </a:prstGeom>
          <a:ln w="25400">
            <a:solidFill>
              <a:srgbClr val="046A38"/>
            </a:solidFill>
            <a:tailEnd type="oval"/>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1B6656B4-A0DC-6A83-91B9-73008DB82529}"/>
              </a:ext>
            </a:extLst>
          </p:cNvPr>
          <p:cNvSpPr/>
          <p:nvPr/>
        </p:nvSpPr>
        <p:spPr bwMode="gray">
          <a:xfrm>
            <a:off x="9434824" y="3207642"/>
            <a:ext cx="2226951" cy="681727"/>
          </a:xfrm>
          <a:prstGeom prst="roundRect">
            <a:avLst>
              <a:gd name="adj" fmla="val 17461"/>
            </a:avLst>
          </a:prstGeom>
          <a:solidFill>
            <a:schemeClr val="accent2"/>
          </a:solidFill>
          <a:ln w="31750" algn="ctr">
            <a:solidFill>
              <a:srgbClr val="046A38"/>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INTEGRACIÓN CONTINUA</a:t>
            </a:r>
            <a:endParaRPr lang="es-ES" sz="1400" b="1">
              <a:solidFill>
                <a:schemeClr val="bg1"/>
              </a:solidFill>
            </a:endParaRPr>
          </a:p>
        </p:txBody>
      </p:sp>
      <p:cxnSp>
        <p:nvCxnSpPr>
          <p:cNvPr id="35" name="Straight Arrow Connector 34">
            <a:extLst>
              <a:ext uri="{FF2B5EF4-FFF2-40B4-BE49-F238E27FC236}">
                <a16:creationId xmlns:a16="http://schemas.microsoft.com/office/drawing/2014/main" id="{1CACDF0C-3CFD-FB2A-F14B-E6E77D6B7087}"/>
              </a:ext>
            </a:extLst>
          </p:cNvPr>
          <p:cNvCxnSpPr>
            <a:stCxn id="10" idx="3"/>
            <a:endCxn id="33" idx="1"/>
          </p:cNvCxnSpPr>
          <p:nvPr/>
        </p:nvCxnSpPr>
        <p:spPr>
          <a:xfrm flipV="1">
            <a:off x="7672492" y="3548506"/>
            <a:ext cx="1762332" cy="1"/>
          </a:xfrm>
          <a:prstGeom prst="straightConnector1">
            <a:avLst/>
          </a:prstGeom>
          <a:ln w="25400">
            <a:solidFill>
              <a:srgbClr val="046A38"/>
            </a:solidFill>
            <a:tailEnd type="ova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F6D7530C-C342-915E-56D8-C61D1FED2089}"/>
              </a:ext>
            </a:extLst>
          </p:cNvPr>
          <p:cNvSpPr txBox="1"/>
          <p:nvPr/>
        </p:nvSpPr>
        <p:spPr>
          <a:xfrm>
            <a:off x="3242546" y="3227599"/>
            <a:ext cx="1483567" cy="276999"/>
          </a:xfrm>
          <a:prstGeom prst="rect">
            <a:avLst/>
          </a:prstGeom>
          <a:noFill/>
        </p:spPr>
        <p:txBody>
          <a:bodyPr wrap="square">
            <a:spAutoFit/>
          </a:bodyPr>
          <a:lstStyle/>
          <a:p>
            <a:pPr algn="ctr">
              <a:spcAft>
                <a:spcPts val="800"/>
              </a:spcAft>
            </a:pPr>
            <a:r>
              <a:rPr lang="es-ES_tradnl" sz="1200" i="1">
                <a:effectLst/>
                <a:latin typeface="+mj-lt"/>
                <a:ea typeface="Calibri" panose="020F0502020204030204" pitchFamily="34" charset="0"/>
                <a:cs typeface="Times New Roman" panose="02020603050405020304" pitchFamily="18" charset="0"/>
              </a:rPr>
              <a:t>Se registran en</a:t>
            </a:r>
            <a:endParaRPr lang="es-ES" sz="1200" i="1">
              <a:effectLst/>
              <a:latin typeface="+mj-lt"/>
              <a:ea typeface="Calibri" panose="020F0502020204030204" pitchFamily="34" charset="0"/>
              <a:cs typeface="Times New Roman" panose="02020603050405020304" pitchFamily="18" charset="0"/>
            </a:endParaRPr>
          </a:p>
        </p:txBody>
      </p:sp>
      <p:sp>
        <p:nvSpPr>
          <p:cNvPr id="54" name="TextBox 53">
            <a:extLst>
              <a:ext uri="{FF2B5EF4-FFF2-40B4-BE49-F238E27FC236}">
                <a16:creationId xmlns:a16="http://schemas.microsoft.com/office/drawing/2014/main" id="{A9609760-7C1A-2901-5F18-31564EA72D84}"/>
              </a:ext>
            </a:extLst>
          </p:cNvPr>
          <p:cNvSpPr txBox="1"/>
          <p:nvPr/>
        </p:nvSpPr>
        <p:spPr>
          <a:xfrm>
            <a:off x="7811874" y="3228683"/>
            <a:ext cx="1483567" cy="276999"/>
          </a:xfrm>
          <a:prstGeom prst="rect">
            <a:avLst/>
          </a:prstGeom>
          <a:noFill/>
        </p:spPr>
        <p:txBody>
          <a:bodyPr wrap="square">
            <a:spAutoFit/>
          </a:bodyPr>
          <a:lstStyle/>
          <a:p>
            <a:pPr algn="ctr">
              <a:spcAft>
                <a:spcPts val="800"/>
              </a:spcAft>
            </a:pPr>
            <a:r>
              <a:rPr lang="es-ES_tradnl" sz="1200" i="1">
                <a:effectLst/>
                <a:latin typeface="+mj-lt"/>
                <a:ea typeface="Calibri" panose="020F0502020204030204" pitchFamily="34" charset="0"/>
                <a:cs typeface="Times New Roman" panose="02020603050405020304" pitchFamily="18" charset="0"/>
              </a:rPr>
              <a:t>Permite la</a:t>
            </a:r>
            <a:endParaRPr lang="es-ES" sz="1200" i="1">
              <a:effectLst/>
              <a:latin typeface="+mj-lt"/>
              <a:ea typeface="Calibri" panose="020F0502020204030204" pitchFamily="34" charset="0"/>
              <a:cs typeface="Times New Roman" panose="02020603050405020304" pitchFamily="18" charset="0"/>
            </a:endParaRPr>
          </a:p>
        </p:txBody>
      </p:sp>
      <p:sp>
        <p:nvSpPr>
          <p:cNvPr id="56" name="TextBox 55">
            <a:extLst>
              <a:ext uri="{FF2B5EF4-FFF2-40B4-BE49-F238E27FC236}">
                <a16:creationId xmlns:a16="http://schemas.microsoft.com/office/drawing/2014/main" id="{A044C56D-EE05-3338-EDE2-34E8429835E9}"/>
              </a:ext>
            </a:extLst>
          </p:cNvPr>
          <p:cNvSpPr txBox="1"/>
          <p:nvPr/>
        </p:nvSpPr>
        <p:spPr>
          <a:xfrm>
            <a:off x="581614" y="4486658"/>
            <a:ext cx="10958921" cy="1590179"/>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Las pruebas automatizadas también pueden incluir </a:t>
            </a:r>
            <a:r>
              <a:rPr lang="es-ES" sz="1400" b="1">
                <a:effectLst/>
                <a:latin typeface="+mj-lt"/>
                <a:ea typeface="Calibri" panose="020F0502020204030204" pitchFamily="34" charset="0"/>
                <a:cs typeface="Times New Roman" panose="02020603050405020304" pitchFamily="18" charset="0"/>
              </a:rPr>
              <a:t>pruebas funcionales, </a:t>
            </a:r>
            <a:r>
              <a:rPr lang="es-ES" sz="1400">
                <a:effectLst/>
                <a:latin typeface="+mj-lt"/>
                <a:ea typeface="Calibri" panose="020F0502020204030204" pitchFamily="34" charset="0"/>
                <a:cs typeface="Times New Roman" panose="02020603050405020304" pitchFamily="18" charset="0"/>
              </a:rPr>
              <a:t>aunque se suelen separar de las unitarias por su duración.</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No se debe confiar demasiado en las pruebas unitarias, ya que no son tan efectivas detectando defectos. Se deben ejecutar también pruebas automatizadas de </a:t>
            </a:r>
            <a:r>
              <a:rPr lang="es-ES" sz="1400" b="1">
                <a:latin typeface="+mj-lt"/>
                <a:ea typeface="Calibri" panose="020F0502020204030204" pitchFamily="34" charset="0"/>
                <a:cs typeface="Times New Roman" panose="02020603050405020304" pitchFamily="18" charset="0"/>
              </a:rPr>
              <a:t>integración y sistema.</a:t>
            </a:r>
          </a:p>
          <a:p>
            <a:pPr marL="285750" indent="-285750">
              <a:spcAft>
                <a:spcPts val="800"/>
              </a:spcAft>
              <a:buFont typeface="Arial" panose="020B0604020202020204" pitchFamily="34" charset="0"/>
              <a:buChar char="•"/>
            </a:pPr>
            <a:r>
              <a:rPr lang="es-ES" sz="1400">
                <a:latin typeface="+mj-lt"/>
                <a:ea typeface="Calibri" panose="020F0502020204030204" pitchFamily="34" charset="0"/>
                <a:cs typeface="Times New Roman" panose="02020603050405020304" pitchFamily="18" charset="0"/>
              </a:rPr>
              <a:t>El uso de la gestión de la configuración </a:t>
            </a:r>
            <a:r>
              <a:rPr lang="es-ES" sz="1400" b="1">
                <a:latin typeface="+mj-lt"/>
                <a:ea typeface="Calibri" panose="020F0502020204030204" pitchFamily="34" charset="0"/>
                <a:cs typeface="Times New Roman" panose="02020603050405020304" pitchFamily="18" charset="0"/>
              </a:rPr>
              <a:t>resuelve el ciclo</a:t>
            </a:r>
            <a:r>
              <a:rPr lang="es-ES" sz="1400">
                <a:latin typeface="+mj-lt"/>
                <a:ea typeface="Calibri" panose="020F0502020204030204" pitchFamily="34" charset="0"/>
                <a:cs typeface="Times New Roman" panose="02020603050405020304" pitchFamily="18" charset="0"/>
              </a:rPr>
              <a:t> de </a:t>
            </a:r>
            <a:r>
              <a:rPr lang="es-ES" sz="1400" i="1">
                <a:latin typeface="+mj-lt"/>
                <a:ea typeface="Calibri" panose="020F0502020204030204" pitchFamily="34" charset="0"/>
                <a:cs typeface="Times New Roman" panose="02020603050405020304" pitchFamily="18" charset="0"/>
              </a:rPr>
              <a:t>“Construcción – Instalación – Reconstrucción – Reinstalación”.</a:t>
            </a:r>
            <a:endParaRPr lang="es-ES" sz="1400">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8004437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BDF62899-C1BE-17F4-1FC8-D2719B0B8DF7}"/>
              </a:ext>
            </a:extLst>
          </p:cNvPr>
          <p:cNvSpPr/>
          <p:nvPr/>
        </p:nvSpPr>
        <p:spPr bwMode="gray">
          <a:xfrm>
            <a:off x="6095999" y="5427901"/>
            <a:ext cx="4605403" cy="4752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1.2.5. Planificación de Entregas e Iteraciones</a:t>
            </a:r>
          </a:p>
        </p:txBody>
      </p:sp>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2">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378395"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TEMA 1: DESARROLLO ÁGIL DE SOFTWARE</a:t>
            </a:r>
          </a:p>
        </p:txBody>
      </p:sp>
      <p:sp>
        <p:nvSpPr>
          <p:cNvPr id="60" name="Freeform 685">
            <a:extLst>
              <a:ext uri="{FF2B5EF4-FFF2-40B4-BE49-F238E27FC236}">
                <a16:creationId xmlns:a16="http://schemas.microsoft.com/office/drawing/2014/main" id="{3D1F0A89-067B-4D7D-AA41-ED6C03096218}"/>
              </a:ext>
            </a:extLst>
          </p:cNvPr>
          <p:cNvSpPr>
            <a:spLocks noEditPoints="1"/>
          </p:cNvSpPr>
          <p:nvPr/>
        </p:nvSpPr>
        <p:spPr bwMode="auto">
          <a:xfrm>
            <a:off x="8819562" y="6550110"/>
            <a:ext cx="268054" cy="206011"/>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Rectangle: Rounded Corners 3">
            <a:extLst>
              <a:ext uri="{FF2B5EF4-FFF2-40B4-BE49-F238E27FC236}">
                <a16:creationId xmlns:a16="http://schemas.microsoft.com/office/drawing/2014/main" id="{4E1E5335-73F1-3905-5825-92E06A1F2D35}"/>
              </a:ext>
            </a:extLst>
          </p:cNvPr>
          <p:cNvSpPr/>
          <p:nvPr/>
        </p:nvSpPr>
        <p:spPr bwMode="gray">
          <a:xfrm>
            <a:off x="1191275" y="2996084"/>
            <a:ext cx="3026163"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1.1.1. El Manifiesto Ágil</a:t>
            </a:r>
          </a:p>
        </p:txBody>
      </p:sp>
      <p:sp>
        <p:nvSpPr>
          <p:cNvPr id="7" name="Rectangle: Rounded Corners 6">
            <a:extLst>
              <a:ext uri="{FF2B5EF4-FFF2-40B4-BE49-F238E27FC236}">
                <a16:creationId xmlns:a16="http://schemas.microsoft.com/office/drawing/2014/main" id="{DCA2725D-D496-4FA9-3932-E3592EFC0034}"/>
              </a:ext>
            </a:extLst>
          </p:cNvPr>
          <p:cNvSpPr/>
          <p:nvPr/>
        </p:nvSpPr>
        <p:spPr bwMode="gray">
          <a:xfrm>
            <a:off x="1191275" y="3620989"/>
            <a:ext cx="3026164" cy="684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1.1.2. Enfoque de equipo completo</a:t>
            </a:r>
          </a:p>
        </p:txBody>
      </p:sp>
      <p:sp>
        <p:nvSpPr>
          <p:cNvPr id="8" name="Rectangle: Rounded Corners 7">
            <a:extLst>
              <a:ext uri="{FF2B5EF4-FFF2-40B4-BE49-F238E27FC236}">
                <a16:creationId xmlns:a16="http://schemas.microsoft.com/office/drawing/2014/main" id="{68F4AFBF-5890-894B-30E9-3B25703D07D2}"/>
              </a:ext>
            </a:extLst>
          </p:cNvPr>
          <p:cNvSpPr/>
          <p:nvPr/>
        </p:nvSpPr>
        <p:spPr bwMode="gray">
          <a:xfrm>
            <a:off x="1191275" y="4454742"/>
            <a:ext cx="3026165" cy="684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1.1.3. Retroalimentación temprana y frecuente</a:t>
            </a:r>
          </a:p>
        </p:txBody>
      </p:sp>
      <p:cxnSp>
        <p:nvCxnSpPr>
          <p:cNvPr id="10" name="Connector: Elbow 9">
            <a:extLst>
              <a:ext uri="{FF2B5EF4-FFF2-40B4-BE49-F238E27FC236}">
                <a16:creationId xmlns:a16="http://schemas.microsoft.com/office/drawing/2014/main" id="{9DA2F590-EDB0-F307-6985-878C7D655062}"/>
              </a:ext>
            </a:extLst>
          </p:cNvPr>
          <p:cNvCxnSpPr>
            <a:cxnSpLocks/>
            <a:endCxn id="8" idx="1"/>
          </p:cNvCxnSpPr>
          <p:nvPr/>
        </p:nvCxnSpPr>
        <p:spPr>
          <a:xfrm rot="16200000" flipH="1">
            <a:off x="-26777" y="3578690"/>
            <a:ext cx="2205882" cy="230222"/>
          </a:xfrm>
          <a:prstGeom prst="bentConnector2">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BD62F9AB-61EA-BFD9-9B3B-5CC6D742B44B}"/>
              </a:ext>
            </a:extLst>
          </p:cNvPr>
          <p:cNvSpPr/>
          <p:nvPr/>
        </p:nvSpPr>
        <p:spPr bwMode="gray">
          <a:xfrm>
            <a:off x="572344" y="1987419"/>
            <a:ext cx="3645094" cy="774441"/>
          </a:xfrm>
          <a:prstGeom prst="roundRect">
            <a:avLst>
              <a:gd name="adj" fmla="val 50000"/>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a:t>1.1. Fundamentos del desarrollo Ágil de software</a:t>
            </a:r>
          </a:p>
        </p:txBody>
      </p:sp>
      <p:cxnSp>
        <p:nvCxnSpPr>
          <p:cNvPr id="14" name="Straight Arrow Connector 13">
            <a:extLst>
              <a:ext uri="{FF2B5EF4-FFF2-40B4-BE49-F238E27FC236}">
                <a16:creationId xmlns:a16="http://schemas.microsoft.com/office/drawing/2014/main" id="{F980479C-CE03-649E-F12A-FD234788C1F2}"/>
              </a:ext>
            </a:extLst>
          </p:cNvPr>
          <p:cNvCxnSpPr>
            <a:endCxn id="7" idx="1"/>
          </p:cNvCxnSpPr>
          <p:nvPr/>
        </p:nvCxnSpPr>
        <p:spPr>
          <a:xfrm>
            <a:off x="961052" y="3962989"/>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10B2AC5-69C8-E345-30F1-7FCBDCD313D7}"/>
              </a:ext>
            </a:extLst>
          </p:cNvPr>
          <p:cNvCxnSpPr/>
          <p:nvPr/>
        </p:nvCxnSpPr>
        <p:spPr>
          <a:xfrm>
            <a:off x="961052" y="3233660"/>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A7A78B9A-8F26-A50C-0946-D46E715C9AAD}"/>
              </a:ext>
            </a:extLst>
          </p:cNvPr>
          <p:cNvSpPr/>
          <p:nvPr/>
        </p:nvSpPr>
        <p:spPr bwMode="gray">
          <a:xfrm>
            <a:off x="6061452" y="2996084"/>
            <a:ext cx="4639950"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1.2.1. Enfoques de Desarrollo Ágil de Software</a:t>
            </a:r>
          </a:p>
        </p:txBody>
      </p:sp>
      <p:sp>
        <p:nvSpPr>
          <p:cNvPr id="18" name="Rectangle: Rounded Corners 17">
            <a:extLst>
              <a:ext uri="{FF2B5EF4-FFF2-40B4-BE49-F238E27FC236}">
                <a16:creationId xmlns:a16="http://schemas.microsoft.com/office/drawing/2014/main" id="{E12A2BB3-2763-C39A-8EE5-44D30D3D95B3}"/>
              </a:ext>
            </a:extLst>
          </p:cNvPr>
          <p:cNvSpPr/>
          <p:nvPr/>
        </p:nvSpPr>
        <p:spPr bwMode="gray">
          <a:xfrm>
            <a:off x="6061451" y="3612166"/>
            <a:ext cx="5041977" cy="4752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1.2.2. Creación colaborativa de Historias de Usuario</a:t>
            </a:r>
          </a:p>
        </p:txBody>
      </p:sp>
      <p:sp>
        <p:nvSpPr>
          <p:cNvPr id="19" name="Rectangle: Rounded Corners 18">
            <a:extLst>
              <a:ext uri="{FF2B5EF4-FFF2-40B4-BE49-F238E27FC236}">
                <a16:creationId xmlns:a16="http://schemas.microsoft.com/office/drawing/2014/main" id="{2FD921E3-0A81-61F8-020C-E44280FDB9F5}"/>
              </a:ext>
            </a:extLst>
          </p:cNvPr>
          <p:cNvSpPr/>
          <p:nvPr/>
        </p:nvSpPr>
        <p:spPr bwMode="gray">
          <a:xfrm>
            <a:off x="6061449" y="4217142"/>
            <a:ext cx="2438739" cy="4752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1.2.3. Retrospectivas</a:t>
            </a:r>
          </a:p>
        </p:txBody>
      </p:sp>
      <p:cxnSp>
        <p:nvCxnSpPr>
          <p:cNvPr id="20" name="Connector: Elbow 19">
            <a:extLst>
              <a:ext uri="{FF2B5EF4-FFF2-40B4-BE49-F238E27FC236}">
                <a16:creationId xmlns:a16="http://schemas.microsoft.com/office/drawing/2014/main" id="{5AD38BDE-2E1A-77DF-B376-C6B1BFECDE73}"/>
              </a:ext>
            </a:extLst>
          </p:cNvPr>
          <p:cNvCxnSpPr>
            <a:cxnSpLocks/>
            <a:endCxn id="32" idx="1"/>
          </p:cNvCxnSpPr>
          <p:nvPr/>
        </p:nvCxnSpPr>
        <p:spPr>
          <a:xfrm rot="16200000" flipH="1">
            <a:off x="4307492" y="3876994"/>
            <a:ext cx="3312242" cy="264772"/>
          </a:xfrm>
          <a:prstGeom prst="bentConnector2">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B460105E-2692-65EB-FFBA-E34EC662EEDA}"/>
              </a:ext>
            </a:extLst>
          </p:cNvPr>
          <p:cNvSpPr/>
          <p:nvPr/>
        </p:nvSpPr>
        <p:spPr bwMode="gray">
          <a:xfrm>
            <a:off x="5442519" y="1987419"/>
            <a:ext cx="5660909" cy="774441"/>
          </a:xfrm>
          <a:prstGeom prst="roundRect">
            <a:avLst>
              <a:gd name="adj" fmla="val 50000"/>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600" b="1"/>
              <a:t>1.2. Características de los enfoques Ágiles</a:t>
            </a:r>
          </a:p>
        </p:txBody>
      </p:sp>
      <p:cxnSp>
        <p:nvCxnSpPr>
          <p:cNvPr id="23" name="Straight Arrow Connector 22">
            <a:extLst>
              <a:ext uri="{FF2B5EF4-FFF2-40B4-BE49-F238E27FC236}">
                <a16:creationId xmlns:a16="http://schemas.microsoft.com/office/drawing/2014/main" id="{BCC51F10-11CD-2AB8-98EB-A3AA0E9243D5}"/>
              </a:ext>
            </a:extLst>
          </p:cNvPr>
          <p:cNvCxnSpPr>
            <a:cxnSpLocks/>
            <a:endCxn id="18" idx="1"/>
          </p:cNvCxnSpPr>
          <p:nvPr/>
        </p:nvCxnSpPr>
        <p:spPr>
          <a:xfrm>
            <a:off x="5831228" y="3849766"/>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FA4CC813-AB19-16DA-80B4-8A485BD7B90B}"/>
              </a:ext>
            </a:extLst>
          </p:cNvPr>
          <p:cNvCxnSpPr/>
          <p:nvPr/>
        </p:nvCxnSpPr>
        <p:spPr>
          <a:xfrm>
            <a:off x="5831228" y="3233660"/>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158AE9CB-5E67-CC5A-5CFA-8089A463F22E}"/>
              </a:ext>
            </a:extLst>
          </p:cNvPr>
          <p:cNvSpPr/>
          <p:nvPr/>
        </p:nvSpPr>
        <p:spPr bwMode="gray">
          <a:xfrm>
            <a:off x="6070780" y="4832582"/>
            <a:ext cx="2889380" cy="4752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1.2.4. Integración Continua</a:t>
            </a:r>
          </a:p>
        </p:txBody>
      </p:sp>
      <p:cxnSp>
        <p:nvCxnSpPr>
          <p:cNvPr id="34" name="Straight Arrow Connector 33">
            <a:extLst>
              <a:ext uri="{FF2B5EF4-FFF2-40B4-BE49-F238E27FC236}">
                <a16:creationId xmlns:a16="http://schemas.microsoft.com/office/drawing/2014/main" id="{59421078-AF1E-83E7-E7E7-267B78BC2B24}"/>
              </a:ext>
            </a:extLst>
          </p:cNvPr>
          <p:cNvCxnSpPr>
            <a:cxnSpLocks/>
          </p:cNvCxnSpPr>
          <p:nvPr/>
        </p:nvCxnSpPr>
        <p:spPr>
          <a:xfrm>
            <a:off x="5831226" y="4454077"/>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991F5058-C04B-4F02-EB05-8E54ECAA3D5B}"/>
              </a:ext>
            </a:extLst>
          </p:cNvPr>
          <p:cNvCxnSpPr>
            <a:cxnSpLocks/>
          </p:cNvCxnSpPr>
          <p:nvPr/>
        </p:nvCxnSpPr>
        <p:spPr>
          <a:xfrm>
            <a:off x="5840557" y="5044767"/>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63071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82573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2.1 </a:t>
            </a:r>
            <a:r>
              <a:rPr lang="es-ES" altLang="en-US" sz="1600" b="1">
                <a:solidFill>
                  <a:schemeClr val="accent1"/>
                </a:solidFill>
                <a:latin typeface="Verdana" pitchFamily="34" charset="0"/>
                <a:ea typeface="Arial" pitchFamily="34" charset="0"/>
                <a:cs typeface="Verdana" pitchFamily="34" charset="0"/>
              </a:rPr>
              <a:t>Las Diferencias entre Probar en Enfoques Tradicionales y Ágiles</a:t>
            </a:r>
            <a:endParaRPr lang="en-GB" altLang="en-US" sz="1600" b="1">
              <a:solidFill>
                <a:schemeClr val="accent1"/>
              </a:solidFill>
              <a:latin typeface="Verdana" pitchFamily="34" charset="0"/>
              <a:ea typeface="Arial" pitchFamily="34" charset="0"/>
              <a:cs typeface="Verdana" pitchFamily="34" charset="0"/>
            </a:endParaRPr>
          </a:p>
        </p:txBody>
      </p:sp>
      <p:sp>
        <p:nvSpPr>
          <p:cNvPr id="3" name="Rectangle: Rounded Corners 2">
            <a:extLst>
              <a:ext uri="{FF2B5EF4-FFF2-40B4-BE49-F238E27FC236}">
                <a16:creationId xmlns:a16="http://schemas.microsoft.com/office/drawing/2014/main" id="{A402552E-F508-DB4D-80FB-ECE36337B36E}"/>
              </a:ext>
            </a:extLst>
          </p:cNvPr>
          <p:cNvSpPr/>
          <p:nvPr/>
        </p:nvSpPr>
        <p:spPr bwMode="gray">
          <a:xfrm>
            <a:off x="427537" y="1663155"/>
            <a:ext cx="6747704"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2.1.5. Opciones de organización para pruebas independientes</a:t>
            </a:r>
          </a:p>
        </p:txBody>
      </p:sp>
      <p:graphicFrame>
        <p:nvGraphicFramePr>
          <p:cNvPr id="4" name="Table 3">
            <a:extLst>
              <a:ext uri="{FF2B5EF4-FFF2-40B4-BE49-F238E27FC236}">
                <a16:creationId xmlns:a16="http://schemas.microsoft.com/office/drawing/2014/main" id="{3FFB3E8F-0AC3-C1C7-C450-45483A4079FA}"/>
              </a:ext>
            </a:extLst>
          </p:cNvPr>
          <p:cNvGraphicFramePr>
            <a:graphicFrameLocks noGrp="1"/>
          </p:cNvGraphicFramePr>
          <p:nvPr>
            <p:extLst>
              <p:ext uri="{D42A27DB-BD31-4B8C-83A1-F6EECF244321}">
                <p14:modId xmlns:p14="http://schemas.microsoft.com/office/powerpoint/2010/main" val="2132111337"/>
              </p:ext>
            </p:extLst>
          </p:nvPr>
        </p:nvGraphicFramePr>
        <p:xfrm>
          <a:off x="460375" y="2409806"/>
          <a:ext cx="10957598" cy="3431520"/>
        </p:xfrm>
        <a:graphic>
          <a:graphicData uri="http://schemas.openxmlformats.org/drawingml/2006/table">
            <a:tbl>
              <a:tblPr firstRow="1" bandRow="1">
                <a:tableStyleId>{2D5ABB26-0587-4C30-8999-92F81FD0307C}</a:tableStyleId>
              </a:tblPr>
              <a:tblGrid>
                <a:gridCol w="2317598">
                  <a:extLst>
                    <a:ext uri="{9D8B030D-6E8A-4147-A177-3AD203B41FA5}">
                      <a16:colId xmlns:a16="http://schemas.microsoft.com/office/drawing/2014/main" val="151007859"/>
                    </a:ext>
                  </a:extLst>
                </a:gridCol>
                <a:gridCol w="2880000">
                  <a:extLst>
                    <a:ext uri="{9D8B030D-6E8A-4147-A177-3AD203B41FA5}">
                      <a16:colId xmlns:a16="http://schemas.microsoft.com/office/drawing/2014/main" val="2981066323"/>
                    </a:ext>
                  </a:extLst>
                </a:gridCol>
                <a:gridCol w="2880000">
                  <a:extLst>
                    <a:ext uri="{9D8B030D-6E8A-4147-A177-3AD203B41FA5}">
                      <a16:colId xmlns:a16="http://schemas.microsoft.com/office/drawing/2014/main" val="532343730"/>
                    </a:ext>
                  </a:extLst>
                </a:gridCol>
                <a:gridCol w="2880000">
                  <a:extLst>
                    <a:ext uri="{9D8B030D-6E8A-4147-A177-3AD203B41FA5}">
                      <a16:colId xmlns:a16="http://schemas.microsoft.com/office/drawing/2014/main" val="3230534989"/>
                    </a:ext>
                  </a:extLst>
                </a:gridCol>
              </a:tblGrid>
              <a:tr h="370840">
                <a:tc>
                  <a:txBody>
                    <a:bodyPr/>
                    <a:lstStyle/>
                    <a:p>
                      <a:endParaRPr lang="es-ES"/>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s-ES_tradnl" sz="1400" b="1">
                          <a:solidFill>
                            <a:schemeClr val="tx1"/>
                          </a:solidFill>
                        </a:rPr>
                        <a:t>Probadores integrados en el equipo y asignados al principio</a:t>
                      </a:r>
                      <a:endParaRPr lang="es-ES" sz="14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ES_tradnl" sz="1400" b="1">
                          <a:solidFill>
                            <a:schemeClr val="tx1"/>
                          </a:solidFill>
                        </a:rPr>
                        <a:t>Probadores separados y asignados al final</a:t>
                      </a:r>
                      <a:endParaRPr lang="es-ES" sz="14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s-ES_tradnl" sz="1400" b="1">
                          <a:solidFill>
                            <a:schemeClr val="tx1"/>
                          </a:solidFill>
                        </a:rPr>
                        <a:t>Probadores separados y asignados al principio</a:t>
                      </a:r>
                      <a:endParaRPr lang="es-ES" sz="1400"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31255789"/>
                  </a:ext>
                </a:extLst>
              </a:tr>
              <a:tr h="900000">
                <a:tc>
                  <a:txBody>
                    <a:bodyPr/>
                    <a:lstStyle/>
                    <a:p>
                      <a:pPr algn="ctr"/>
                      <a:r>
                        <a:rPr lang="es-ES_tradnl" sz="1600" b="0"/>
                        <a:t>Independencia</a:t>
                      </a:r>
                      <a:endParaRPr lang="es-ES" sz="16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s-ES" sz="1800" b="1">
                        <a:solidFill>
                          <a:srgbClr val="009A44"/>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0722063"/>
                  </a:ext>
                </a:extLst>
              </a:tr>
              <a:tr h="900000">
                <a:tc>
                  <a:txBody>
                    <a:bodyPr/>
                    <a:lstStyle/>
                    <a:p>
                      <a:pPr algn="ctr"/>
                      <a:r>
                        <a:rPr lang="es-ES_tradnl" sz="1600" b="0"/>
                        <a:t>Evaluación objetiva</a:t>
                      </a:r>
                      <a:endParaRPr lang="es-ES" sz="16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8740816"/>
                  </a:ext>
                </a:extLst>
              </a:tr>
              <a:tr h="900000">
                <a:tc>
                  <a:txBody>
                    <a:bodyPr/>
                    <a:lstStyle/>
                    <a:p>
                      <a:pPr algn="ctr"/>
                      <a:r>
                        <a:rPr lang="es-ES_tradnl" sz="1600" b="0"/>
                        <a:t>Conocimiento del producto</a:t>
                      </a:r>
                      <a:endParaRPr lang="es-ES" sz="1600" b="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s-ES" sz="18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s-ES" sz="1800" b="1">
                        <a:solidFill>
                          <a:srgbClr val="FFCD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s-ES" sz="1800" b="1">
                        <a:solidFill>
                          <a:srgbClr val="FFCD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0354206"/>
                  </a:ext>
                </a:extLst>
              </a:tr>
            </a:tbl>
          </a:graphicData>
        </a:graphic>
      </p:graphicFrame>
      <p:pic>
        <p:nvPicPr>
          <p:cNvPr id="11" name="Graphic 10" descr="Badge Tick1 with solid fill">
            <a:extLst>
              <a:ext uri="{FF2B5EF4-FFF2-40B4-BE49-F238E27FC236}">
                <a16:creationId xmlns:a16="http://schemas.microsoft.com/office/drawing/2014/main" id="{E6393835-94DA-BCEC-314B-F8E58EEA2A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02490" y="3214396"/>
            <a:ext cx="720000" cy="720000"/>
          </a:xfrm>
          <a:prstGeom prst="rect">
            <a:avLst/>
          </a:prstGeom>
        </p:spPr>
      </p:pic>
      <p:pic>
        <p:nvPicPr>
          <p:cNvPr id="12" name="Graphic 11" descr="Badge Tick1 with solid fill">
            <a:extLst>
              <a:ext uri="{FF2B5EF4-FFF2-40B4-BE49-F238E27FC236}">
                <a16:creationId xmlns:a16="http://schemas.microsoft.com/office/drawing/2014/main" id="{5DF244AC-8E07-3066-2233-09AA20BA93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02490" y="4108583"/>
            <a:ext cx="720000" cy="720000"/>
          </a:xfrm>
          <a:prstGeom prst="rect">
            <a:avLst/>
          </a:prstGeom>
        </p:spPr>
      </p:pic>
      <p:pic>
        <p:nvPicPr>
          <p:cNvPr id="16" name="Graphic 15" descr="Badge Tick1 with solid fill">
            <a:extLst>
              <a:ext uri="{FF2B5EF4-FFF2-40B4-BE49-F238E27FC236}">
                <a16:creationId xmlns:a16="http://schemas.microsoft.com/office/drawing/2014/main" id="{539EC75C-ED8C-DE17-58F4-F9B8405C72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01389" y="5022205"/>
            <a:ext cx="720000" cy="720000"/>
          </a:xfrm>
          <a:prstGeom prst="rect">
            <a:avLst/>
          </a:prstGeom>
        </p:spPr>
      </p:pic>
      <p:pic>
        <p:nvPicPr>
          <p:cNvPr id="18" name="Graphic 17" descr="Badge Cross with solid fill">
            <a:extLst>
              <a:ext uri="{FF2B5EF4-FFF2-40B4-BE49-F238E27FC236}">
                <a16:creationId xmlns:a16="http://schemas.microsoft.com/office/drawing/2014/main" id="{4F596F3F-6FFC-79AA-E42D-FE6CEE54E81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1389" y="3214396"/>
            <a:ext cx="720000" cy="720000"/>
          </a:xfrm>
          <a:prstGeom prst="rect">
            <a:avLst/>
          </a:prstGeom>
        </p:spPr>
      </p:pic>
      <p:pic>
        <p:nvPicPr>
          <p:cNvPr id="19" name="Graphic 18" descr="Badge Cross with solid fill">
            <a:extLst>
              <a:ext uri="{FF2B5EF4-FFF2-40B4-BE49-F238E27FC236}">
                <a16:creationId xmlns:a16="http://schemas.microsoft.com/office/drawing/2014/main" id="{1C35604E-456B-CA2D-0723-D5E65D0407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1389" y="4108583"/>
            <a:ext cx="720000" cy="720000"/>
          </a:xfrm>
          <a:prstGeom prst="rect">
            <a:avLst/>
          </a:prstGeom>
        </p:spPr>
      </p:pic>
      <p:pic>
        <p:nvPicPr>
          <p:cNvPr id="20" name="Graphic 19" descr="Badge Cross with solid fill">
            <a:extLst>
              <a:ext uri="{FF2B5EF4-FFF2-40B4-BE49-F238E27FC236}">
                <a16:creationId xmlns:a16="http://schemas.microsoft.com/office/drawing/2014/main" id="{2421F018-1235-ADCC-D0F6-4BB6AFCBD2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2490" y="5002770"/>
            <a:ext cx="720000" cy="720000"/>
          </a:xfrm>
          <a:prstGeom prst="rect">
            <a:avLst/>
          </a:prstGeom>
        </p:spPr>
      </p:pic>
      <p:pic>
        <p:nvPicPr>
          <p:cNvPr id="21" name="Graphic 20" descr="Badge Tick1 with solid fill">
            <a:extLst>
              <a:ext uri="{FF2B5EF4-FFF2-40B4-BE49-F238E27FC236}">
                <a16:creationId xmlns:a16="http://schemas.microsoft.com/office/drawing/2014/main" id="{EDE8EB06-A146-3B8A-2158-58C091886B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3591" y="3214396"/>
            <a:ext cx="720000" cy="720000"/>
          </a:xfrm>
          <a:prstGeom prst="rect">
            <a:avLst/>
          </a:prstGeom>
        </p:spPr>
      </p:pic>
      <p:pic>
        <p:nvPicPr>
          <p:cNvPr id="22" name="Graphic 21" descr="Badge Tick1 with solid fill">
            <a:extLst>
              <a:ext uri="{FF2B5EF4-FFF2-40B4-BE49-F238E27FC236}">
                <a16:creationId xmlns:a16="http://schemas.microsoft.com/office/drawing/2014/main" id="{5AC06E94-513A-23CD-E00E-6889612964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3591" y="4108583"/>
            <a:ext cx="720000" cy="720000"/>
          </a:xfrm>
          <a:prstGeom prst="rect">
            <a:avLst/>
          </a:prstGeom>
        </p:spPr>
      </p:pic>
      <p:pic>
        <p:nvPicPr>
          <p:cNvPr id="23" name="Graphic 22" descr="Badge Tick1 with solid fill">
            <a:extLst>
              <a:ext uri="{FF2B5EF4-FFF2-40B4-BE49-F238E27FC236}">
                <a16:creationId xmlns:a16="http://schemas.microsoft.com/office/drawing/2014/main" id="{ADCFB7FD-0EBE-3DF9-924B-54C7274BFCC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3591" y="5022205"/>
            <a:ext cx="720000" cy="720000"/>
          </a:xfrm>
          <a:prstGeom prst="rect">
            <a:avLst/>
          </a:prstGeom>
        </p:spPr>
      </p:pic>
    </p:spTree>
    <p:extLst>
      <p:ext uri="{BB962C8B-B14F-4D97-AF65-F5344CB8AC3E}">
        <p14:creationId xmlns:p14="http://schemas.microsoft.com/office/powerpoint/2010/main" val="36576759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817618"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2.2 </a:t>
            </a:r>
            <a:r>
              <a:rPr lang="es-ES" altLang="en-US" sz="1600" b="1">
                <a:solidFill>
                  <a:schemeClr val="accent1"/>
                </a:solidFill>
                <a:latin typeface="Verdana" pitchFamily="34" charset="0"/>
                <a:ea typeface="Arial" pitchFamily="34" charset="0"/>
                <a:cs typeface="Verdana" pitchFamily="34" charset="0"/>
              </a:rPr>
              <a:t>Situación de la Prueba en Proyectos Ágiles</a:t>
            </a:r>
            <a:endParaRPr lang="en-GB" altLang="en-US" sz="1600" b="1">
              <a:solidFill>
                <a:schemeClr val="accent1"/>
              </a:solidFill>
              <a:latin typeface="Verdana" pitchFamily="34" charset="0"/>
              <a:ea typeface="Arial" pitchFamily="34" charset="0"/>
              <a:cs typeface="Verdana" pitchFamily="34" charset="0"/>
            </a:endParaRPr>
          </a:p>
        </p:txBody>
      </p:sp>
      <p:graphicFrame>
        <p:nvGraphicFramePr>
          <p:cNvPr id="9" name="Diagram 8">
            <a:extLst>
              <a:ext uri="{FF2B5EF4-FFF2-40B4-BE49-F238E27FC236}">
                <a16:creationId xmlns:a16="http://schemas.microsoft.com/office/drawing/2014/main" id="{7B7422E1-4A78-4283-8E50-3F8F1F09F4A3}"/>
              </a:ext>
            </a:extLst>
          </p:cNvPr>
          <p:cNvGraphicFramePr/>
          <p:nvPr>
            <p:extLst>
              <p:ext uri="{D42A27DB-BD31-4B8C-83A1-F6EECF244321}">
                <p14:modId xmlns:p14="http://schemas.microsoft.com/office/powerpoint/2010/main" val="727699410"/>
              </p:ext>
            </p:extLst>
          </p:nvPr>
        </p:nvGraphicFramePr>
        <p:xfrm>
          <a:off x="5072741" y="3429000"/>
          <a:ext cx="6814393" cy="288391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 name="Rectangle: Rounded Corners 2">
            <a:extLst>
              <a:ext uri="{FF2B5EF4-FFF2-40B4-BE49-F238E27FC236}">
                <a16:creationId xmlns:a16="http://schemas.microsoft.com/office/drawing/2014/main" id="{3CF2E0E7-59AB-FE9D-63F4-4B901FBEFFF0}"/>
              </a:ext>
            </a:extLst>
          </p:cNvPr>
          <p:cNvSpPr/>
          <p:nvPr/>
        </p:nvSpPr>
        <p:spPr bwMode="gray">
          <a:xfrm>
            <a:off x="427537" y="1663155"/>
            <a:ext cx="8184618"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2.2.1. Comunicar el estado de la prueba, el avance y la calidad del producto</a:t>
            </a:r>
          </a:p>
        </p:txBody>
      </p:sp>
      <p:sp>
        <p:nvSpPr>
          <p:cNvPr id="4" name="TextBox 3">
            <a:extLst>
              <a:ext uri="{FF2B5EF4-FFF2-40B4-BE49-F238E27FC236}">
                <a16:creationId xmlns:a16="http://schemas.microsoft.com/office/drawing/2014/main" id="{C9393799-81DE-4541-C826-3AD0E733D18D}"/>
              </a:ext>
            </a:extLst>
          </p:cNvPr>
          <p:cNvSpPr txBox="1"/>
          <p:nvPr/>
        </p:nvSpPr>
        <p:spPr>
          <a:xfrm>
            <a:off x="616539" y="2259181"/>
            <a:ext cx="10958921" cy="625812"/>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Recomendable usar </a:t>
            </a:r>
            <a:r>
              <a:rPr lang="es-ES" sz="1400" b="1">
                <a:effectLst/>
                <a:latin typeface="+mj-lt"/>
                <a:ea typeface="Calibri" panose="020F0502020204030204" pitchFamily="34" charset="0"/>
                <a:cs typeface="Times New Roman" panose="02020603050405020304" pitchFamily="18" charset="0"/>
              </a:rPr>
              <a:t>herramientas que generan informes automáticamente.</a:t>
            </a:r>
            <a:r>
              <a:rPr lang="es-ES" sz="1400">
                <a:effectLst/>
                <a:latin typeface="+mj-lt"/>
                <a:ea typeface="Calibri" panose="020F0502020204030204" pitchFamily="34" charset="0"/>
                <a:cs typeface="Times New Roman" panose="02020603050405020304" pitchFamily="18" charset="0"/>
              </a:rPr>
              <a:t>.</a:t>
            </a:r>
          </a:p>
          <a:p>
            <a:pPr marL="285750" indent="-285750">
              <a:spcAft>
                <a:spcPts val="800"/>
              </a:spcAft>
              <a:buFont typeface="Arial" panose="020B0604020202020204" pitchFamily="34" charset="0"/>
              <a:buChar char="•"/>
            </a:pPr>
            <a:r>
              <a:rPr lang="es-ES" sz="1400" b="1">
                <a:latin typeface="+mj-lt"/>
                <a:ea typeface="Calibri" panose="020F0502020204030204" pitchFamily="34" charset="0"/>
                <a:cs typeface="Times New Roman" panose="02020603050405020304" pitchFamily="18" charset="0"/>
              </a:rPr>
              <a:t>Gráfico de quemado o </a:t>
            </a:r>
            <a:r>
              <a:rPr lang="es-ES" sz="1400" b="1" i="1" err="1">
                <a:latin typeface="+mj-lt"/>
                <a:ea typeface="Calibri" panose="020F0502020204030204" pitchFamily="34" charset="0"/>
                <a:cs typeface="Times New Roman" panose="02020603050405020304" pitchFamily="18" charset="0"/>
              </a:rPr>
              <a:t>burn-down</a:t>
            </a:r>
            <a:r>
              <a:rPr lang="es-ES" sz="1400" b="1">
                <a:latin typeface="+mj-lt"/>
                <a:ea typeface="Calibri" panose="020F0502020204030204" pitchFamily="34" charset="0"/>
                <a:cs typeface="Times New Roman" panose="02020603050405020304" pitchFamily="18" charset="0"/>
              </a:rPr>
              <a:t>:</a:t>
            </a:r>
            <a:r>
              <a:rPr lang="es-ES" sz="1400">
                <a:latin typeface="+mj-lt"/>
                <a:ea typeface="Calibri" panose="020F0502020204030204" pitchFamily="34" charset="0"/>
                <a:cs typeface="Times New Roman" panose="02020603050405020304" pitchFamily="18" charset="0"/>
              </a:rPr>
              <a:t> representa la cantidad de trabajo restante (eje Y) respecto al tiempo (eje X).</a:t>
            </a:r>
            <a:endParaRPr lang="es-ES" sz="1400">
              <a:effectLst/>
              <a:latin typeface="+mj-lt"/>
              <a:ea typeface="Calibri" panose="020F0502020204030204" pitchFamily="34" charset="0"/>
              <a:cs typeface="Times New Roman" panose="02020603050405020304" pitchFamily="18" charset="0"/>
            </a:endParaRPr>
          </a:p>
        </p:txBody>
      </p:sp>
      <p:pic>
        <p:nvPicPr>
          <p:cNvPr id="1026" name="Picture 2" descr="Cómo realizar un seguimiento del progreso del proyecto con un gráfico ...">
            <a:extLst>
              <a:ext uri="{FF2B5EF4-FFF2-40B4-BE49-F238E27FC236}">
                <a16:creationId xmlns:a16="http://schemas.microsoft.com/office/drawing/2014/main" id="{3A8A4A6F-6AEE-04B4-C067-866BEA47E7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4866" y="3180074"/>
            <a:ext cx="4575045" cy="2728065"/>
          </a:xfrm>
          <a:prstGeom prst="rect">
            <a:avLst/>
          </a:prstGeom>
          <a:noFill/>
          <a:ln w="25400">
            <a:solidFill>
              <a:srgbClr val="046A38"/>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5241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817618"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2.2 </a:t>
            </a:r>
            <a:r>
              <a:rPr lang="es-ES" altLang="en-US" sz="1600" b="1">
                <a:solidFill>
                  <a:schemeClr val="accent1"/>
                </a:solidFill>
                <a:latin typeface="Verdana" pitchFamily="34" charset="0"/>
                <a:ea typeface="Arial" pitchFamily="34" charset="0"/>
                <a:cs typeface="Verdana" pitchFamily="34" charset="0"/>
              </a:rPr>
              <a:t>Situación de la Prueba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10" name="Left Brace 9">
            <a:extLst>
              <a:ext uri="{FF2B5EF4-FFF2-40B4-BE49-F238E27FC236}">
                <a16:creationId xmlns:a16="http://schemas.microsoft.com/office/drawing/2014/main" id="{39C000CC-D701-4F2F-A512-0A9AA93CCD5D}"/>
              </a:ext>
            </a:extLst>
          </p:cNvPr>
          <p:cNvSpPr/>
          <p:nvPr/>
        </p:nvSpPr>
        <p:spPr>
          <a:xfrm>
            <a:off x="4822690" y="4649539"/>
            <a:ext cx="492260" cy="1808851"/>
          </a:xfrm>
          <a:prstGeom prst="leftBrace">
            <a:avLst>
              <a:gd name="adj1" fmla="val 7095"/>
              <a:gd name="adj2" fmla="val 49612"/>
            </a:avLst>
          </a:prstGeom>
          <a:ln w="28575">
            <a:solidFill>
              <a:srgbClr val="046A3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4" name="TextBox 13">
            <a:extLst>
              <a:ext uri="{FF2B5EF4-FFF2-40B4-BE49-F238E27FC236}">
                <a16:creationId xmlns:a16="http://schemas.microsoft.com/office/drawing/2014/main" id="{E3965EC9-B323-4F53-BF58-8F0D30E682C8}"/>
              </a:ext>
            </a:extLst>
          </p:cNvPr>
          <p:cNvSpPr txBox="1"/>
          <p:nvPr/>
        </p:nvSpPr>
        <p:spPr>
          <a:xfrm>
            <a:off x="696655" y="5184632"/>
            <a:ext cx="4126035" cy="738664"/>
          </a:xfrm>
          <a:prstGeom prst="rect">
            <a:avLst/>
          </a:prstGeom>
          <a:noFill/>
        </p:spPr>
        <p:txBody>
          <a:bodyPr wrap="square">
            <a:spAutoFit/>
          </a:bodyPr>
          <a:lstStyle/>
          <a:p>
            <a:r>
              <a:rPr lang="es-ES" sz="1400">
                <a:latin typeface="+mj-lt"/>
                <a:cs typeface="Times New Roman" panose="02020603050405020304" pitchFamily="18" charset="0"/>
              </a:rPr>
              <a:t>Además de la automatización de la prueba, también se pueden automatizar las siguientes tareas de prueba:</a:t>
            </a:r>
          </a:p>
        </p:txBody>
      </p:sp>
      <p:sp>
        <p:nvSpPr>
          <p:cNvPr id="20" name="TextBox 19">
            <a:extLst>
              <a:ext uri="{FF2B5EF4-FFF2-40B4-BE49-F238E27FC236}">
                <a16:creationId xmlns:a16="http://schemas.microsoft.com/office/drawing/2014/main" id="{05B032FF-3E75-4597-B31E-0746071ABF0D}"/>
              </a:ext>
            </a:extLst>
          </p:cNvPr>
          <p:cNvSpPr txBox="1"/>
          <p:nvPr/>
        </p:nvSpPr>
        <p:spPr>
          <a:xfrm>
            <a:off x="5314950" y="4683859"/>
            <a:ext cx="5856589" cy="1664623"/>
          </a:xfrm>
          <a:prstGeom prst="rect">
            <a:avLst/>
          </a:prstGeom>
          <a:noFill/>
        </p:spPr>
        <p:txBody>
          <a:bodyPr wrap="square">
            <a:spAutoFit/>
          </a:bodyPr>
          <a:lstStyle/>
          <a:p>
            <a:pPr marL="342900" lvl="0" indent="-342900">
              <a:lnSpc>
                <a:spcPct val="150000"/>
              </a:lnSpc>
              <a:buFont typeface="Wingdings" panose="05000000000000000000" pitchFamily="2" charset="2"/>
              <a:buChar char="Ø"/>
            </a:pPr>
            <a:r>
              <a:rPr lang="es-ES" sz="1400">
                <a:latin typeface="+mj-lt"/>
                <a:cs typeface="Times New Roman" panose="02020603050405020304" pitchFamily="18" charset="0"/>
              </a:rPr>
              <a:t>Generación de datos de prueba.</a:t>
            </a:r>
          </a:p>
          <a:p>
            <a:pPr marL="342900" lvl="0" indent="-342900">
              <a:lnSpc>
                <a:spcPct val="150000"/>
              </a:lnSpc>
              <a:buFont typeface="Wingdings" panose="05000000000000000000" pitchFamily="2" charset="2"/>
              <a:buChar char="Ø"/>
            </a:pPr>
            <a:r>
              <a:rPr lang="es-ES" sz="1400">
                <a:latin typeface="+mj-lt"/>
                <a:cs typeface="Times New Roman" panose="02020603050405020304" pitchFamily="18" charset="0"/>
              </a:rPr>
              <a:t>Carga de los datos de prueba en los sistemas.</a:t>
            </a:r>
          </a:p>
          <a:p>
            <a:pPr marL="342900" lvl="0" indent="-342900">
              <a:lnSpc>
                <a:spcPct val="150000"/>
              </a:lnSpc>
              <a:buFont typeface="Wingdings" panose="05000000000000000000" pitchFamily="2" charset="2"/>
              <a:buChar char="Ø"/>
            </a:pPr>
            <a:r>
              <a:rPr lang="es-ES" sz="1400">
                <a:latin typeface="+mj-lt"/>
                <a:cs typeface="Times New Roman" panose="02020603050405020304" pitchFamily="18" charset="0"/>
              </a:rPr>
              <a:t>Despliegue de construcciones en los entornos de prueba.</a:t>
            </a:r>
          </a:p>
          <a:p>
            <a:pPr marL="342900" lvl="0" indent="-342900">
              <a:lnSpc>
                <a:spcPct val="150000"/>
              </a:lnSpc>
              <a:buFont typeface="Wingdings" panose="05000000000000000000" pitchFamily="2" charset="2"/>
              <a:buChar char="Ø"/>
            </a:pPr>
            <a:r>
              <a:rPr lang="es-ES" sz="1400">
                <a:latin typeface="+mj-lt"/>
                <a:cs typeface="Times New Roman" panose="02020603050405020304" pitchFamily="18" charset="0"/>
              </a:rPr>
              <a:t>Restauración de un entorno de a una línea de base.</a:t>
            </a:r>
          </a:p>
          <a:p>
            <a:pPr marL="342900" lvl="0" indent="-342900">
              <a:lnSpc>
                <a:spcPct val="150000"/>
              </a:lnSpc>
              <a:spcAft>
                <a:spcPts val="800"/>
              </a:spcAft>
              <a:buFont typeface="Wingdings" panose="05000000000000000000" pitchFamily="2" charset="2"/>
              <a:buChar char="Ø"/>
            </a:pPr>
            <a:r>
              <a:rPr lang="es-ES" sz="1400">
                <a:latin typeface="+mj-lt"/>
                <a:cs typeface="Times New Roman" panose="02020603050405020304" pitchFamily="18" charset="0"/>
              </a:rPr>
              <a:t>Comparación de las salidas de datos</a:t>
            </a:r>
          </a:p>
        </p:txBody>
      </p:sp>
      <p:sp>
        <p:nvSpPr>
          <p:cNvPr id="3" name="Rectangle: Rounded Corners 2">
            <a:extLst>
              <a:ext uri="{FF2B5EF4-FFF2-40B4-BE49-F238E27FC236}">
                <a16:creationId xmlns:a16="http://schemas.microsoft.com/office/drawing/2014/main" id="{5400941A-2631-8885-C9FB-AA233D75B9B5}"/>
              </a:ext>
            </a:extLst>
          </p:cNvPr>
          <p:cNvSpPr/>
          <p:nvPr/>
        </p:nvSpPr>
        <p:spPr bwMode="gray">
          <a:xfrm>
            <a:off x="427537" y="1663155"/>
            <a:ext cx="10414634"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2.2.2. Gestión del riesgo de regresión en casos de prueba manuales y automatizados en evolución</a:t>
            </a:r>
          </a:p>
        </p:txBody>
      </p:sp>
      <p:sp>
        <p:nvSpPr>
          <p:cNvPr id="4" name="TextBox 3">
            <a:extLst>
              <a:ext uri="{FF2B5EF4-FFF2-40B4-BE49-F238E27FC236}">
                <a16:creationId xmlns:a16="http://schemas.microsoft.com/office/drawing/2014/main" id="{B762E1B1-C93C-C567-FBA5-BDCE9EB3868F}"/>
              </a:ext>
            </a:extLst>
          </p:cNvPr>
          <p:cNvSpPr txBox="1"/>
          <p:nvPr/>
        </p:nvSpPr>
        <p:spPr>
          <a:xfrm>
            <a:off x="616539" y="2259181"/>
            <a:ext cx="10958921" cy="2185214"/>
          </a:xfrm>
          <a:prstGeom prst="rect">
            <a:avLst/>
          </a:prstGeom>
          <a:noFill/>
        </p:spPr>
        <p:txBody>
          <a:bodyPr wrap="square">
            <a:spAutoFit/>
          </a:bodyPr>
          <a:lstStyle/>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El </a:t>
            </a:r>
            <a:r>
              <a:rPr lang="es-ES" sz="1400" b="1">
                <a:effectLst/>
                <a:latin typeface="+mj-lt"/>
                <a:ea typeface="Calibri" panose="020F0502020204030204" pitchFamily="34" charset="0"/>
                <a:cs typeface="Times New Roman" panose="02020603050405020304" pitchFamily="18" charset="0"/>
              </a:rPr>
              <a:t>riesgo de regresión </a:t>
            </a:r>
            <a:r>
              <a:rPr lang="es-ES" sz="1400">
                <a:effectLst/>
                <a:latin typeface="+mj-lt"/>
                <a:ea typeface="Calibri" panose="020F0502020204030204" pitchFamily="34" charset="0"/>
                <a:cs typeface="Times New Roman" panose="02020603050405020304" pitchFamily="18" charset="0"/>
              </a:rPr>
              <a:t>aumenta en cada iteración.</a:t>
            </a:r>
          </a:p>
          <a:p>
            <a:pPr marL="285750" indent="-285750">
              <a:spcAft>
                <a:spcPts val="800"/>
              </a:spcAft>
              <a:buFont typeface="Arial" panose="020B0604020202020204" pitchFamily="34" charset="0"/>
              <a:buChar char="•"/>
            </a:pPr>
            <a:endParaRPr lang="es-ES" sz="600">
              <a:effectLst/>
              <a:latin typeface="+mj-lt"/>
              <a:ea typeface="Calibri" panose="020F0502020204030204" pitchFamily="34" charset="0"/>
              <a:cs typeface="Times New Roman" panose="02020603050405020304" pitchFamily="18" charset="0"/>
            </a:endParaRPr>
          </a:p>
          <a:p>
            <a:pPr marL="285750" indent="-285750">
              <a:spcAft>
                <a:spcPts val="800"/>
              </a:spcAft>
              <a:buFont typeface="Arial" panose="020B0604020202020204" pitchFamily="34" charset="0"/>
              <a:buChar char="•"/>
            </a:pPr>
            <a:r>
              <a:rPr lang="es-ES" sz="1400">
                <a:effectLst/>
                <a:latin typeface="+mj-lt"/>
                <a:ea typeface="Calibri" panose="020F0502020204030204" pitchFamily="34" charset="0"/>
                <a:cs typeface="Times New Roman" panose="02020603050405020304" pitchFamily="18" charset="0"/>
              </a:rPr>
              <a:t>Recomendaciones para reducir el riesgo de regresión:</a:t>
            </a:r>
          </a:p>
          <a:p>
            <a:pPr marL="895335" lvl="1" indent="-285750">
              <a:spcAft>
                <a:spcPts val="800"/>
              </a:spcAft>
              <a:buFont typeface="Wingdings" panose="05000000000000000000" pitchFamily="2" charset="2"/>
              <a:buChar char="Ø"/>
            </a:pPr>
            <a:r>
              <a:rPr lang="es-ES" sz="1400" b="1">
                <a:latin typeface="+mj-lt"/>
                <a:ea typeface="Calibri" panose="020F0502020204030204" pitchFamily="34" charset="0"/>
                <a:cs typeface="Times New Roman" panose="02020603050405020304" pitchFamily="18" charset="0"/>
              </a:rPr>
              <a:t>Automatizar </a:t>
            </a:r>
            <a:r>
              <a:rPr lang="es-ES" sz="1400">
                <a:latin typeface="+mj-lt"/>
                <a:ea typeface="Calibri" panose="020F0502020204030204" pitchFamily="34" charset="0"/>
                <a:cs typeface="Times New Roman" panose="02020603050405020304" pitchFamily="18" charset="0"/>
              </a:rPr>
              <a:t>todo lo que se pueda lo antes posible.</a:t>
            </a:r>
          </a:p>
          <a:p>
            <a:pPr marL="895335" lvl="1" indent="-285750">
              <a:spcAft>
                <a:spcPts val="800"/>
              </a:spcAft>
              <a:buFont typeface="Wingdings" panose="05000000000000000000" pitchFamily="2" charset="2"/>
              <a:buChar char="Ø"/>
            </a:pPr>
            <a:r>
              <a:rPr lang="es-ES" sz="1400">
                <a:latin typeface="+mj-lt"/>
                <a:ea typeface="Calibri" panose="020F0502020204030204" pitchFamily="34" charset="0"/>
                <a:cs typeface="Times New Roman" panose="02020603050405020304" pitchFamily="18" charset="0"/>
              </a:rPr>
              <a:t>Usar </a:t>
            </a:r>
            <a:r>
              <a:rPr lang="es-ES" sz="1400" b="1">
                <a:latin typeface="+mj-lt"/>
                <a:ea typeface="Calibri" panose="020F0502020204030204" pitchFamily="34" charset="0"/>
                <a:cs typeface="Times New Roman" panose="02020603050405020304" pitchFamily="18" charset="0"/>
              </a:rPr>
              <a:t>herramientas de gestión de la configuración.</a:t>
            </a:r>
          </a:p>
          <a:p>
            <a:pPr marL="895335" lvl="1" indent="-285750">
              <a:spcAft>
                <a:spcPts val="800"/>
              </a:spcAft>
              <a:buFont typeface="Wingdings" panose="05000000000000000000" pitchFamily="2" charset="2"/>
              <a:buChar char="Ø"/>
            </a:pPr>
            <a:endParaRPr lang="es-ES" sz="600" b="1">
              <a:latin typeface="+mj-lt"/>
              <a:ea typeface="Calibri" panose="020F0502020204030204" pitchFamily="34" charset="0"/>
              <a:cs typeface="Times New Roman" panose="02020603050405020304" pitchFamily="18" charset="0"/>
            </a:endParaRPr>
          </a:p>
          <a:p>
            <a:pPr marL="285750" indent="-285750">
              <a:spcAft>
                <a:spcPts val="800"/>
              </a:spcAft>
              <a:buFont typeface="Arial" panose="020B0604020202020204" pitchFamily="34" charset="0"/>
              <a:buChar char="•"/>
            </a:pPr>
            <a:r>
              <a:rPr lang="es-ES" sz="1400" b="1">
                <a:latin typeface="+mj-lt"/>
                <a:ea typeface="Calibri" panose="020F0502020204030204" pitchFamily="34" charset="0"/>
                <a:cs typeface="Times New Roman" panose="02020603050405020304" pitchFamily="18" charset="0"/>
              </a:rPr>
              <a:t>Pruebas de verificación de la construcción:</a:t>
            </a:r>
            <a:r>
              <a:rPr lang="es-ES" sz="1400">
                <a:latin typeface="+mj-lt"/>
                <a:ea typeface="Calibri" panose="020F0502020204030204" pitchFamily="34" charset="0"/>
                <a:cs typeface="Times New Roman" panose="02020603050405020304" pitchFamily="18" charset="0"/>
              </a:rPr>
              <a:t> aquellas que cubren la funcionalidad y prueban puntos críticos del sistema.</a:t>
            </a:r>
            <a:endParaRPr lang="es-ES" sz="1400">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0848303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7085594"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2.3 </a:t>
            </a:r>
            <a:r>
              <a:rPr lang="es-ES" altLang="en-US" sz="1600" b="1">
                <a:solidFill>
                  <a:schemeClr val="accent1"/>
                </a:solidFill>
                <a:latin typeface="Verdana" pitchFamily="34" charset="0"/>
                <a:ea typeface="Arial" pitchFamily="34" charset="0"/>
                <a:cs typeface="Verdana" pitchFamily="34" charset="0"/>
              </a:rPr>
              <a:t>Rol y Competencias de un Probador en un Equipo Ágil</a:t>
            </a:r>
            <a:endParaRPr lang="en-GB" altLang="en-US" sz="1600" b="1">
              <a:solidFill>
                <a:schemeClr val="accent1"/>
              </a:solidFill>
              <a:latin typeface="Verdana" pitchFamily="34" charset="0"/>
              <a:ea typeface="Arial" pitchFamily="34" charset="0"/>
              <a:cs typeface="Verdana" pitchFamily="34" charset="0"/>
            </a:endParaRPr>
          </a:p>
        </p:txBody>
      </p:sp>
      <p:graphicFrame>
        <p:nvGraphicFramePr>
          <p:cNvPr id="12" name="Diagram 11">
            <a:extLst>
              <a:ext uri="{FF2B5EF4-FFF2-40B4-BE49-F238E27FC236}">
                <a16:creationId xmlns:a16="http://schemas.microsoft.com/office/drawing/2014/main" id="{C78F9FD7-0C18-4C22-ACA2-9C5485D42B9B}"/>
              </a:ext>
            </a:extLst>
          </p:cNvPr>
          <p:cNvGraphicFramePr/>
          <p:nvPr>
            <p:extLst>
              <p:ext uri="{D42A27DB-BD31-4B8C-83A1-F6EECF244321}">
                <p14:modId xmlns:p14="http://schemas.microsoft.com/office/powerpoint/2010/main" val="2873431252"/>
              </p:ext>
            </p:extLst>
          </p:nvPr>
        </p:nvGraphicFramePr>
        <p:xfrm>
          <a:off x="155575" y="2048678"/>
          <a:ext cx="11445072" cy="542108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 name="Rectangle: Rounded Corners 2">
            <a:extLst>
              <a:ext uri="{FF2B5EF4-FFF2-40B4-BE49-F238E27FC236}">
                <a16:creationId xmlns:a16="http://schemas.microsoft.com/office/drawing/2014/main" id="{4456857E-1B1E-36E0-7602-5983595BCD9D}"/>
              </a:ext>
            </a:extLst>
          </p:cNvPr>
          <p:cNvSpPr/>
          <p:nvPr/>
        </p:nvSpPr>
        <p:spPr bwMode="gray">
          <a:xfrm>
            <a:off x="427537" y="1663155"/>
            <a:ext cx="4610994"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2.3.1. Competencias de un probador ágil</a:t>
            </a:r>
          </a:p>
        </p:txBody>
      </p:sp>
    </p:spTree>
    <p:extLst>
      <p:ext uri="{BB962C8B-B14F-4D97-AF65-F5344CB8AC3E}">
        <p14:creationId xmlns:p14="http://schemas.microsoft.com/office/powerpoint/2010/main" val="355331092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7085594"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2.3 </a:t>
            </a:r>
            <a:r>
              <a:rPr lang="es-ES" altLang="en-US" sz="1600" b="1">
                <a:solidFill>
                  <a:schemeClr val="accent1"/>
                </a:solidFill>
                <a:latin typeface="Verdana" pitchFamily="34" charset="0"/>
                <a:ea typeface="Arial" pitchFamily="34" charset="0"/>
                <a:cs typeface="Verdana" pitchFamily="34" charset="0"/>
              </a:rPr>
              <a:t>Rol y Competencias de un Probador en un Equipo Ágil</a:t>
            </a:r>
            <a:endParaRPr lang="en-GB" altLang="en-US" sz="1600" b="1">
              <a:solidFill>
                <a:schemeClr val="accent1"/>
              </a:solidFill>
              <a:latin typeface="Verdana" pitchFamily="34" charset="0"/>
              <a:ea typeface="Arial" pitchFamily="34" charset="0"/>
              <a:cs typeface="Verdana" pitchFamily="34" charset="0"/>
            </a:endParaRPr>
          </a:p>
        </p:txBody>
      </p:sp>
      <p:sp>
        <p:nvSpPr>
          <p:cNvPr id="13" name="Freeform 263">
            <a:extLst>
              <a:ext uri="{FF2B5EF4-FFF2-40B4-BE49-F238E27FC236}">
                <a16:creationId xmlns:a16="http://schemas.microsoft.com/office/drawing/2014/main" id="{2D93A13D-CB7E-4021-B15C-14710D9522D5}"/>
              </a:ext>
            </a:extLst>
          </p:cNvPr>
          <p:cNvSpPr>
            <a:spLocks noEditPoints="1"/>
          </p:cNvSpPr>
          <p:nvPr/>
        </p:nvSpPr>
        <p:spPr bwMode="auto">
          <a:xfrm>
            <a:off x="8802287" y="4105012"/>
            <a:ext cx="283718" cy="306088"/>
          </a:xfrm>
          <a:custGeom>
            <a:avLst/>
            <a:gdLst>
              <a:gd name="T0" fmla="*/ 37 w 216"/>
              <a:gd name="T1" fmla="*/ 68 h 199"/>
              <a:gd name="T2" fmla="*/ 82 w 216"/>
              <a:gd name="T3" fmla="*/ 20 h 199"/>
              <a:gd name="T4" fmla="*/ 113 w 216"/>
              <a:gd name="T5" fmla="*/ 49 h 199"/>
              <a:gd name="T6" fmla="*/ 68 w 216"/>
              <a:gd name="T7" fmla="*/ 98 h 199"/>
              <a:gd name="T8" fmla="*/ 37 w 216"/>
              <a:gd name="T9" fmla="*/ 68 h 199"/>
              <a:gd name="T10" fmla="*/ 118 w 216"/>
              <a:gd name="T11" fmla="*/ 45 h 199"/>
              <a:gd name="T12" fmla="*/ 126 w 216"/>
              <a:gd name="T13" fmla="*/ 45 h 199"/>
              <a:gd name="T14" fmla="*/ 130 w 216"/>
              <a:gd name="T15" fmla="*/ 42 h 199"/>
              <a:gd name="T16" fmla="*/ 130 w 216"/>
              <a:gd name="T17" fmla="*/ 33 h 199"/>
              <a:gd name="T18" fmla="*/ 97 w 216"/>
              <a:gd name="T19" fmla="*/ 3 h 199"/>
              <a:gd name="T20" fmla="*/ 89 w 216"/>
              <a:gd name="T21" fmla="*/ 3 h 199"/>
              <a:gd name="T22" fmla="*/ 85 w 216"/>
              <a:gd name="T23" fmla="*/ 6 h 199"/>
              <a:gd name="T24" fmla="*/ 85 w 216"/>
              <a:gd name="T25" fmla="*/ 15 h 199"/>
              <a:gd name="T26" fmla="*/ 118 w 216"/>
              <a:gd name="T27" fmla="*/ 45 h 199"/>
              <a:gd name="T28" fmla="*/ 52 w 216"/>
              <a:gd name="T29" fmla="*/ 115 h 199"/>
              <a:gd name="T30" fmla="*/ 61 w 216"/>
              <a:gd name="T31" fmla="*/ 115 h 199"/>
              <a:gd name="T32" fmla="*/ 64 w 216"/>
              <a:gd name="T33" fmla="*/ 111 h 199"/>
              <a:gd name="T34" fmla="*/ 64 w 216"/>
              <a:gd name="T35" fmla="*/ 103 h 199"/>
              <a:gd name="T36" fmla="*/ 31 w 216"/>
              <a:gd name="T37" fmla="*/ 72 h 199"/>
              <a:gd name="T38" fmla="*/ 23 w 216"/>
              <a:gd name="T39" fmla="*/ 73 h 199"/>
              <a:gd name="T40" fmla="*/ 19 w 216"/>
              <a:gd name="T41" fmla="*/ 76 h 199"/>
              <a:gd name="T42" fmla="*/ 20 w 216"/>
              <a:gd name="T43" fmla="*/ 85 h 199"/>
              <a:gd name="T44" fmla="*/ 52 w 216"/>
              <a:gd name="T45" fmla="*/ 115 h 199"/>
              <a:gd name="T46" fmla="*/ 88 w 216"/>
              <a:gd name="T47" fmla="*/ 85 h 199"/>
              <a:gd name="T48" fmla="*/ 196 w 216"/>
              <a:gd name="T49" fmla="*/ 187 h 199"/>
              <a:gd name="T50" fmla="*/ 209 w 216"/>
              <a:gd name="T51" fmla="*/ 189 h 199"/>
              <a:gd name="T52" fmla="*/ 213 w 216"/>
              <a:gd name="T53" fmla="*/ 184 h 199"/>
              <a:gd name="T54" fmla="*/ 210 w 216"/>
              <a:gd name="T55" fmla="*/ 172 h 199"/>
              <a:gd name="T56" fmla="*/ 102 w 216"/>
              <a:gd name="T57" fmla="*/ 71 h 199"/>
              <a:gd name="T58" fmla="*/ 88 w 216"/>
              <a:gd name="T59" fmla="*/ 85 h 199"/>
              <a:gd name="T60" fmla="*/ 125 w 216"/>
              <a:gd name="T61" fmla="*/ 186 h 199"/>
              <a:gd name="T62" fmla="*/ 123 w 216"/>
              <a:gd name="T63" fmla="*/ 184 h 199"/>
              <a:gd name="T64" fmla="*/ 3 w 216"/>
              <a:gd name="T65" fmla="*/ 184 h 199"/>
              <a:gd name="T66" fmla="*/ 0 w 216"/>
              <a:gd name="T67" fmla="*/ 186 h 199"/>
              <a:gd name="T68" fmla="*/ 0 w 216"/>
              <a:gd name="T69" fmla="*/ 197 h 199"/>
              <a:gd name="T70" fmla="*/ 3 w 216"/>
              <a:gd name="T71" fmla="*/ 199 h 199"/>
              <a:gd name="T72" fmla="*/ 123 w 216"/>
              <a:gd name="T73" fmla="*/ 199 h 199"/>
              <a:gd name="T74" fmla="*/ 125 w 216"/>
              <a:gd name="T75" fmla="*/ 197 h 199"/>
              <a:gd name="T76" fmla="*/ 125 w 216"/>
              <a:gd name="T77" fmla="*/ 186 h 199"/>
              <a:gd name="T78" fmla="*/ 27 w 216"/>
              <a:gd name="T79" fmla="*/ 164 h 199"/>
              <a:gd name="T80" fmla="*/ 98 w 216"/>
              <a:gd name="T81" fmla="*/ 164 h 199"/>
              <a:gd name="T82" fmla="*/ 107 w 216"/>
              <a:gd name="T83" fmla="*/ 170 h 199"/>
              <a:gd name="T84" fmla="*/ 107 w 216"/>
              <a:gd name="T85" fmla="*/ 177 h 199"/>
              <a:gd name="T86" fmla="*/ 19 w 216"/>
              <a:gd name="T87" fmla="*/ 177 h 199"/>
              <a:gd name="T88" fmla="*/ 19 w 216"/>
              <a:gd name="T89" fmla="*/ 170 h 199"/>
              <a:gd name="T90" fmla="*/ 27 w 216"/>
              <a:gd name="T91" fmla="*/ 16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199">
                <a:moveTo>
                  <a:pt x="37" y="68"/>
                </a:moveTo>
                <a:cubicBezTo>
                  <a:pt x="82" y="20"/>
                  <a:pt x="82" y="20"/>
                  <a:pt x="82" y="20"/>
                </a:cubicBezTo>
                <a:cubicBezTo>
                  <a:pt x="113" y="49"/>
                  <a:pt x="113" y="49"/>
                  <a:pt x="113" y="49"/>
                </a:cubicBezTo>
                <a:cubicBezTo>
                  <a:pt x="68" y="98"/>
                  <a:pt x="68" y="98"/>
                  <a:pt x="68" y="98"/>
                </a:cubicBezTo>
                <a:lnTo>
                  <a:pt x="37" y="68"/>
                </a:lnTo>
                <a:close/>
                <a:moveTo>
                  <a:pt x="118" y="45"/>
                </a:moveTo>
                <a:cubicBezTo>
                  <a:pt x="121" y="48"/>
                  <a:pt x="124" y="47"/>
                  <a:pt x="126" y="45"/>
                </a:cubicBezTo>
                <a:cubicBezTo>
                  <a:pt x="130" y="42"/>
                  <a:pt x="130" y="42"/>
                  <a:pt x="130" y="42"/>
                </a:cubicBezTo>
                <a:cubicBezTo>
                  <a:pt x="132" y="39"/>
                  <a:pt x="132" y="35"/>
                  <a:pt x="130" y="33"/>
                </a:cubicBezTo>
                <a:cubicBezTo>
                  <a:pt x="97" y="3"/>
                  <a:pt x="97" y="3"/>
                  <a:pt x="97" y="3"/>
                </a:cubicBezTo>
                <a:cubicBezTo>
                  <a:pt x="94" y="0"/>
                  <a:pt x="91" y="0"/>
                  <a:pt x="89" y="3"/>
                </a:cubicBezTo>
                <a:cubicBezTo>
                  <a:pt x="85" y="6"/>
                  <a:pt x="85" y="6"/>
                  <a:pt x="85" y="6"/>
                </a:cubicBezTo>
                <a:cubicBezTo>
                  <a:pt x="83" y="9"/>
                  <a:pt x="83" y="12"/>
                  <a:pt x="85" y="15"/>
                </a:cubicBezTo>
                <a:lnTo>
                  <a:pt x="118" y="45"/>
                </a:lnTo>
                <a:close/>
                <a:moveTo>
                  <a:pt x="52" y="115"/>
                </a:moveTo>
                <a:cubicBezTo>
                  <a:pt x="55" y="117"/>
                  <a:pt x="58" y="117"/>
                  <a:pt x="61" y="115"/>
                </a:cubicBezTo>
                <a:cubicBezTo>
                  <a:pt x="64" y="111"/>
                  <a:pt x="64" y="111"/>
                  <a:pt x="64" y="111"/>
                </a:cubicBezTo>
                <a:cubicBezTo>
                  <a:pt x="66" y="109"/>
                  <a:pt x="66" y="105"/>
                  <a:pt x="64" y="103"/>
                </a:cubicBezTo>
                <a:cubicBezTo>
                  <a:pt x="31" y="72"/>
                  <a:pt x="31" y="72"/>
                  <a:pt x="31" y="72"/>
                </a:cubicBezTo>
                <a:cubicBezTo>
                  <a:pt x="29" y="70"/>
                  <a:pt x="25" y="70"/>
                  <a:pt x="23" y="73"/>
                </a:cubicBezTo>
                <a:cubicBezTo>
                  <a:pt x="19" y="76"/>
                  <a:pt x="19" y="76"/>
                  <a:pt x="19" y="76"/>
                </a:cubicBezTo>
                <a:cubicBezTo>
                  <a:pt x="17" y="79"/>
                  <a:pt x="17" y="82"/>
                  <a:pt x="20" y="85"/>
                </a:cubicBezTo>
                <a:lnTo>
                  <a:pt x="52" y="115"/>
                </a:lnTo>
                <a:close/>
                <a:moveTo>
                  <a:pt x="88" y="85"/>
                </a:moveTo>
                <a:cubicBezTo>
                  <a:pt x="196" y="187"/>
                  <a:pt x="196" y="187"/>
                  <a:pt x="196" y="187"/>
                </a:cubicBezTo>
                <a:cubicBezTo>
                  <a:pt x="201" y="191"/>
                  <a:pt x="206" y="192"/>
                  <a:pt x="209" y="189"/>
                </a:cubicBezTo>
                <a:cubicBezTo>
                  <a:pt x="213" y="184"/>
                  <a:pt x="213" y="184"/>
                  <a:pt x="213" y="184"/>
                </a:cubicBezTo>
                <a:cubicBezTo>
                  <a:pt x="216" y="182"/>
                  <a:pt x="214" y="176"/>
                  <a:pt x="210" y="172"/>
                </a:cubicBezTo>
                <a:cubicBezTo>
                  <a:pt x="102" y="71"/>
                  <a:pt x="102" y="71"/>
                  <a:pt x="102" y="71"/>
                </a:cubicBezTo>
                <a:lnTo>
                  <a:pt x="88" y="85"/>
                </a:lnTo>
                <a:close/>
                <a:moveTo>
                  <a:pt x="125" y="186"/>
                </a:moveTo>
                <a:cubicBezTo>
                  <a:pt x="125" y="185"/>
                  <a:pt x="124" y="184"/>
                  <a:pt x="123" y="184"/>
                </a:cubicBezTo>
                <a:cubicBezTo>
                  <a:pt x="3" y="184"/>
                  <a:pt x="3" y="184"/>
                  <a:pt x="3" y="184"/>
                </a:cubicBezTo>
                <a:cubicBezTo>
                  <a:pt x="2" y="184"/>
                  <a:pt x="0" y="185"/>
                  <a:pt x="0" y="186"/>
                </a:cubicBezTo>
                <a:cubicBezTo>
                  <a:pt x="0" y="197"/>
                  <a:pt x="0" y="197"/>
                  <a:pt x="0" y="197"/>
                </a:cubicBezTo>
                <a:cubicBezTo>
                  <a:pt x="0" y="198"/>
                  <a:pt x="2" y="199"/>
                  <a:pt x="3" y="199"/>
                </a:cubicBezTo>
                <a:cubicBezTo>
                  <a:pt x="123" y="199"/>
                  <a:pt x="123" y="199"/>
                  <a:pt x="123" y="199"/>
                </a:cubicBezTo>
                <a:cubicBezTo>
                  <a:pt x="124" y="199"/>
                  <a:pt x="125" y="198"/>
                  <a:pt x="125" y="197"/>
                </a:cubicBezTo>
                <a:lnTo>
                  <a:pt x="125" y="186"/>
                </a:lnTo>
                <a:close/>
                <a:moveTo>
                  <a:pt x="27" y="164"/>
                </a:moveTo>
                <a:cubicBezTo>
                  <a:pt x="98" y="164"/>
                  <a:pt x="98" y="164"/>
                  <a:pt x="98" y="164"/>
                </a:cubicBezTo>
                <a:cubicBezTo>
                  <a:pt x="102" y="164"/>
                  <a:pt x="106" y="167"/>
                  <a:pt x="107" y="170"/>
                </a:cubicBezTo>
                <a:cubicBezTo>
                  <a:pt x="107" y="177"/>
                  <a:pt x="107" y="177"/>
                  <a:pt x="107" y="177"/>
                </a:cubicBezTo>
                <a:cubicBezTo>
                  <a:pt x="19" y="177"/>
                  <a:pt x="19" y="177"/>
                  <a:pt x="19" y="177"/>
                </a:cubicBezTo>
                <a:cubicBezTo>
                  <a:pt x="19" y="170"/>
                  <a:pt x="19" y="170"/>
                  <a:pt x="19" y="170"/>
                </a:cubicBezTo>
                <a:cubicBezTo>
                  <a:pt x="20" y="167"/>
                  <a:pt x="23" y="164"/>
                  <a:pt x="27" y="1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6" name="Freeform 685">
            <a:extLst>
              <a:ext uri="{FF2B5EF4-FFF2-40B4-BE49-F238E27FC236}">
                <a16:creationId xmlns:a16="http://schemas.microsoft.com/office/drawing/2014/main" id="{CFB22AB0-9275-487C-B15A-91692DC5F088}"/>
              </a:ext>
            </a:extLst>
          </p:cNvPr>
          <p:cNvSpPr>
            <a:spLocks noEditPoints="1"/>
          </p:cNvSpPr>
          <p:nvPr/>
        </p:nvSpPr>
        <p:spPr bwMode="auto">
          <a:xfrm>
            <a:off x="9665252" y="4980082"/>
            <a:ext cx="207131" cy="206011"/>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Rectangle 29">
            <a:extLst>
              <a:ext uri="{FF2B5EF4-FFF2-40B4-BE49-F238E27FC236}">
                <a16:creationId xmlns:a16="http://schemas.microsoft.com/office/drawing/2014/main" id="{87FDF541-D1FB-4D20-8B1A-7DDACFC3E4A2}"/>
              </a:ext>
            </a:extLst>
          </p:cNvPr>
          <p:cNvSpPr/>
          <p:nvPr/>
        </p:nvSpPr>
        <p:spPr bwMode="gray">
          <a:xfrm>
            <a:off x="1119675" y="2332987"/>
            <a:ext cx="2736678" cy="503720"/>
          </a:xfrm>
          <a:prstGeom prst="rect">
            <a:avLst/>
          </a:prstGeom>
          <a:solidFill>
            <a:schemeClr val="bg1"/>
          </a:solidFill>
          <a:ln>
            <a:solidFill>
              <a:srgbClr val="046A38"/>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a:solidFill>
                  <a:schemeClr val="tx1"/>
                </a:solidFill>
              </a:rPr>
              <a:t>Comprender, implementar y actualizar la estrategia de prueba</a:t>
            </a:r>
          </a:p>
        </p:txBody>
      </p:sp>
      <p:sp>
        <p:nvSpPr>
          <p:cNvPr id="32" name="Rectangle 31">
            <a:extLst>
              <a:ext uri="{FF2B5EF4-FFF2-40B4-BE49-F238E27FC236}">
                <a16:creationId xmlns:a16="http://schemas.microsoft.com/office/drawing/2014/main" id="{53666A27-F451-4ADF-85B3-B3CE7D4EB961}"/>
              </a:ext>
            </a:extLst>
          </p:cNvPr>
          <p:cNvSpPr/>
          <p:nvPr/>
        </p:nvSpPr>
        <p:spPr bwMode="gray">
          <a:xfrm>
            <a:off x="258394" y="3275799"/>
            <a:ext cx="3432392" cy="583484"/>
          </a:xfrm>
          <a:prstGeom prst="rect">
            <a:avLst/>
          </a:prstGeom>
          <a:solidFill>
            <a:schemeClr val="bg1"/>
          </a:solidFill>
          <a:ln>
            <a:solidFill>
              <a:srgbClr val="046A38"/>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a:solidFill>
                  <a:schemeClr val="tx1"/>
                </a:solidFill>
              </a:rPr>
              <a:t>Medir e informar de la cobertura de la prueba en todas las dimensiones de cobertura aplicables</a:t>
            </a:r>
          </a:p>
        </p:txBody>
      </p:sp>
      <p:sp>
        <p:nvSpPr>
          <p:cNvPr id="34" name="Rectangle 33">
            <a:extLst>
              <a:ext uri="{FF2B5EF4-FFF2-40B4-BE49-F238E27FC236}">
                <a16:creationId xmlns:a16="http://schemas.microsoft.com/office/drawing/2014/main" id="{CDB108FB-E4CF-4E40-B162-8D99E9B61945}"/>
              </a:ext>
            </a:extLst>
          </p:cNvPr>
          <p:cNvSpPr/>
          <p:nvPr/>
        </p:nvSpPr>
        <p:spPr bwMode="gray">
          <a:xfrm>
            <a:off x="651673" y="4263776"/>
            <a:ext cx="3064882" cy="497837"/>
          </a:xfrm>
          <a:prstGeom prst="rect">
            <a:avLst/>
          </a:prstGeom>
          <a:solidFill>
            <a:schemeClr val="bg1"/>
          </a:solidFill>
          <a:ln>
            <a:solidFill>
              <a:srgbClr val="046A38"/>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a:solidFill>
                  <a:schemeClr val="tx1"/>
                </a:solidFill>
              </a:rPr>
              <a:t>Asegurar el uso adecuado de las herramientas de prueba</a:t>
            </a:r>
          </a:p>
        </p:txBody>
      </p:sp>
      <p:sp>
        <p:nvSpPr>
          <p:cNvPr id="36" name="Rectangle 35">
            <a:extLst>
              <a:ext uri="{FF2B5EF4-FFF2-40B4-BE49-F238E27FC236}">
                <a16:creationId xmlns:a16="http://schemas.microsoft.com/office/drawing/2014/main" id="{F680FDCD-F22C-4162-9CCF-6DBFE524D9F6}"/>
              </a:ext>
            </a:extLst>
          </p:cNvPr>
          <p:cNvSpPr/>
          <p:nvPr/>
        </p:nvSpPr>
        <p:spPr bwMode="gray">
          <a:xfrm>
            <a:off x="8193834" y="4388235"/>
            <a:ext cx="3534688" cy="630700"/>
          </a:xfrm>
          <a:prstGeom prst="rect">
            <a:avLst/>
          </a:prstGeom>
          <a:solidFill>
            <a:schemeClr val="bg1"/>
          </a:solidFill>
          <a:ln>
            <a:solidFill>
              <a:srgbClr val="046A38"/>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a:solidFill>
                  <a:schemeClr val="tx1"/>
                </a:solidFill>
              </a:rPr>
              <a:t>Asegurar que se programen las tareas de prueba adecuadas durante la planificación de la entrega y la iteración</a:t>
            </a:r>
          </a:p>
        </p:txBody>
      </p:sp>
      <p:sp>
        <p:nvSpPr>
          <p:cNvPr id="38" name="Rectangle 37">
            <a:extLst>
              <a:ext uri="{FF2B5EF4-FFF2-40B4-BE49-F238E27FC236}">
                <a16:creationId xmlns:a16="http://schemas.microsoft.com/office/drawing/2014/main" id="{E04B21F9-A824-4517-8C3F-CCC8D365366E}"/>
              </a:ext>
            </a:extLst>
          </p:cNvPr>
          <p:cNvSpPr/>
          <p:nvPr/>
        </p:nvSpPr>
        <p:spPr bwMode="gray">
          <a:xfrm>
            <a:off x="7462111" y="5562245"/>
            <a:ext cx="3453325" cy="454491"/>
          </a:xfrm>
          <a:prstGeom prst="rect">
            <a:avLst/>
          </a:prstGeom>
          <a:solidFill>
            <a:schemeClr val="bg1"/>
          </a:solidFill>
          <a:ln>
            <a:solidFill>
              <a:srgbClr val="046A38"/>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a:solidFill>
                  <a:schemeClr val="tx1"/>
                </a:solidFill>
              </a:rPr>
              <a:t>Entrenar a otros miembros del equipo en los aspectos relevantes de la prueba</a:t>
            </a:r>
          </a:p>
        </p:txBody>
      </p:sp>
      <p:sp>
        <p:nvSpPr>
          <p:cNvPr id="40" name="Freeform 685">
            <a:extLst>
              <a:ext uri="{FF2B5EF4-FFF2-40B4-BE49-F238E27FC236}">
                <a16:creationId xmlns:a16="http://schemas.microsoft.com/office/drawing/2014/main" id="{2549F8F6-CCE7-476D-8EBF-73B5854403F8}"/>
              </a:ext>
            </a:extLst>
          </p:cNvPr>
          <p:cNvSpPr>
            <a:spLocks noEditPoints="1"/>
          </p:cNvSpPr>
          <p:nvPr/>
        </p:nvSpPr>
        <p:spPr bwMode="auto">
          <a:xfrm>
            <a:off x="8819562" y="6550110"/>
            <a:ext cx="268054" cy="206011"/>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Rectangle 41">
            <a:extLst>
              <a:ext uri="{FF2B5EF4-FFF2-40B4-BE49-F238E27FC236}">
                <a16:creationId xmlns:a16="http://schemas.microsoft.com/office/drawing/2014/main" id="{8AF1786E-E366-4680-AE53-59D386BCB22C}"/>
              </a:ext>
            </a:extLst>
          </p:cNvPr>
          <p:cNvSpPr/>
          <p:nvPr/>
        </p:nvSpPr>
        <p:spPr bwMode="gray">
          <a:xfrm>
            <a:off x="3716555" y="5898862"/>
            <a:ext cx="3163151" cy="497837"/>
          </a:xfrm>
          <a:prstGeom prst="rect">
            <a:avLst/>
          </a:prstGeom>
          <a:solidFill>
            <a:schemeClr val="bg1"/>
          </a:solidFill>
          <a:ln>
            <a:solidFill>
              <a:srgbClr val="046A38"/>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a:solidFill>
                  <a:schemeClr val="tx1"/>
                </a:solidFill>
              </a:rPr>
              <a:t>Informar de los defectos y trabajar con el equipo para resolverlos</a:t>
            </a:r>
          </a:p>
        </p:txBody>
      </p:sp>
      <p:sp>
        <p:nvSpPr>
          <p:cNvPr id="44" name="Rectangle 43">
            <a:extLst>
              <a:ext uri="{FF2B5EF4-FFF2-40B4-BE49-F238E27FC236}">
                <a16:creationId xmlns:a16="http://schemas.microsoft.com/office/drawing/2014/main" id="{882A14C5-9ABD-47A4-BAE1-AC265293B3D8}"/>
              </a:ext>
            </a:extLst>
          </p:cNvPr>
          <p:cNvSpPr/>
          <p:nvPr/>
        </p:nvSpPr>
        <p:spPr bwMode="gray">
          <a:xfrm>
            <a:off x="7648990" y="2263278"/>
            <a:ext cx="2736678" cy="514683"/>
          </a:xfrm>
          <a:prstGeom prst="rect">
            <a:avLst/>
          </a:prstGeom>
          <a:solidFill>
            <a:schemeClr val="bg1"/>
          </a:solidFill>
          <a:ln>
            <a:solidFill>
              <a:srgbClr val="046A38"/>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a:solidFill>
                  <a:schemeClr val="tx1"/>
                </a:solidFill>
              </a:rPr>
              <a:t>Participar de forma proactiva en las retrospectivas del equipo</a:t>
            </a:r>
          </a:p>
        </p:txBody>
      </p:sp>
      <p:sp>
        <p:nvSpPr>
          <p:cNvPr id="52" name="Rectangle 51">
            <a:extLst>
              <a:ext uri="{FF2B5EF4-FFF2-40B4-BE49-F238E27FC236}">
                <a16:creationId xmlns:a16="http://schemas.microsoft.com/office/drawing/2014/main" id="{0800891B-8D5D-4D4A-8DD0-C9E9FC2E2704}"/>
              </a:ext>
            </a:extLst>
          </p:cNvPr>
          <p:cNvSpPr/>
          <p:nvPr/>
        </p:nvSpPr>
        <p:spPr bwMode="gray">
          <a:xfrm>
            <a:off x="760933" y="5046545"/>
            <a:ext cx="3251428" cy="497837"/>
          </a:xfrm>
          <a:prstGeom prst="rect">
            <a:avLst/>
          </a:prstGeom>
          <a:solidFill>
            <a:schemeClr val="bg1"/>
          </a:solidFill>
          <a:ln>
            <a:solidFill>
              <a:srgbClr val="046A38"/>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a:solidFill>
                  <a:schemeClr val="tx1"/>
                </a:solidFill>
              </a:rPr>
              <a:t>Configurar, utilizar y gestionar los entornos de prueba y los datos de prueba</a:t>
            </a:r>
          </a:p>
        </p:txBody>
      </p:sp>
      <p:sp>
        <p:nvSpPr>
          <p:cNvPr id="53" name="Rectangle 52">
            <a:extLst>
              <a:ext uri="{FF2B5EF4-FFF2-40B4-BE49-F238E27FC236}">
                <a16:creationId xmlns:a16="http://schemas.microsoft.com/office/drawing/2014/main" id="{8F0B4061-00C0-411D-AF8E-E52CFCCDA35C}"/>
              </a:ext>
            </a:extLst>
          </p:cNvPr>
          <p:cNvSpPr/>
          <p:nvPr/>
        </p:nvSpPr>
        <p:spPr bwMode="gray">
          <a:xfrm>
            <a:off x="7821719" y="3211092"/>
            <a:ext cx="3921709" cy="542340"/>
          </a:xfrm>
          <a:prstGeom prst="rect">
            <a:avLst/>
          </a:prstGeom>
          <a:solidFill>
            <a:schemeClr val="bg1"/>
          </a:solidFill>
          <a:ln>
            <a:solidFill>
              <a:srgbClr val="046A38"/>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a:solidFill>
                  <a:schemeClr val="tx1"/>
                </a:solidFill>
              </a:rPr>
              <a:t>Colaborar activamente con los desarrolladores y los implicados del negocio para aclarar los requisitos</a:t>
            </a:r>
          </a:p>
        </p:txBody>
      </p:sp>
      <p:sp>
        <p:nvSpPr>
          <p:cNvPr id="3" name="Rectangle: Rounded Corners 2">
            <a:extLst>
              <a:ext uri="{FF2B5EF4-FFF2-40B4-BE49-F238E27FC236}">
                <a16:creationId xmlns:a16="http://schemas.microsoft.com/office/drawing/2014/main" id="{7E35FDB0-3920-D6AA-2ECA-7EEC35F72582}"/>
              </a:ext>
            </a:extLst>
          </p:cNvPr>
          <p:cNvSpPr/>
          <p:nvPr/>
        </p:nvSpPr>
        <p:spPr bwMode="gray">
          <a:xfrm>
            <a:off x="427537" y="1663155"/>
            <a:ext cx="3620588"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2.3.1. Rol de un probador ágil</a:t>
            </a:r>
          </a:p>
        </p:txBody>
      </p:sp>
      <p:cxnSp>
        <p:nvCxnSpPr>
          <p:cNvPr id="4" name="Straight Connector 3">
            <a:extLst>
              <a:ext uri="{FF2B5EF4-FFF2-40B4-BE49-F238E27FC236}">
                <a16:creationId xmlns:a16="http://schemas.microsoft.com/office/drawing/2014/main" id="{8A7B6E89-D310-48CD-9230-385F5A2488C6}"/>
              </a:ext>
            </a:extLst>
          </p:cNvPr>
          <p:cNvCxnSpPr>
            <a:cxnSpLocks/>
            <a:endCxn id="30" idx="3"/>
          </p:cNvCxnSpPr>
          <p:nvPr/>
        </p:nvCxnSpPr>
        <p:spPr>
          <a:xfrm flipH="1" flipV="1">
            <a:off x="3856353" y="2584847"/>
            <a:ext cx="1039497" cy="674003"/>
          </a:xfrm>
          <a:prstGeom prst="line">
            <a:avLst/>
          </a:prstGeom>
          <a:ln w="57150">
            <a:solidFill>
              <a:srgbClr val="046A38"/>
            </a:solidFill>
            <a:headEnd w="sm" len="sm"/>
            <a:tailEnd type="oval" w="sm" len="sm"/>
          </a:ln>
        </p:spPr>
        <p:style>
          <a:lnRef idx="3">
            <a:schemeClr val="accent1"/>
          </a:lnRef>
          <a:fillRef idx="0">
            <a:schemeClr val="accent1"/>
          </a:fillRef>
          <a:effectRef idx="2">
            <a:schemeClr val="accent1"/>
          </a:effectRef>
          <a:fontRef idx="minor">
            <a:schemeClr val="tx1"/>
          </a:fontRef>
        </p:style>
      </p:cxnSp>
      <p:cxnSp>
        <p:nvCxnSpPr>
          <p:cNvPr id="54" name="Straight Connector 53">
            <a:extLst>
              <a:ext uri="{FF2B5EF4-FFF2-40B4-BE49-F238E27FC236}">
                <a16:creationId xmlns:a16="http://schemas.microsoft.com/office/drawing/2014/main" id="{A405EC62-010D-4EC5-8E74-15973BA50999}"/>
              </a:ext>
            </a:extLst>
          </p:cNvPr>
          <p:cNvCxnSpPr>
            <a:cxnSpLocks/>
            <a:endCxn id="32" idx="3"/>
          </p:cNvCxnSpPr>
          <p:nvPr/>
        </p:nvCxnSpPr>
        <p:spPr>
          <a:xfrm flipH="1" flipV="1">
            <a:off x="3690786" y="3567541"/>
            <a:ext cx="1077911" cy="331497"/>
          </a:xfrm>
          <a:prstGeom prst="line">
            <a:avLst/>
          </a:prstGeom>
          <a:ln w="57150">
            <a:solidFill>
              <a:srgbClr val="046A38"/>
            </a:solidFill>
            <a:headEnd w="sm" len="sm"/>
            <a:tailEnd type="oval" w="sm" len="sm"/>
          </a:ln>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id="{68736C0F-084F-443E-8E89-9594EC0BEA65}"/>
              </a:ext>
            </a:extLst>
          </p:cNvPr>
          <p:cNvCxnSpPr>
            <a:cxnSpLocks/>
            <a:endCxn id="34" idx="3"/>
          </p:cNvCxnSpPr>
          <p:nvPr/>
        </p:nvCxnSpPr>
        <p:spPr>
          <a:xfrm flipH="1">
            <a:off x="3716555" y="4263776"/>
            <a:ext cx="942013" cy="248919"/>
          </a:xfrm>
          <a:prstGeom prst="line">
            <a:avLst/>
          </a:prstGeom>
          <a:ln w="57150">
            <a:solidFill>
              <a:srgbClr val="046A38"/>
            </a:solidFill>
            <a:headEnd w="sm" len="sm"/>
            <a:tailEnd type="oval" w="sm" len="sm"/>
          </a:ln>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id="{112BEDAD-6DC0-4CB0-A9DA-578775F41EB7}"/>
              </a:ext>
            </a:extLst>
          </p:cNvPr>
          <p:cNvCxnSpPr>
            <a:cxnSpLocks/>
            <a:endCxn id="52" idx="3"/>
          </p:cNvCxnSpPr>
          <p:nvPr/>
        </p:nvCxnSpPr>
        <p:spPr>
          <a:xfrm flipH="1">
            <a:off x="4012361" y="4652009"/>
            <a:ext cx="930045" cy="643455"/>
          </a:xfrm>
          <a:prstGeom prst="line">
            <a:avLst/>
          </a:prstGeom>
          <a:ln w="57150">
            <a:solidFill>
              <a:srgbClr val="046A38"/>
            </a:solidFill>
            <a:headEnd w="sm" len="sm"/>
            <a:tailEnd type="oval" w="sm" len="sm"/>
          </a:ln>
        </p:spPr>
        <p:style>
          <a:lnRef idx="3">
            <a:schemeClr val="accent1"/>
          </a:lnRef>
          <a:fillRef idx="0">
            <a:schemeClr val="accent1"/>
          </a:fillRef>
          <a:effectRef idx="2">
            <a:schemeClr val="accent1"/>
          </a:effectRef>
          <a:fontRef idx="minor">
            <a:schemeClr val="tx1"/>
          </a:fontRef>
        </p:style>
      </p:cxnSp>
      <p:cxnSp>
        <p:nvCxnSpPr>
          <p:cNvPr id="60" name="Straight Connector 59">
            <a:extLst>
              <a:ext uri="{FF2B5EF4-FFF2-40B4-BE49-F238E27FC236}">
                <a16:creationId xmlns:a16="http://schemas.microsoft.com/office/drawing/2014/main" id="{E09A7501-C467-43BA-8782-66D6571BC2BC}"/>
              </a:ext>
            </a:extLst>
          </p:cNvPr>
          <p:cNvCxnSpPr>
            <a:cxnSpLocks/>
            <a:endCxn id="42" idx="0"/>
          </p:cNvCxnSpPr>
          <p:nvPr/>
        </p:nvCxnSpPr>
        <p:spPr>
          <a:xfrm flipH="1">
            <a:off x="5298131" y="5186093"/>
            <a:ext cx="388294" cy="712769"/>
          </a:xfrm>
          <a:prstGeom prst="line">
            <a:avLst/>
          </a:prstGeom>
          <a:ln w="57150">
            <a:solidFill>
              <a:srgbClr val="046A38"/>
            </a:solidFill>
            <a:headEnd w="sm" len="sm"/>
            <a:tailEnd type="oval" w="sm" len="sm"/>
          </a:ln>
        </p:spPr>
        <p:style>
          <a:lnRef idx="3">
            <a:schemeClr val="accent1"/>
          </a:lnRef>
          <a:fillRef idx="0">
            <a:schemeClr val="accent1"/>
          </a:fillRef>
          <a:effectRef idx="2">
            <a:schemeClr val="accent1"/>
          </a:effectRef>
          <a:fontRef idx="minor">
            <a:schemeClr val="tx1"/>
          </a:fontRef>
        </p:style>
      </p:cxnSp>
      <p:cxnSp>
        <p:nvCxnSpPr>
          <p:cNvPr id="62" name="Straight Connector 61">
            <a:extLst>
              <a:ext uri="{FF2B5EF4-FFF2-40B4-BE49-F238E27FC236}">
                <a16:creationId xmlns:a16="http://schemas.microsoft.com/office/drawing/2014/main" id="{23D2CA95-2524-45F2-95C5-6A2BE9E6824A}"/>
              </a:ext>
            </a:extLst>
          </p:cNvPr>
          <p:cNvCxnSpPr>
            <a:cxnSpLocks/>
            <a:endCxn id="44" idx="1"/>
          </p:cNvCxnSpPr>
          <p:nvPr/>
        </p:nvCxnSpPr>
        <p:spPr>
          <a:xfrm flipV="1">
            <a:off x="6271456" y="2520620"/>
            <a:ext cx="1377534" cy="729917"/>
          </a:xfrm>
          <a:prstGeom prst="line">
            <a:avLst/>
          </a:prstGeom>
          <a:ln w="57150">
            <a:solidFill>
              <a:srgbClr val="046A38"/>
            </a:solidFill>
            <a:headEnd w="sm" len="sm"/>
            <a:tailEnd type="oval" w="sm" len="sm"/>
          </a:ln>
        </p:spPr>
        <p:style>
          <a:lnRef idx="3">
            <a:schemeClr val="accent1"/>
          </a:lnRef>
          <a:fillRef idx="0">
            <a:schemeClr val="accent1"/>
          </a:fillRef>
          <a:effectRef idx="2">
            <a:schemeClr val="accent1"/>
          </a:effectRef>
          <a:fontRef idx="minor">
            <a:schemeClr val="tx1"/>
          </a:fontRef>
        </p:style>
      </p:cxnSp>
      <p:cxnSp>
        <p:nvCxnSpPr>
          <p:cNvPr id="66" name="Straight Connector 65">
            <a:extLst>
              <a:ext uri="{FF2B5EF4-FFF2-40B4-BE49-F238E27FC236}">
                <a16:creationId xmlns:a16="http://schemas.microsoft.com/office/drawing/2014/main" id="{EF999D16-3C78-433E-9273-392BAE16E680}"/>
              </a:ext>
            </a:extLst>
          </p:cNvPr>
          <p:cNvCxnSpPr>
            <a:cxnSpLocks/>
            <a:endCxn id="53" idx="1"/>
          </p:cNvCxnSpPr>
          <p:nvPr/>
        </p:nvCxnSpPr>
        <p:spPr>
          <a:xfrm flipV="1">
            <a:off x="6879706" y="3482262"/>
            <a:ext cx="942013" cy="271170"/>
          </a:xfrm>
          <a:prstGeom prst="line">
            <a:avLst/>
          </a:prstGeom>
          <a:ln w="57150">
            <a:solidFill>
              <a:srgbClr val="046A38"/>
            </a:solidFill>
            <a:headEnd w="sm" len="sm"/>
            <a:tailEnd type="oval" w="sm" len="sm"/>
          </a:ln>
        </p:spPr>
        <p:style>
          <a:lnRef idx="3">
            <a:schemeClr val="accent1"/>
          </a:lnRef>
          <a:fillRef idx="0">
            <a:schemeClr val="accent1"/>
          </a:fillRef>
          <a:effectRef idx="2">
            <a:schemeClr val="accent1"/>
          </a:effectRef>
          <a:fontRef idx="minor">
            <a:schemeClr val="tx1"/>
          </a:fontRef>
        </p:style>
      </p:cxnSp>
      <p:cxnSp>
        <p:nvCxnSpPr>
          <p:cNvPr id="69" name="Straight Connector 68">
            <a:extLst>
              <a:ext uri="{FF2B5EF4-FFF2-40B4-BE49-F238E27FC236}">
                <a16:creationId xmlns:a16="http://schemas.microsoft.com/office/drawing/2014/main" id="{79BA91FC-7FEA-4D7A-B5C7-F1CBC004E5A2}"/>
              </a:ext>
            </a:extLst>
          </p:cNvPr>
          <p:cNvCxnSpPr>
            <a:cxnSpLocks/>
            <a:endCxn id="36" idx="1"/>
          </p:cNvCxnSpPr>
          <p:nvPr/>
        </p:nvCxnSpPr>
        <p:spPr>
          <a:xfrm>
            <a:off x="6781437" y="4353865"/>
            <a:ext cx="1412397" cy="349720"/>
          </a:xfrm>
          <a:prstGeom prst="line">
            <a:avLst/>
          </a:prstGeom>
          <a:ln w="57150">
            <a:solidFill>
              <a:srgbClr val="046A38"/>
            </a:solidFill>
            <a:headEnd w="sm" len="sm"/>
            <a:tailEnd type="oval" w="sm" len="sm"/>
          </a:ln>
        </p:spPr>
        <p:style>
          <a:lnRef idx="3">
            <a:schemeClr val="accent1"/>
          </a:lnRef>
          <a:fillRef idx="0">
            <a:schemeClr val="accent1"/>
          </a:fillRef>
          <a:effectRef idx="2">
            <a:schemeClr val="accent1"/>
          </a:effectRef>
          <a:fontRef idx="minor">
            <a:schemeClr val="tx1"/>
          </a:fontRef>
        </p:style>
      </p:cxnSp>
      <p:cxnSp>
        <p:nvCxnSpPr>
          <p:cNvPr id="72" name="Straight Connector 71">
            <a:extLst>
              <a:ext uri="{FF2B5EF4-FFF2-40B4-BE49-F238E27FC236}">
                <a16:creationId xmlns:a16="http://schemas.microsoft.com/office/drawing/2014/main" id="{B35FEEFC-A1D4-49EC-AF51-D22B0366485B}"/>
              </a:ext>
            </a:extLst>
          </p:cNvPr>
          <p:cNvCxnSpPr>
            <a:cxnSpLocks/>
            <a:stCxn id="17" idx="5"/>
            <a:endCxn id="38" idx="1"/>
          </p:cNvCxnSpPr>
          <p:nvPr/>
        </p:nvCxnSpPr>
        <p:spPr>
          <a:xfrm>
            <a:off x="6714646" y="4995967"/>
            <a:ext cx="747465" cy="793524"/>
          </a:xfrm>
          <a:prstGeom prst="line">
            <a:avLst/>
          </a:prstGeom>
          <a:ln w="57150">
            <a:solidFill>
              <a:srgbClr val="046A38"/>
            </a:solidFill>
            <a:tailEnd type="oval" w="sm" len="sm"/>
          </a:ln>
        </p:spPr>
        <p:style>
          <a:lnRef idx="3">
            <a:schemeClr val="accent1"/>
          </a:lnRef>
          <a:fillRef idx="0">
            <a:schemeClr val="accent1"/>
          </a:fillRef>
          <a:effectRef idx="2">
            <a:schemeClr val="accent1"/>
          </a:effectRef>
          <a:fontRef idx="minor">
            <a:schemeClr val="tx1"/>
          </a:fontRef>
        </p:style>
      </p:cxnSp>
      <p:sp>
        <p:nvSpPr>
          <p:cNvPr id="17" name="Oval 16">
            <a:extLst>
              <a:ext uri="{FF2B5EF4-FFF2-40B4-BE49-F238E27FC236}">
                <a16:creationId xmlns:a16="http://schemas.microsoft.com/office/drawing/2014/main" id="{D749EB49-9404-4DD5-99F2-B6255A15A4A5}"/>
              </a:ext>
            </a:extLst>
          </p:cNvPr>
          <p:cNvSpPr/>
          <p:nvPr/>
        </p:nvSpPr>
        <p:spPr bwMode="gray">
          <a:xfrm>
            <a:off x="4563691" y="2845012"/>
            <a:ext cx="2520000" cy="2520000"/>
          </a:xfrm>
          <a:prstGeom prst="ellipse">
            <a:avLst/>
          </a:prstGeom>
          <a:solidFill>
            <a:srgbClr val="046A38"/>
          </a:solidFill>
          <a:ln w="19050" algn="ctr">
            <a:no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s-ES" sz="1800" b="1">
                <a:solidFill>
                  <a:schemeClr val="bg1"/>
                </a:solidFill>
              </a:rPr>
              <a:t>Rol de un Probador en un Equipo Ágil</a:t>
            </a:r>
          </a:p>
        </p:txBody>
      </p:sp>
    </p:spTree>
    <p:extLst>
      <p:ext uri="{BB962C8B-B14F-4D97-AF65-F5344CB8AC3E}">
        <p14:creationId xmlns:p14="http://schemas.microsoft.com/office/powerpoint/2010/main" val="41853536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2</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226376"/>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1</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307777"/>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uál es el inconveniente de la práctica de </a:t>
            </a:r>
            <a:r>
              <a:rPr lang="es-ES" sz="1400" i="1">
                <a:latin typeface="+mj-lt"/>
                <a:cs typeface="Times New Roman" panose="02020603050405020304" pitchFamily="18" charset="0"/>
              </a:rPr>
              <a:t>“Corregir errores primero” </a:t>
            </a:r>
            <a:r>
              <a:rPr lang="es-ES" sz="1400">
                <a:latin typeface="+mj-lt"/>
                <a:cs typeface="Times New Roman" panose="02020603050405020304" pitchFamily="18" charset="0"/>
              </a:rPr>
              <a:t>?</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524000" y="3429000"/>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Algunos errores pueden pasar desapercibidos</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47012" y="3429000"/>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524000" y="4038598"/>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No hay ningún inconveniente</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47012" y="4038598"/>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524000" y="4646127"/>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La longitud de la iteración se extenderá</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47012" y="4646127"/>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0" y="5251587"/>
            <a:ext cx="5940000" cy="648000"/>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Da lugar a una situación en la que se desconoce la cantidad de trabajo total a realizar en la iteración</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47012" y="5342382"/>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162356280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2</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226376"/>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1</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307777"/>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uál es el inconveniente de la práctica de </a:t>
            </a:r>
            <a:r>
              <a:rPr lang="es-ES" sz="1400" i="1">
                <a:latin typeface="+mj-lt"/>
                <a:cs typeface="Times New Roman" panose="02020603050405020304" pitchFamily="18" charset="0"/>
              </a:rPr>
              <a:t>“Corregir errores primero” </a:t>
            </a:r>
            <a:r>
              <a:rPr lang="es-ES" sz="1400">
                <a:latin typeface="+mj-lt"/>
                <a:cs typeface="Times New Roman" panose="02020603050405020304" pitchFamily="18" charset="0"/>
              </a:rPr>
              <a:t>?</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524000" y="3429000"/>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Algunos errores pueden pasar desapercibidos.</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47012" y="3429000"/>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524000" y="4038598"/>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No hay ningún inconveniente.</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47012" y="4038598"/>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524000" y="4646127"/>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La longitud de la iteración se extenderá.</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47012" y="4646127"/>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0" y="5251587"/>
            <a:ext cx="5940000" cy="648000"/>
          </a:xfrm>
          <a:prstGeom prst="roundRect">
            <a:avLst/>
          </a:prstGeom>
          <a:solidFill>
            <a:schemeClr val="bg1">
              <a:lumMod val="95000"/>
            </a:schemeClr>
          </a:solidFill>
          <a:ln w="31750" algn="ctr">
            <a:solidFill>
              <a:srgbClr val="046A38"/>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Da lugar a una situación en la que se desconoce la cantidad de trabajo total a realizar en la iteración.</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47012" y="5342382"/>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
        <p:nvSpPr>
          <p:cNvPr id="3" name="Rectangle 2">
            <a:extLst>
              <a:ext uri="{FF2B5EF4-FFF2-40B4-BE49-F238E27FC236}">
                <a16:creationId xmlns:a16="http://schemas.microsoft.com/office/drawing/2014/main" id="{8182624A-ED87-1486-030A-C39891BE6703}"/>
              </a:ext>
            </a:extLst>
          </p:cNvPr>
          <p:cNvSpPr/>
          <p:nvPr/>
        </p:nvSpPr>
        <p:spPr bwMode="gray">
          <a:xfrm>
            <a:off x="669911" y="3352763"/>
            <a:ext cx="6906545" cy="1837600"/>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TextBox 6">
            <a:extLst>
              <a:ext uri="{FF2B5EF4-FFF2-40B4-BE49-F238E27FC236}">
                <a16:creationId xmlns:a16="http://schemas.microsoft.com/office/drawing/2014/main" id="{8BCD08BF-6734-E852-9CF3-78DBE1DB2EF0}"/>
              </a:ext>
            </a:extLst>
          </p:cNvPr>
          <p:cNvSpPr txBox="1"/>
          <p:nvPr/>
        </p:nvSpPr>
        <p:spPr>
          <a:xfrm>
            <a:off x="7696519" y="4945480"/>
            <a:ext cx="3932314" cy="954107"/>
          </a:xfrm>
          <a:prstGeom prst="rect">
            <a:avLst/>
          </a:prstGeom>
          <a:noFill/>
        </p:spPr>
        <p:txBody>
          <a:bodyPr wrap="square">
            <a:spAutoFit/>
          </a:bodyPr>
          <a:lstStyle/>
          <a:p>
            <a:pPr>
              <a:spcAft>
                <a:spcPts val="800"/>
              </a:spcAft>
            </a:pPr>
            <a:r>
              <a:rPr lang="es-ES" sz="1400" i="1">
                <a:latin typeface="+mj-lt"/>
                <a:cs typeface="Times New Roman" panose="02020603050405020304" pitchFamily="18" charset="0"/>
              </a:rPr>
              <a:t>Empezar una iteración corrigiendo los errores de la anterior puede provocar que no se sepa con certeza cuánto trabajo se debe realizar en la iteración.</a:t>
            </a:r>
          </a:p>
        </p:txBody>
      </p:sp>
    </p:spTree>
    <p:extLst>
      <p:ext uri="{BB962C8B-B14F-4D97-AF65-F5344CB8AC3E}">
        <p14:creationId xmlns:p14="http://schemas.microsoft.com/office/powerpoint/2010/main" val="148175155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2</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2379065"/>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2</a:t>
            </a:r>
            <a:endParaRPr lang="es-ES" sz="1400" b="1">
              <a:solidFill>
                <a:schemeClr val="bg1"/>
              </a:solidFill>
            </a:endParaRP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524000" y="4427736"/>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Pruebas de verificación de la prestación.</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47012" y="442773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524000" y="5037334"/>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Pruebas de validación de la prestación.</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47012" y="5037334"/>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524000" y="5644863"/>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Pruebas unitarias. </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47012" y="564486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15799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En un proyecto ágil se están llevando a cabo pruebas de aceptación con las siguientes características:</a:t>
            </a:r>
          </a:p>
          <a:p>
            <a:pPr marL="895335" lvl="1" indent="-285750">
              <a:spcAft>
                <a:spcPts val="800"/>
              </a:spcAft>
              <a:buFont typeface="Arial" panose="020B0604020202020204" pitchFamily="34" charset="0"/>
              <a:buChar char="•"/>
            </a:pPr>
            <a:r>
              <a:rPr lang="es-ES" sz="1400">
                <a:latin typeface="+mj-lt"/>
                <a:cs typeface="Times New Roman" panose="02020603050405020304" pitchFamily="18" charset="0"/>
              </a:rPr>
              <a:t>Las llevan a cabo desarrolladores y </a:t>
            </a:r>
            <a:r>
              <a:rPr lang="es-ES" sz="1400" err="1">
                <a:latin typeface="+mj-lt"/>
                <a:cs typeface="Times New Roman" panose="02020603050405020304" pitchFamily="18" charset="0"/>
              </a:rPr>
              <a:t>testers</a:t>
            </a:r>
            <a:endParaRPr lang="es-ES" sz="1400">
              <a:latin typeface="+mj-lt"/>
              <a:cs typeface="Times New Roman" panose="02020603050405020304" pitchFamily="18" charset="0"/>
            </a:endParaRPr>
          </a:p>
          <a:p>
            <a:pPr marL="895335" lvl="1" indent="-285750">
              <a:spcAft>
                <a:spcPts val="800"/>
              </a:spcAft>
              <a:buFont typeface="Arial" panose="020B0604020202020204" pitchFamily="34" charset="0"/>
              <a:buChar char="•"/>
            </a:pPr>
            <a:r>
              <a:rPr lang="es-ES" sz="1400">
                <a:latin typeface="+mj-lt"/>
                <a:cs typeface="Times New Roman" panose="02020603050405020304" pitchFamily="18" charset="0"/>
              </a:rPr>
              <a:t>Son automatizadas</a:t>
            </a:r>
          </a:p>
          <a:p>
            <a:pPr marL="895335" lvl="1" indent="-285750">
              <a:spcAft>
                <a:spcPts val="800"/>
              </a:spcAft>
              <a:buFont typeface="Arial" panose="020B0604020202020204" pitchFamily="34" charset="0"/>
              <a:buChar char="•"/>
            </a:pPr>
            <a:r>
              <a:rPr lang="es-ES" sz="1400">
                <a:latin typeface="+mj-lt"/>
                <a:cs typeface="Times New Roman" panose="02020603050405020304" pitchFamily="18" charset="0"/>
              </a:rPr>
              <a:t>Prueban los criterios de aceptación</a:t>
            </a:r>
          </a:p>
          <a:p>
            <a:pPr marL="0" lvl="1">
              <a:spcAft>
                <a:spcPts val="800"/>
              </a:spcAft>
            </a:pPr>
            <a:r>
              <a:rPr lang="es-ES" sz="1400">
                <a:latin typeface="+mj-lt"/>
                <a:cs typeface="Times New Roman" panose="02020603050405020304" pitchFamily="18" charset="0"/>
              </a:rPr>
              <a:t>¿A qué nivel de prueba se está haciendo referencia?</a:t>
            </a:r>
          </a:p>
        </p:txBody>
      </p:sp>
    </p:spTree>
    <p:extLst>
      <p:ext uri="{BB962C8B-B14F-4D97-AF65-F5344CB8AC3E}">
        <p14:creationId xmlns:p14="http://schemas.microsoft.com/office/powerpoint/2010/main" val="35245800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2</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2379065"/>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2</a:t>
            </a:r>
            <a:endParaRPr lang="es-ES" sz="1400" b="1">
              <a:solidFill>
                <a:schemeClr val="bg1"/>
              </a:solidFill>
            </a:endParaRP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524000" y="4427736"/>
            <a:ext cx="5940000" cy="465931"/>
          </a:xfrm>
          <a:prstGeom prst="roundRect">
            <a:avLst/>
          </a:prstGeom>
          <a:solidFill>
            <a:schemeClr val="bg1">
              <a:lumMod val="95000"/>
            </a:schemeClr>
          </a:solidFill>
          <a:ln w="31750" algn="ctr">
            <a:solidFill>
              <a:schemeClr val="accent2"/>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Pruebas de verificación de la prestación.</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47012" y="4427736"/>
            <a:ext cx="468000" cy="4680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524000" y="5037334"/>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Pruebas de validación de la prestación.</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47012" y="5037334"/>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524000" y="5644863"/>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Pruebas unitarias. </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47012" y="564486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15799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En un proyecto ágil se están llevando a cabo pruebas de aceptación con las siguientes características:</a:t>
            </a:r>
          </a:p>
          <a:p>
            <a:pPr marL="895335" lvl="1" indent="-285750">
              <a:spcAft>
                <a:spcPts val="800"/>
              </a:spcAft>
              <a:buFont typeface="Arial" panose="020B0604020202020204" pitchFamily="34" charset="0"/>
              <a:buChar char="•"/>
            </a:pPr>
            <a:r>
              <a:rPr lang="es-ES" sz="1400">
                <a:latin typeface="+mj-lt"/>
                <a:cs typeface="Times New Roman" panose="02020603050405020304" pitchFamily="18" charset="0"/>
              </a:rPr>
              <a:t>Las llevan a cabo desarrolladores y </a:t>
            </a:r>
            <a:r>
              <a:rPr lang="es-ES" sz="1400" err="1">
                <a:latin typeface="+mj-lt"/>
                <a:cs typeface="Times New Roman" panose="02020603050405020304" pitchFamily="18" charset="0"/>
              </a:rPr>
              <a:t>testers</a:t>
            </a:r>
            <a:endParaRPr lang="es-ES" sz="1400">
              <a:latin typeface="+mj-lt"/>
              <a:cs typeface="Times New Roman" panose="02020603050405020304" pitchFamily="18" charset="0"/>
            </a:endParaRPr>
          </a:p>
          <a:p>
            <a:pPr marL="895335" lvl="1" indent="-285750">
              <a:spcAft>
                <a:spcPts val="800"/>
              </a:spcAft>
              <a:buFont typeface="Arial" panose="020B0604020202020204" pitchFamily="34" charset="0"/>
              <a:buChar char="•"/>
            </a:pPr>
            <a:r>
              <a:rPr lang="es-ES" sz="1400">
                <a:latin typeface="+mj-lt"/>
                <a:cs typeface="Times New Roman" panose="02020603050405020304" pitchFamily="18" charset="0"/>
              </a:rPr>
              <a:t>Son automatizadas</a:t>
            </a:r>
          </a:p>
          <a:p>
            <a:pPr marL="895335" lvl="1" indent="-285750">
              <a:spcAft>
                <a:spcPts val="800"/>
              </a:spcAft>
              <a:buFont typeface="Arial" panose="020B0604020202020204" pitchFamily="34" charset="0"/>
              <a:buChar char="•"/>
            </a:pPr>
            <a:r>
              <a:rPr lang="es-ES" sz="1400">
                <a:latin typeface="+mj-lt"/>
                <a:cs typeface="Times New Roman" panose="02020603050405020304" pitchFamily="18" charset="0"/>
              </a:rPr>
              <a:t>Prueban los criterios de aceptación</a:t>
            </a:r>
          </a:p>
          <a:p>
            <a:pPr marL="0" lvl="1">
              <a:spcAft>
                <a:spcPts val="800"/>
              </a:spcAft>
            </a:pPr>
            <a:r>
              <a:rPr lang="es-ES" sz="1400">
                <a:latin typeface="+mj-lt"/>
                <a:cs typeface="Times New Roman" panose="02020603050405020304" pitchFamily="18" charset="0"/>
              </a:rPr>
              <a:t>¿A qué nivel de prueba se está haciendo referencia?</a:t>
            </a:r>
          </a:p>
        </p:txBody>
      </p:sp>
      <p:sp>
        <p:nvSpPr>
          <p:cNvPr id="3" name="TextBox 2">
            <a:extLst>
              <a:ext uri="{FF2B5EF4-FFF2-40B4-BE49-F238E27FC236}">
                <a16:creationId xmlns:a16="http://schemas.microsoft.com/office/drawing/2014/main" id="{6111D84D-BE1B-26B8-A6AB-5A112F9A028D}"/>
              </a:ext>
            </a:extLst>
          </p:cNvPr>
          <p:cNvSpPr txBox="1"/>
          <p:nvPr/>
        </p:nvSpPr>
        <p:spPr>
          <a:xfrm>
            <a:off x="7696519" y="4425983"/>
            <a:ext cx="3932314" cy="1169551"/>
          </a:xfrm>
          <a:prstGeom prst="rect">
            <a:avLst/>
          </a:prstGeom>
          <a:noFill/>
        </p:spPr>
        <p:txBody>
          <a:bodyPr wrap="square">
            <a:spAutoFit/>
          </a:bodyPr>
          <a:lstStyle/>
          <a:p>
            <a:pPr>
              <a:spcAft>
                <a:spcPts val="800"/>
              </a:spcAft>
            </a:pPr>
            <a:r>
              <a:rPr lang="es-ES" sz="1400" i="1">
                <a:latin typeface="+mj-lt"/>
                <a:cs typeface="Times New Roman" panose="02020603050405020304" pitchFamily="18" charset="0"/>
              </a:rPr>
              <a:t>Las pruebas de validación de la prestación pueden llevarse a cabo desde negocio, suelen ser manuales y confirman si la prestación es apta para su uso.</a:t>
            </a:r>
          </a:p>
        </p:txBody>
      </p:sp>
      <p:sp>
        <p:nvSpPr>
          <p:cNvPr id="7" name="Rectangle 6">
            <a:extLst>
              <a:ext uri="{FF2B5EF4-FFF2-40B4-BE49-F238E27FC236}">
                <a16:creationId xmlns:a16="http://schemas.microsoft.com/office/drawing/2014/main" id="{CBEEFC0C-EE36-4E18-9EC1-3B97ECA9CA6F}"/>
              </a:ext>
            </a:extLst>
          </p:cNvPr>
          <p:cNvSpPr/>
          <p:nvPr/>
        </p:nvSpPr>
        <p:spPr bwMode="gray">
          <a:xfrm>
            <a:off x="746125" y="4968302"/>
            <a:ext cx="6906545" cy="1247013"/>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Tree>
    <p:extLst>
      <p:ext uri="{BB962C8B-B14F-4D97-AF65-F5344CB8AC3E}">
        <p14:creationId xmlns:p14="http://schemas.microsoft.com/office/powerpoint/2010/main" val="51657178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2</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137062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3</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5232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uál de las siguientes afirmaciones es FALSA sobre el ciclo </a:t>
            </a:r>
            <a:r>
              <a:rPr lang="es-ES" sz="1400" i="1">
                <a:latin typeface="+mj-lt"/>
                <a:cs typeface="Times New Roman" panose="02020603050405020304" pitchFamily="18" charset="0"/>
              </a:rPr>
              <a:t>“Construcción – Instalación – Fallo – Reconstrucción – Reinstalación”? </a:t>
            </a:r>
            <a:endParaRPr lang="es-ES" sz="1400">
              <a:latin typeface="+mj-lt"/>
              <a:cs typeface="Times New Roman" panose="02020603050405020304" pitchFamily="18" charset="0"/>
            </a:endParaRP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524000" y="3486149"/>
            <a:ext cx="5940000" cy="64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s un ciclo ineficiente resuelto mediante la gestión de la configuración.</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47012" y="3576001"/>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524000" y="4281416"/>
            <a:ext cx="5940000" cy="465931"/>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s un ciclo ineficiente resuelto mediante el uso de Scrum.</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47012" y="428141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524000" y="4888945"/>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Los informes de prueba en tiempo real ayudan a resolverlo.</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47012" y="488894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0" y="5494405"/>
            <a:ext cx="5940000" cy="648000"/>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s un ciclo ineficiente que ocurre en muchos proyectos tradicionales.</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47012" y="5585200"/>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19559356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2">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6050054"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1 </a:t>
            </a:r>
            <a:r>
              <a:rPr lang="en-GB" altLang="en-US" sz="1600" b="1" err="1">
                <a:solidFill>
                  <a:schemeClr val="accent1"/>
                </a:solidFill>
                <a:latin typeface="Verdana" pitchFamily="34" charset="0"/>
                <a:ea typeface="Arial" pitchFamily="34" charset="0"/>
                <a:cs typeface="Verdana" pitchFamily="34" charset="0"/>
              </a:rPr>
              <a:t>Fundamentos</a:t>
            </a:r>
            <a:r>
              <a:rPr lang="en-GB" altLang="en-US" sz="1600" b="1">
                <a:solidFill>
                  <a:schemeClr val="accent1"/>
                </a:solidFill>
                <a:latin typeface="Verdana" pitchFamily="34" charset="0"/>
                <a:ea typeface="Arial" pitchFamily="34" charset="0"/>
                <a:cs typeface="Verdana" pitchFamily="34" charset="0"/>
              </a:rPr>
              <a:t> de Desarrollo Ágil de Software</a:t>
            </a:r>
          </a:p>
        </p:txBody>
      </p:sp>
      <p:sp>
        <p:nvSpPr>
          <p:cNvPr id="21" name="Rectangle 3"/>
          <p:cNvSpPr>
            <a:spLocks noGrp="1"/>
          </p:cNvSpPr>
          <p:nvPr>
            <p:ph idx="4294967295"/>
          </p:nvPr>
        </p:nvSpPr>
        <p:spPr>
          <a:xfrm>
            <a:off x="307975" y="2191768"/>
            <a:ext cx="11201401" cy="313692"/>
          </a:xfrm>
        </p:spPr>
        <p:txBody>
          <a:bodyPr lIns="91440" tIns="45720" rIns="91440" bIns="45720"/>
          <a:lstStyle/>
          <a:p>
            <a:pPr marL="555625" lvl="1" indent="-285750">
              <a:spcAft>
                <a:spcPts val="25"/>
              </a:spcAft>
              <a:buFont typeface="Wingdings" panose="05000000000000000000" pitchFamily="2" charset="2"/>
              <a:buChar char="q"/>
            </a:pPr>
            <a:r>
              <a:rPr lang="es-ES" b="0"/>
              <a:t>El Manifiesto Ágil contiene </a:t>
            </a:r>
            <a:r>
              <a:rPr lang="es-ES"/>
              <a:t>4 enunciados de valores:</a:t>
            </a:r>
            <a:endParaRPr lang="es-ES" sz="1400"/>
          </a:p>
          <a:p>
            <a:pPr marL="555625" lvl="1" indent="-285750">
              <a:spcAft>
                <a:spcPts val="25"/>
              </a:spcAft>
              <a:buFont typeface="Wingdings" panose="05000000000000000000" pitchFamily="2" charset="2"/>
              <a:buChar char="q"/>
            </a:pPr>
            <a:endParaRPr lang="es-ES" sz="1400" b="0"/>
          </a:p>
          <a:p>
            <a:pPr marL="555625" lvl="1" indent="-285750">
              <a:spcAft>
                <a:spcPts val="25"/>
              </a:spcAft>
              <a:buFont typeface="Wingdings" panose="05000000000000000000" pitchFamily="2" charset="2"/>
              <a:buChar char="q"/>
            </a:pPr>
            <a:endParaRPr lang="es-ES" sz="1400" b="0"/>
          </a:p>
          <a:p>
            <a:pPr marL="555625" lvl="1" indent="-285750">
              <a:spcAft>
                <a:spcPts val="25"/>
              </a:spcAft>
              <a:buFont typeface="Wingdings" panose="05000000000000000000" pitchFamily="2" charset="2"/>
              <a:buChar char="q"/>
            </a:pPr>
            <a:endParaRPr lang="es-ES" sz="1400" b="0"/>
          </a:p>
          <a:p>
            <a:pPr marL="269875" lvl="1">
              <a:spcAft>
                <a:spcPts val="25"/>
              </a:spcAft>
            </a:pPr>
            <a:r>
              <a:rPr lang="es-ES" sz="1400" b="0"/>
              <a:t>      </a:t>
            </a:r>
          </a:p>
          <a:p>
            <a:pPr marL="269875" lvl="1">
              <a:spcAft>
                <a:spcPts val="25"/>
              </a:spcAft>
            </a:pPr>
            <a:endParaRPr lang="es-ES" sz="1400" b="0"/>
          </a:p>
          <a:p>
            <a:pPr marL="269875" lvl="1">
              <a:spcAft>
                <a:spcPts val="25"/>
              </a:spcAft>
            </a:pPr>
            <a:endParaRPr lang="es-ES" sz="1400" b="0"/>
          </a:p>
          <a:p>
            <a:pPr marL="269875" lvl="1">
              <a:spcAft>
                <a:spcPts val="25"/>
              </a:spcAft>
            </a:pPr>
            <a:endParaRPr lang="en-US" sz="1400" b="0"/>
          </a:p>
          <a:p>
            <a:pPr marL="269875" lvl="1" indent="0">
              <a:spcAft>
                <a:spcPts val="25"/>
              </a:spcAft>
              <a:buNone/>
            </a:pPr>
            <a:endParaRPr lang="en-GB" altLang="en-US" sz="1400">
              <a:latin typeface="Verdana" pitchFamily="34" charset="0"/>
              <a:ea typeface="Arial" pitchFamily="34" charset="0"/>
              <a:cs typeface="Verdana" pitchFamily="34" charset="0"/>
            </a:endParaRPr>
          </a:p>
        </p:txBody>
      </p:sp>
      <p:sp>
        <p:nvSpPr>
          <p:cNvPr id="37" name="Freeform 263">
            <a:extLst>
              <a:ext uri="{FF2B5EF4-FFF2-40B4-BE49-F238E27FC236}">
                <a16:creationId xmlns:a16="http://schemas.microsoft.com/office/drawing/2014/main" id="{96BDED81-F131-49AD-B259-1965F7ED4EC9}"/>
              </a:ext>
            </a:extLst>
          </p:cNvPr>
          <p:cNvSpPr>
            <a:spLocks noEditPoints="1"/>
          </p:cNvSpPr>
          <p:nvPr/>
        </p:nvSpPr>
        <p:spPr bwMode="auto">
          <a:xfrm>
            <a:off x="8802287" y="4431577"/>
            <a:ext cx="283718" cy="306088"/>
          </a:xfrm>
          <a:custGeom>
            <a:avLst/>
            <a:gdLst>
              <a:gd name="T0" fmla="*/ 37 w 216"/>
              <a:gd name="T1" fmla="*/ 68 h 199"/>
              <a:gd name="T2" fmla="*/ 82 w 216"/>
              <a:gd name="T3" fmla="*/ 20 h 199"/>
              <a:gd name="T4" fmla="*/ 113 w 216"/>
              <a:gd name="T5" fmla="*/ 49 h 199"/>
              <a:gd name="T6" fmla="*/ 68 w 216"/>
              <a:gd name="T7" fmla="*/ 98 h 199"/>
              <a:gd name="T8" fmla="*/ 37 w 216"/>
              <a:gd name="T9" fmla="*/ 68 h 199"/>
              <a:gd name="T10" fmla="*/ 118 w 216"/>
              <a:gd name="T11" fmla="*/ 45 h 199"/>
              <a:gd name="T12" fmla="*/ 126 w 216"/>
              <a:gd name="T13" fmla="*/ 45 h 199"/>
              <a:gd name="T14" fmla="*/ 130 w 216"/>
              <a:gd name="T15" fmla="*/ 42 h 199"/>
              <a:gd name="T16" fmla="*/ 130 w 216"/>
              <a:gd name="T17" fmla="*/ 33 h 199"/>
              <a:gd name="T18" fmla="*/ 97 w 216"/>
              <a:gd name="T19" fmla="*/ 3 h 199"/>
              <a:gd name="T20" fmla="*/ 89 w 216"/>
              <a:gd name="T21" fmla="*/ 3 h 199"/>
              <a:gd name="T22" fmla="*/ 85 w 216"/>
              <a:gd name="T23" fmla="*/ 6 h 199"/>
              <a:gd name="T24" fmla="*/ 85 w 216"/>
              <a:gd name="T25" fmla="*/ 15 h 199"/>
              <a:gd name="T26" fmla="*/ 118 w 216"/>
              <a:gd name="T27" fmla="*/ 45 h 199"/>
              <a:gd name="T28" fmla="*/ 52 w 216"/>
              <a:gd name="T29" fmla="*/ 115 h 199"/>
              <a:gd name="T30" fmla="*/ 61 w 216"/>
              <a:gd name="T31" fmla="*/ 115 h 199"/>
              <a:gd name="T32" fmla="*/ 64 w 216"/>
              <a:gd name="T33" fmla="*/ 111 h 199"/>
              <a:gd name="T34" fmla="*/ 64 w 216"/>
              <a:gd name="T35" fmla="*/ 103 h 199"/>
              <a:gd name="T36" fmla="*/ 31 w 216"/>
              <a:gd name="T37" fmla="*/ 72 h 199"/>
              <a:gd name="T38" fmla="*/ 23 w 216"/>
              <a:gd name="T39" fmla="*/ 73 h 199"/>
              <a:gd name="T40" fmla="*/ 19 w 216"/>
              <a:gd name="T41" fmla="*/ 76 h 199"/>
              <a:gd name="T42" fmla="*/ 20 w 216"/>
              <a:gd name="T43" fmla="*/ 85 h 199"/>
              <a:gd name="T44" fmla="*/ 52 w 216"/>
              <a:gd name="T45" fmla="*/ 115 h 199"/>
              <a:gd name="T46" fmla="*/ 88 w 216"/>
              <a:gd name="T47" fmla="*/ 85 h 199"/>
              <a:gd name="T48" fmla="*/ 196 w 216"/>
              <a:gd name="T49" fmla="*/ 187 h 199"/>
              <a:gd name="T50" fmla="*/ 209 w 216"/>
              <a:gd name="T51" fmla="*/ 189 h 199"/>
              <a:gd name="T52" fmla="*/ 213 w 216"/>
              <a:gd name="T53" fmla="*/ 184 h 199"/>
              <a:gd name="T54" fmla="*/ 210 w 216"/>
              <a:gd name="T55" fmla="*/ 172 h 199"/>
              <a:gd name="T56" fmla="*/ 102 w 216"/>
              <a:gd name="T57" fmla="*/ 71 h 199"/>
              <a:gd name="T58" fmla="*/ 88 w 216"/>
              <a:gd name="T59" fmla="*/ 85 h 199"/>
              <a:gd name="T60" fmla="*/ 125 w 216"/>
              <a:gd name="T61" fmla="*/ 186 h 199"/>
              <a:gd name="T62" fmla="*/ 123 w 216"/>
              <a:gd name="T63" fmla="*/ 184 h 199"/>
              <a:gd name="T64" fmla="*/ 3 w 216"/>
              <a:gd name="T65" fmla="*/ 184 h 199"/>
              <a:gd name="T66" fmla="*/ 0 w 216"/>
              <a:gd name="T67" fmla="*/ 186 h 199"/>
              <a:gd name="T68" fmla="*/ 0 w 216"/>
              <a:gd name="T69" fmla="*/ 197 h 199"/>
              <a:gd name="T70" fmla="*/ 3 w 216"/>
              <a:gd name="T71" fmla="*/ 199 h 199"/>
              <a:gd name="T72" fmla="*/ 123 w 216"/>
              <a:gd name="T73" fmla="*/ 199 h 199"/>
              <a:gd name="T74" fmla="*/ 125 w 216"/>
              <a:gd name="T75" fmla="*/ 197 h 199"/>
              <a:gd name="T76" fmla="*/ 125 w 216"/>
              <a:gd name="T77" fmla="*/ 186 h 199"/>
              <a:gd name="T78" fmla="*/ 27 w 216"/>
              <a:gd name="T79" fmla="*/ 164 h 199"/>
              <a:gd name="T80" fmla="*/ 98 w 216"/>
              <a:gd name="T81" fmla="*/ 164 h 199"/>
              <a:gd name="T82" fmla="*/ 107 w 216"/>
              <a:gd name="T83" fmla="*/ 170 h 199"/>
              <a:gd name="T84" fmla="*/ 107 w 216"/>
              <a:gd name="T85" fmla="*/ 177 h 199"/>
              <a:gd name="T86" fmla="*/ 19 w 216"/>
              <a:gd name="T87" fmla="*/ 177 h 199"/>
              <a:gd name="T88" fmla="*/ 19 w 216"/>
              <a:gd name="T89" fmla="*/ 170 h 199"/>
              <a:gd name="T90" fmla="*/ 27 w 216"/>
              <a:gd name="T91" fmla="*/ 16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199">
                <a:moveTo>
                  <a:pt x="37" y="68"/>
                </a:moveTo>
                <a:cubicBezTo>
                  <a:pt x="82" y="20"/>
                  <a:pt x="82" y="20"/>
                  <a:pt x="82" y="20"/>
                </a:cubicBezTo>
                <a:cubicBezTo>
                  <a:pt x="113" y="49"/>
                  <a:pt x="113" y="49"/>
                  <a:pt x="113" y="49"/>
                </a:cubicBezTo>
                <a:cubicBezTo>
                  <a:pt x="68" y="98"/>
                  <a:pt x="68" y="98"/>
                  <a:pt x="68" y="98"/>
                </a:cubicBezTo>
                <a:lnTo>
                  <a:pt x="37" y="68"/>
                </a:lnTo>
                <a:close/>
                <a:moveTo>
                  <a:pt x="118" y="45"/>
                </a:moveTo>
                <a:cubicBezTo>
                  <a:pt x="121" y="48"/>
                  <a:pt x="124" y="47"/>
                  <a:pt x="126" y="45"/>
                </a:cubicBezTo>
                <a:cubicBezTo>
                  <a:pt x="130" y="42"/>
                  <a:pt x="130" y="42"/>
                  <a:pt x="130" y="42"/>
                </a:cubicBezTo>
                <a:cubicBezTo>
                  <a:pt x="132" y="39"/>
                  <a:pt x="132" y="35"/>
                  <a:pt x="130" y="33"/>
                </a:cubicBezTo>
                <a:cubicBezTo>
                  <a:pt x="97" y="3"/>
                  <a:pt x="97" y="3"/>
                  <a:pt x="97" y="3"/>
                </a:cubicBezTo>
                <a:cubicBezTo>
                  <a:pt x="94" y="0"/>
                  <a:pt x="91" y="0"/>
                  <a:pt x="89" y="3"/>
                </a:cubicBezTo>
                <a:cubicBezTo>
                  <a:pt x="85" y="6"/>
                  <a:pt x="85" y="6"/>
                  <a:pt x="85" y="6"/>
                </a:cubicBezTo>
                <a:cubicBezTo>
                  <a:pt x="83" y="9"/>
                  <a:pt x="83" y="12"/>
                  <a:pt x="85" y="15"/>
                </a:cubicBezTo>
                <a:lnTo>
                  <a:pt x="118" y="45"/>
                </a:lnTo>
                <a:close/>
                <a:moveTo>
                  <a:pt x="52" y="115"/>
                </a:moveTo>
                <a:cubicBezTo>
                  <a:pt x="55" y="117"/>
                  <a:pt x="58" y="117"/>
                  <a:pt x="61" y="115"/>
                </a:cubicBezTo>
                <a:cubicBezTo>
                  <a:pt x="64" y="111"/>
                  <a:pt x="64" y="111"/>
                  <a:pt x="64" y="111"/>
                </a:cubicBezTo>
                <a:cubicBezTo>
                  <a:pt x="66" y="109"/>
                  <a:pt x="66" y="105"/>
                  <a:pt x="64" y="103"/>
                </a:cubicBezTo>
                <a:cubicBezTo>
                  <a:pt x="31" y="72"/>
                  <a:pt x="31" y="72"/>
                  <a:pt x="31" y="72"/>
                </a:cubicBezTo>
                <a:cubicBezTo>
                  <a:pt x="29" y="70"/>
                  <a:pt x="25" y="70"/>
                  <a:pt x="23" y="73"/>
                </a:cubicBezTo>
                <a:cubicBezTo>
                  <a:pt x="19" y="76"/>
                  <a:pt x="19" y="76"/>
                  <a:pt x="19" y="76"/>
                </a:cubicBezTo>
                <a:cubicBezTo>
                  <a:pt x="17" y="79"/>
                  <a:pt x="17" y="82"/>
                  <a:pt x="20" y="85"/>
                </a:cubicBezTo>
                <a:lnTo>
                  <a:pt x="52" y="115"/>
                </a:lnTo>
                <a:close/>
                <a:moveTo>
                  <a:pt x="88" y="85"/>
                </a:moveTo>
                <a:cubicBezTo>
                  <a:pt x="196" y="187"/>
                  <a:pt x="196" y="187"/>
                  <a:pt x="196" y="187"/>
                </a:cubicBezTo>
                <a:cubicBezTo>
                  <a:pt x="201" y="191"/>
                  <a:pt x="206" y="192"/>
                  <a:pt x="209" y="189"/>
                </a:cubicBezTo>
                <a:cubicBezTo>
                  <a:pt x="213" y="184"/>
                  <a:pt x="213" y="184"/>
                  <a:pt x="213" y="184"/>
                </a:cubicBezTo>
                <a:cubicBezTo>
                  <a:pt x="216" y="182"/>
                  <a:pt x="214" y="176"/>
                  <a:pt x="210" y="172"/>
                </a:cubicBezTo>
                <a:cubicBezTo>
                  <a:pt x="102" y="71"/>
                  <a:pt x="102" y="71"/>
                  <a:pt x="102" y="71"/>
                </a:cubicBezTo>
                <a:lnTo>
                  <a:pt x="88" y="85"/>
                </a:lnTo>
                <a:close/>
                <a:moveTo>
                  <a:pt x="125" y="186"/>
                </a:moveTo>
                <a:cubicBezTo>
                  <a:pt x="125" y="185"/>
                  <a:pt x="124" y="184"/>
                  <a:pt x="123" y="184"/>
                </a:cubicBezTo>
                <a:cubicBezTo>
                  <a:pt x="3" y="184"/>
                  <a:pt x="3" y="184"/>
                  <a:pt x="3" y="184"/>
                </a:cubicBezTo>
                <a:cubicBezTo>
                  <a:pt x="2" y="184"/>
                  <a:pt x="0" y="185"/>
                  <a:pt x="0" y="186"/>
                </a:cubicBezTo>
                <a:cubicBezTo>
                  <a:pt x="0" y="197"/>
                  <a:pt x="0" y="197"/>
                  <a:pt x="0" y="197"/>
                </a:cubicBezTo>
                <a:cubicBezTo>
                  <a:pt x="0" y="198"/>
                  <a:pt x="2" y="199"/>
                  <a:pt x="3" y="199"/>
                </a:cubicBezTo>
                <a:cubicBezTo>
                  <a:pt x="123" y="199"/>
                  <a:pt x="123" y="199"/>
                  <a:pt x="123" y="199"/>
                </a:cubicBezTo>
                <a:cubicBezTo>
                  <a:pt x="124" y="199"/>
                  <a:pt x="125" y="198"/>
                  <a:pt x="125" y="197"/>
                </a:cubicBezTo>
                <a:lnTo>
                  <a:pt x="125" y="186"/>
                </a:lnTo>
                <a:close/>
                <a:moveTo>
                  <a:pt x="27" y="164"/>
                </a:moveTo>
                <a:cubicBezTo>
                  <a:pt x="98" y="164"/>
                  <a:pt x="98" y="164"/>
                  <a:pt x="98" y="164"/>
                </a:cubicBezTo>
                <a:cubicBezTo>
                  <a:pt x="102" y="164"/>
                  <a:pt x="106" y="167"/>
                  <a:pt x="107" y="170"/>
                </a:cubicBezTo>
                <a:cubicBezTo>
                  <a:pt x="107" y="177"/>
                  <a:pt x="107" y="177"/>
                  <a:pt x="107" y="177"/>
                </a:cubicBezTo>
                <a:cubicBezTo>
                  <a:pt x="19" y="177"/>
                  <a:pt x="19" y="177"/>
                  <a:pt x="19" y="177"/>
                </a:cubicBezTo>
                <a:cubicBezTo>
                  <a:pt x="19" y="170"/>
                  <a:pt x="19" y="170"/>
                  <a:pt x="19" y="170"/>
                </a:cubicBezTo>
                <a:cubicBezTo>
                  <a:pt x="20" y="167"/>
                  <a:pt x="23" y="164"/>
                  <a:pt x="27" y="1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38" name="Freeform 685">
            <a:extLst>
              <a:ext uri="{FF2B5EF4-FFF2-40B4-BE49-F238E27FC236}">
                <a16:creationId xmlns:a16="http://schemas.microsoft.com/office/drawing/2014/main" id="{BCDD2A93-6E25-47B3-A3A8-635409C51457}"/>
              </a:ext>
            </a:extLst>
          </p:cNvPr>
          <p:cNvSpPr>
            <a:spLocks noEditPoints="1"/>
          </p:cNvSpPr>
          <p:nvPr/>
        </p:nvSpPr>
        <p:spPr bwMode="auto">
          <a:xfrm>
            <a:off x="9665252" y="5306647"/>
            <a:ext cx="207131" cy="206011"/>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Oval 38">
            <a:extLst>
              <a:ext uri="{FF2B5EF4-FFF2-40B4-BE49-F238E27FC236}">
                <a16:creationId xmlns:a16="http://schemas.microsoft.com/office/drawing/2014/main" id="{ADCC46C3-B842-46DA-8DC6-545C26A7C9E8}"/>
              </a:ext>
            </a:extLst>
          </p:cNvPr>
          <p:cNvSpPr/>
          <p:nvPr/>
        </p:nvSpPr>
        <p:spPr bwMode="gray">
          <a:xfrm>
            <a:off x="4257461" y="2897552"/>
            <a:ext cx="3163150" cy="3138410"/>
          </a:xfrm>
          <a:prstGeom prst="ellipse">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800" b="1" err="1"/>
              <a:t>Valores</a:t>
            </a:r>
            <a:r>
              <a:rPr lang="en-US" sz="1800" b="1"/>
              <a:t> del Manifiesto Ágil</a:t>
            </a:r>
          </a:p>
        </p:txBody>
      </p:sp>
      <p:sp>
        <p:nvSpPr>
          <p:cNvPr id="44" name="Freeform 899">
            <a:extLst>
              <a:ext uri="{FF2B5EF4-FFF2-40B4-BE49-F238E27FC236}">
                <a16:creationId xmlns:a16="http://schemas.microsoft.com/office/drawing/2014/main" id="{7BDBBF98-A803-48FB-9D9E-6591484E4EAA}"/>
              </a:ext>
            </a:extLst>
          </p:cNvPr>
          <p:cNvSpPr>
            <a:spLocks noChangeAspect="1" noEditPoints="1"/>
          </p:cNvSpPr>
          <p:nvPr/>
        </p:nvSpPr>
        <p:spPr bwMode="auto">
          <a:xfrm>
            <a:off x="6685135" y="3224570"/>
            <a:ext cx="641216" cy="631891"/>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45" name="Freeform 249">
            <a:extLst>
              <a:ext uri="{FF2B5EF4-FFF2-40B4-BE49-F238E27FC236}">
                <a16:creationId xmlns:a16="http://schemas.microsoft.com/office/drawing/2014/main" id="{9F5415D6-B47E-44DD-B238-BEB6CA2C0725}"/>
              </a:ext>
            </a:extLst>
          </p:cNvPr>
          <p:cNvSpPr>
            <a:spLocks noChangeAspect="1" noEditPoints="1"/>
          </p:cNvSpPr>
          <p:nvPr/>
        </p:nvSpPr>
        <p:spPr bwMode="auto">
          <a:xfrm>
            <a:off x="6661526" y="5287558"/>
            <a:ext cx="676083" cy="670469"/>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46" name="Freeform 26">
            <a:extLst>
              <a:ext uri="{FF2B5EF4-FFF2-40B4-BE49-F238E27FC236}">
                <a16:creationId xmlns:a16="http://schemas.microsoft.com/office/drawing/2014/main" id="{5CE098CC-128B-457A-AC4A-72A1EE5D436F}"/>
              </a:ext>
            </a:extLst>
          </p:cNvPr>
          <p:cNvSpPr>
            <a:spLocks noChangeAspect="1" noEditPoints="1"/>
          </p:cNvSpPr>
          <p:nvPr/>
        </p:nvSpPr>
        <p:spPr bwMode="auto">
          <a:xfrm>
            <a:off x="4512973" y="5279413"/>
            <a:ext cx="679461" cy="673820"/>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48" name="Freeform 153">
            <a:extLst>
              <a:ext uri="{FF2B5EF4-FFF2-40B4-BE49-F238E27FC236}">
                <a16:creationId xmlns:a16="http://schemas.microsoft.com/office/drawing/2014/main" id="{0F240E81-CC0B-4BEF-A0A0-CB6B40B29749}"/>
              </a:ext>
            </a:extLst>
          </p:cNvPr>
          <p:cNvSpPr>
            <a:spLocks noChangeAspect="1" noEditPoints="1"/>
          </p:cNvSpPr>
          <p:nvPr/>
        </p:nvSpPr>
        <p:spPr bwMode="auto">
          <a:xfrm>
            <a:off x="4452558" y="3206063"/>
            <a:ext cx="679160" cy="668904"/>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49" name="Rectangle 48">
            <a:extLst>
              <a:ext uri="{FF2B5EF4-FFF2-40B4-BE49-F238E27FC236}">
                <a16:creationId xmlns:a16="http://schemas.microsoft.com/office/drawing/2014/main" id="{B5A75139-28FA-4ECC-9B6E-63B37FE52849}"/>
              </a:ext>
            </a:extLst>
          </p:cNvPr>
          <p:cNvSpPr/>
          <p:nvPr/>
        </p:nvSpPr>
        <p:spPr bwMode="gray">
          <a:xfrm>
            <a:off x="728293" y="3290791"/>
            <a:ext cx="2736678" cy="870990"/>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171450" indent="-171450">
              <a:lnSpc>
                <a:spcPct val="106000"/>
              </a:lnSpc>
              <a:buFont typeface="Arial" panose="020B0604020202020204" pitchFamily="34" charset="0"/>
              <a:buChar char="•"/>
            </a:pPr>
            <a:r>
              <a:rPr lang="es-ES" sz="1000">
                <a:ln w="0"/>
                <a:solidFill>
                  <a:schemeClr val="tx1"/>
                </a:solidFill>
              </a:rPr>
              <a:t>Desarrollo muy centrado en las personas.</a:t>
            </a:r>
          </a:p>
          <a:p>
            <a:pPr marL="171450" indent="-171450">
              <a:lnSpc>
                <a:spcPct val="106000"/>
              </a:lnSpc>
              <a:buFont typeface="Arial" panose="020B0604020202020204" pitchFamily="34" charset="0"/>
              <a:buChar char="•"/>
            </a:pPr>
            <a:r>
              <a:rPr lang="es-ES" sz="1000">
                <a:ln w="0"/>
                <a:solidFill>
                  <a:schemeClr val="tx1"/>
                </a:solidFill>
              </a:rPr>
              <a:t>Trabajo a través de la comunicación e interacción continuas.</a:t>
            </a:r>
          </a:p>
        </p:txBody>
      </p:sp>
      <p:sp>
        <p:nvSpPr>
          <p:cNvPr id="50" name="Rectangle 49">
            <a:extLst>
              <a:ext uri="{FF2B5EF4-FFF2-40B4-BE49-F238E27FC236}">
                <a16:creationId xmlns:a16="http://schemas.microsoft.com/office/drawing/2014/main" id="{C698E453-F613-46D7-977F-C9760B3387D0}"/>
              </a:ext>
            </a:extLst>
          </p:cNvPr>
          <p:cNvSpPr/>
          <p:nvPr/>
        </p:nvSpPr>
        <p:spPr bwMode="gray">
          <a:xfrm>
            <a:off x="728293" y="2627515"/>
            <a:ext cx="2736678" cy="662346"/>
          </a:xfrm>
          <a:prstGeom prst="rect">
            <a:avLst/>
          </a:prstGeom>
          <a:ln>
            <a:solidFill>
              <a:srgbClr val="0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b="1">
                <a:solidFill>
                  <a:schemeClr val="bg1"/>
                </a:solidFill>
              </a:rPr>
              <a:t>Individuos e interacciones sobre procesos y herramientas</a:t>
            </a:r>
          </a:p>
        </p:txBody>
      </p:sp>
      <p:sp>
        <p:nvSpPr>
          <p:cNvPr id="53" name="Rectangle 52">
            <a:extLst>
              <a:ext uri="{FF2B5EF4-FFF2-40B4-BE49-F238E27FC236}">
                <a16:creationId xmlns:a16="http://schemas.microsoft.com/office/drawing/2014/main" id="{D70EE005-D9E2-4DE2-8D0D-0B2990ED89F4}"/>
              </a:ext>
            </a:extLst>
          </p:cNvPr>
          <p:cNvSpPr/>
          <p:nvPr/>
        </p:nvSpPr>
        <p:spPr bwMode="gray">
          <a:xfrm>
            <a:off x="368443" y="5150843"/>
            <a:ext cx="3575059" cy="1156849"/>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171450" indent="-171450">
              <a:lnSpc>
                <a:spcPct val="106000"/>
              </a:lnSpc>
              <a:buFont typeface="Arial" panose="020B0604020202020204" pitchFamily="34" charset="0"/>
              <a:buChar char="•"/>
            </a:pPr>
            <a:r>
              <a:rPr lang="es-ES" sz="1000">
                <a:ln w="0"/>
                <a:solidFill>
                  <a:schemeClr val="tx1"/>
                </a:solidFill>
              </a:rPr>
              <a:t>Software en funcionamiento es más útil y valioso que documentación excesiva.</a:t>
            </a:r>
          </a:p>
          <a:p>
            <a:pPr marL="171450" indent="-171450">
              <a:lnSpc>
                <a:spcPct val="106000"/>
              </a:lnSpc>
              <a:buFont typeface="Arial" panose="020B0604020202020204" pitchFamily="34" charset="0"/>
              <a:buChar char="•"/>
            </a:pPr>
            <a:r>
              <a:rPr lang="es-ES" sz="1000">
                <a:ln w="0"/>
                <a:solidFill>
                  <a:schemeClr val="tx1"/>
                </a:solidFill>
              </a:rPr>
              <a:t>Útil en en entornos de negocio que cambian rápidamente y cuando se intenta innovar en un nuevo dominio de problemas.</a:t>
            </a:r>
          </a:p>
          <a:p>
            <a:pPr marL="171450" indent="-171450">
              <a:lnSpc>
                <a:spcPct val="106000"/>
              </a:lnSpc>
              <a:buFont typeface="Arial" panose="020B0604020202020204" pitchFamily="34" charset="0"/>
              <a:buChar char="•"/>
            </a:pPr>
            <a:r>
              <a:rPr lang="es-ES" sz="1000">
                <a:ln w="0"/>
                <a:solidFill>
                  <a:schemeClr val="tx1"/>
                </a:solidFill>
              </a:rPr>
              <a:t>Proporciona más tiempo de comercialización</a:t>
            </a:r>
          </a:p>
        </p:txBody>
      </p:sp>
      <p:sp>
        <p:nvSpPr>
          <p:cNvPr id="54" name="Rectangle 53">
            <a:extLst>
              <a:ext uri="{FF2B5EF4-FFF2-40B4-BE49-F238E27FC236}">
                <a16:creationId xmlns:a16="http://schemas.microsoft.com/office/drawing/2014/main" id="{0A5596BF-9FF7-44F7-97E9-C95795935EEE}"/>
              </a:ext>
            </a:extLst>
          </p:cNvPr>
          <p:cNvSpPr/>
          <p:nvPr/>
        </p:nvSpPr>
        <p:spPr bwMode="gray">
          <a:xfrm>
            <a:off x="368443" y="4477380"/>
            <a:ext cx="3575059" cy="672534"/>
          </a:xfrm>
          <a:prstGeom prst="rect">
            <a:avLst/>
          </a:prstGeom>
          <a:ln>
            <a:solidFill>
              <a:srgbClr val="0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b="1">
                <a:solidFill>
                  <a:schemeClr val="bg1"/>
                </a:solidFill>
              </a:rPr>
              <a:t>Software funcionando sobre documentación extensiva</a:t>
            </a:r>
          </a:p>
        </p:txBody>
      </p:sp>
      <p:sp>
        <p:nvSpPr>
          <p:cNvPr id="55" name="Rectangle 54">
            <a:extLst>
              <a:ext uri="{FF2B5EF4-FFF2-40B4-BE49-F238E27FC236}">
                <a16:creationId xmlns:a16="http://schemas.microsoft.com/office/drawing/2014/main" id="{25FE089C-36F4-4864-A540-78F94C807CB2}"/>
              </a:ext>
            </a:extLst>
          </p:cNvPr>
          <p:cNvSpPr/>
          <p:nvPr/>
        </p:nvSpPr>
        <p:spPr bwMode="gray">
          <a:xfrm>
            <a:off x="7873307" y="3320058"/>
            <a:ext cx="3327978" cy="684038"/>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171450" indent="-171450">
              <a:lnSpc>
                <a:spcPct val="106000"/>
              </a:lnSpc>
              <a:buFont typeface="Arial" panose="020B0604020202020204" pitchFamily="34" charset="0"/>
              <a:buChar char="•"/>
            </a:pPr>
            <a:r>
              <a:rPr lang="es-ES" sz="1000">
                <a:ln w="0"/>
                <a:solidFill>
                  <a:schemeClr val="tx1"/>
                </a:solidFill>
              </a:rPr>
              <a:t>Colaborar directamente con el cliente mejora la posibilidad de comprender exactamente lo que éste requiere</a:t>
            </a:r>
          </a:p>
        </p:txBody>
      </p:sp>
      <p:sp>
        <p:nvSpPr>
          <p:cNvPr id="56" name="Rectangle 55">
            <a:extLst>
              <a:ext uri="{FF2B5EF4-FFF2-40B4-BE49-F238E27FC236}">
                <a16:creationId xmlns:a16="http://schemas.microsoft.com/office/drawing/2014/main" id="{57FE3869-78E3-430E-A73F-9F3AAF12E92F}"/>
              </a:ext>
            </a:extLst>
          </p:cNvPr>
          <p:cNvSpPr/>
          <p:nvPr/>
        </p:nvSpPr>
        <p:spPr bwMode="gray">
          <a:xfrm>
            <a:off x="7873307" y="2658779"/>
            <a:ext cx="3327978" cy="661279"/>
          </a:xfrm>
          <a:prstGeom prst="rect">
            <a:avLst/>
          </a:prstGeom>
          <a:ln>
            <a:solidFill>
              <a:srgbClr val="0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b="1">
                <a:solidFill>
                  <a:schemeClr val="bg1"/>
                </a:solidFill>
              </a:rPr>
              <a:t>Colaboración con el cliente sobre negociación contractual</a:t>
            </a:r>
          </a:p>
        </p:txBody>
      </p:sp>
      <p:sp>
        <p:nvSpPr>
          <p:cNvPr id="59" name="Freeform 263">
            <a:extLst>
              <a:ext uri="{FF2B5EF4-FFF2-40B4-BE49-F238E27FC236}">
                <a16:creationId xmlns:a16="http://schemas.microsoft.com/office/drawing/2014/main" id="{14F74FFF-F6E8-4E13-87F9-D0552D1041E2}"/>
              </a:ext>
            </a:extLst>
          </p:cNvPr>
          <p:cNvSpPr>
            <a:spLocks noEditPoints="1"/>
          </p:cNvSpPr>
          <p:nvPr/>
        </p:nvSpPr>
        <p:spPr bwMode="auto">
          <a:xfrm>
            <a:off x="7956596" y="6001605"/>
            <a:ext cx="367167" cy="306088"/>
          </a:xfrm>
          <a:custGeom>
            <a:avLst/>
            <a:gdLst>
              <a:gd name="T0" fmla="*/ 37 w 216"/>
              <a:gd name="T1" fmla="*/ 68 h 199"/>
              <a:gd name="T2" fmla="*/ 82 w 216"/>
              <a:gd name="T3" fmla="*/ 20 h 199"/>
              <a:gd name="T4" fmla="*/ 113 w 216"/>
              <a:gd name="T5" fmla="*/ 49 h 199"/>
              <a:gd name="T6" fmla="*/ 68 w 216"/>
              <a:gd name="T7" fmla="*/ 98 h 199"/>
              <a:gd name="T8" fmla="*/ 37 w 216"/>
              <a:gd name="T9" fmla="*/ 68 h 199"/>
              <a:gd name="T10" fmla="*/ 118 w 216"/>
              <a:gd name="T11" fmla="*/ 45 h 199"/>
              <a:gd name="T12" fmla="*/ 126 w 216"/>
              <a:gd name="T13" fmla="*/ 45 h 199"/>
              <a:gd name="T14" fmla="*/ 130 w 216"/>
              <a:gd name="T15" fmla="*/ 42 h 199"/>
              <a:gd name="T16" fmla="*/ 130 w 216"/>
              <a:gd name="T17" fmla="*/ 33 h 199"/>
              <a:gd name="T18" fmla="*/ 97 w 216"/>
              <a:gd name="T19" fmla="*/ 3 h 199"/>
              <a:gd name="T20" fmla="*/ 89 w 216"/>
              <a:gd name="T21" fmla="*/ 3 h 199"/>
              <a:gd name="T22" fmla="*/ 85 w 216"/>
              <a:gd name="T23" fmla="*/ 6 h 199"/>
              <a:gd name="T24" fmla="*/ 85 w 216"/>
              <a:gd name="T25" fmla="*/ 15 h 199"/>
              <a:gd name="T26" fmla="*/ 118 w 216"/>
              <a:gd name="T27" fmla="*/ 45 h 199"/>
              <a:gd name="T28" fmla="*/ 52 w 216"/>
              <a:gd name="T29" fmla="*/ 115 h 199"/>
              <a:gd name="T30" fmla="*/ 61 w 216"/>
              <a:gd name="T31" fmla="*/ 115 h 199"/>
              <a:gd name="T32" fmla="*/ 64 w 216"/>
              <a:gd name="T33" fmla="*/ 111 h 199"/>
              <a:gd name="T34" fmla="*/ 64 w 216"/>
              <a:gd name="T35" fmla="*/ 103 h 199"/>
              <a:gd name="T36" fmla="*/ 31 w 216"/>
              <a:gd name="T37" fmla="*/ 72 h 199"/>
              <a:gd name="T38" fmla="*/ 23 w 216"/>
              <a:gd name="T39" fmla="*/ 73 h 199"/>
              <a:gd name="T40" fmla="*/ 19 w 216"/>
              <a:gd name="T41" fmla="*/ 76 h 199"/>
              <a:gd name="T42" fmla="*/ 20 w 216"/>
              <a:gd name="T43" fmla="*/ 85 h 199"/>
              <a:gd name="T44" fmla="*/ 52 w 216"/>
              <a:gd name="T45" fmla="*/ 115 h 199"/>
              <a:gd name="T46" fmla="*/ 88 w 216"/>
              <a:gd name="T47" fmla="*/ 85 h 199"/>
              <a:gd name="T48" fmla="*/ 196 w 216"/>
              <a:gd name="T49" fmla="*/ 187 h 199"/>
              <a:gd name="T50" fmla="*/ 209 w 216"/>
              <a:gd name="T51" fmla="*/ 189 h 199"/>
              <a:gd name="T52" fmla="*/ 213 w 216"/>
              <a:gd name="T53" fmla="*/ 184 h 199"/>
              <a:gd name="T54" fmla="*/ 210 w 216"/>
              <a:gd name="T55" fmla="*/ 172 h 199"/>
              <a:gd name="T56" fmla="*/ 102 w 216"/>
              <a:gd name="T57" fmla="*/ 71 h 199"/>
              <a:gd name="T58" fmla="*/ 88 w 216"/>
              <a:gd name="T59" fmla="*/ 85 h 199"/>
              <a:gd name="T60" fmla="*/ 125 w 216"/>
              <a:gd name="T61" fmla="*/ 186 h 199"/>
              <a:gd name="T62" fmla="*/ 123 w 216"/>
              <a:gd name="T63" fmla="*/ 184 h 199"/>
              <a:gd name="T64" fmla="*/ 3 w 216"/>
              <a:gd name="T65" fmla="*/ 184 h 199"/>
              <a:gd name="T66" fmla="*/ 0 w 216"/>
              <a:gd name="T67" fmla="*/ 186 h 199"/>
              <a:gd name="T68" fmla="*/ 0 w 216"/>
              <a:gd name="T69" fmla="*/ 197 h 199"/>
              <a:gd name="T70" fmla="*/ 3 w 216"/>
              <a:gd name="T71" fmla="*/ 199 h 199"/>
              <a:gd name="T72" fmla="*/ 123 w 216"/>
              <a:gd name="T73" fmla="*/ 199 h 199"/>
              <a:gd name="T74" fmla="*/ 125 w 216"/>
              <a:gd name="T75" fmla="*/ 197 h 199"/>
              <a:gd name="T76" fmla="*/ 125 w 216"/>
              <a:gd name="T77" fmla="*/ 186 h 199"/>
              <a:gd name="T78" fmla="*/ 27 w 216"/>
              <a:gd name="T79" fmla="*/ 164 h 199"/>
              <a:gd name="T80" fmla="*/ 98 w 216"/>
              <a:gd name="T81" fmla="*/ 164 h 199"/>
              <a:gd name="T82" fmla="*/ 107 w 216"/>
              <a:gd name="T83" fmla="*/ 170 h 199"/>
              <a:gd name="T84" fmla="*/ 107 w 216"/>
              <a:gd name="T85" fmla="*/ 177 h 199"/>
              <a:gd name="T86" fmla="*/ 19 w 216"/>
              <a:gd name="T87" fmla="*/ 177 h 199"/>
              <a:gd name="T88" fmla="*/ 19 w 216"/>
              <a:gd name="T89" fmla="*/ 170 h 199"/>
              <a:gd name="T90" fmla="*/ 27 w 216"/>
              <a:gd name="T91" fmla="*/ 16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199">
                <a:moveTo>
                  <a:pt x="37" y="68"/>
                </a:moveTo>
                <a:cubicBezTo>
                  <a:pt x="82" y="20"/>
                  <a:pt x="82" y="20"/>
                  <a:pt x="82" y="20"/>
                </a:cubicBezTo>
                <a:cubicBezTo>
                  <a:pt x="113" y="49"/>
                  <a:pt x="113" y="49"/>
                  <a:pt x="113" y="49"/>
                </a:cubicBezTo>
                <a:cubicBezTo>
                  <a:pt x="68" y="98"/>
                  <a:pt x="68" y="98"/>
                  <a:pt x="68" y="98"/>
                </a:cubicBezTo>
                <a:lnTo>
                  <a:pt x="37" y="68"/>
                </a:lnTo>
                <a:close/>
                <a:moveTo>
                  <a:pt x="118" y="45"/>
                </a:moveTo>
                <a:cubicBezTo>
                  <a:pt x="121" y="48"/>
                  <a:pt x="124" y="47"/>
                  <a:pt x="126" y="45"/>
                </a:cubicBezTo>
                <a:cubicBezTo>
                  <a:pt x="130" y="42"/>
                  <a:pt x="130" y="42"/>
                  <a:pt x="130" y="42"/>
                </a:cubicBezTo>
                <a:cubicBezTo>
                  <a:pt x="132" y="39"/>
                  <a:pt x="132" y="35"/>
                  <a:pt x="130" y="33"/>
                </a:cubicBezTo>
                <a:cubicBezTo>
                  <a:pt x="97" y="3"/>
                  <a:pt x="97" y="3"/>
                  <a:pt x="97" y="3"/>
                </a:cubicBezTo>
                <a:cubicBezTo>
                  <a:pt x="94" y="0"/>
                  <a:pt x="91" y="0"/>
                  <a:pt x="89" y="3"/>
                </a:cubicBezTo>
                <a:cubicBezTo>
                  <a:pt x="85" y="6"/>
                  <a:pt x="85" y="6"/>
                  <a:pt x="85" y="6"/>
                </a:cubicBezTo>
                <a:cubicBezTo>
                  <a:pt x="83" y="9"/>
                  <a:pt x="83" y="12"/>
                  <a:pt x="85" y="15"/>
                </a:cubicBezTo>
                <a:lnTo>
                  <a:pt x="118" y="45"/>
                </a:lnTo>
                <a:close/>
                <a:moveTo>
                  <a:pt x="52" y="115"/>
                </a:moveTo>
                <a:cubicBezTo>
                  <a:pt x="55" y="117"/>
                  <a:pt x="58" y="117"/>
                  <a:pt x="61" y="115"/>
                </a:cubicBezTo>
                <a:cubicBezTo>
                  <a:pt x="64" y="111"/>
                  <a:pt x="64" y="111"/>
                  <a:pt x="64" y="111"/>
                </a:cubicBezTo>
                <a:cubicBezTo>
                  <a:pt x="66" y="109"/>
                  <a:pt x="66" y="105"/>
                  <a:pt x="64" y="103"/>
                </a:cubicBezTo>
                <a:cubicBezTo>
                  <a:pt x="31" y="72"/>
                  <a:pt x="31" y="72"/>
                  <a:pt x="31" y="72"/>
                </a:cubicBezTo>
                <a:cubicBezTo>
                  <a:pt x="29" y="70"/>
                  <a:pt x="25" y="70"/>
                  <a:pt x="23" y="73"/>
                </a:cubicBezTo>
                <a:cubicBezTo>
                  <a:pt x="19" y="76"/>
                  <a:pt x="19" y="76"/>
                  <a:pt x="19" y="76"/>
                </a:cubicBezTo>
                <a:cubicBezTo>
                  <a:pt x="17" y="79"/>
                  <a:pt x="17" y="82"/>
                  <a:pt x="20" y="85"/>
                </a:cubicBezTo>
                <a:lnTo>
                  <a:pt x="52" y="115"/>
                </a:lnTo>
                <a:close/>
                <a:moveTo>
                  <a:pt x="88" y="85"/>
                </a:moveTo>
                <a:cubicBezTo>
                  <a:pt x="196" y="187"/>
                  <a:pt x="196" y="187"/>
                  <a:pt x="196" y="187"/>
                </a:cubicBezTo>
                <a:cubicBezTo>
                  <a:pt x="201" y="191"/>
                  <a:pt x="206" y="192"/>
                  <a:pt x="209" y="189"/>
                </a:cubicBezTo>
                <a:cubicBezTo>
                  <a:pt x="213" y="184"/>
                  <a:pt x="213" y="184"/>
                  <a:pt x="213" y="184"/>
                </a:cubicBezTo>
                <a:cubicBezTo>
                  <a:pt x="216" y="182"/>
                  <a:pt x="214" y="176"/>
                  <a:pt x="210" y="172"/>
                </a:cubicBezTo>
                <a:cubicBezTo>
                  <a:pt x="102" y="71"/>
                  <a:pt x="102" y="71"/>
                  <a:pt x="102" y="71"/>
                </a:cubicBezTo>
                <a:lnTo>
                  <a:pt x="88" y="85"/>
                </a:lnTo>
                <a:close/>
                <a:moveTo>
                  <a:pt x="125" y="186"/>
                </a:moveTo>
                <a:cubicBezTo>
                  <a:pt x="125" y="185"/>
                  <a:pt x="124" y="184"/>
                  <a:pt x="123" y="184"/>
                </a:cubicBezTo>
                <a:cubicBezTo>
                  <a:pt x="3" y="184"/>
                  <a:pt x="3" y="184"/>
                  <a:pt x="3" y="184"/>
                </a:cubicBezTo>
                <a:cubicBezTo>
                  <a:pt x="2" y="184"/>
                  <a:pt x="0" y="185"/>
                  <a:pt x="0" y="186"/>
                </a:cubicBezTo>
                <a:cubicBezTo>
                  <a:pt x="0" y="197"/>
                  <a:pt x="0" y="197"/>
                  <a:pt x="0" y="197"/>
                </a:cubicBezTo>
                <a:cubicBezTo>
                  <a:pt x="0" y="198"/>
                  <a:pt x="2" y="199"/>
                  <a:pt x="3" y="199"/>
                </a:cubicBezTo>
                <a:cubicBezTo>
                  <a:pt x="123" y="199"/>
                  <a:pt x="123" y="199"/>
                  <a:pt x="123" y="199"/>
                </a:cubicBezTo>
                <a:cubicBezTo>
                  <a:pt x="124" y="199"/>
                  <a:pt x="125" y="198"/>
                  <a:pt x="125" y="197"/>
                </a:cubicBezTo>
                <a:lnTo>
                  <a:pt x="125" y="186"/>
                </a:lnTo>
                <a:close/>
                <a:moveTo>
                  <a:pt x="27" y="164"/>
                </a:moveTo>
                <a:cubicBezTo>
                  <a:pt x="98" y="164"/>
                  <a:pt x="98" y="164"/>
                  <a:pt x="98" y="164"/>
                </a:cubicBezTo>
                <a:cubicBezTo>
                  <a:pt x="102" y="164"/>
                  <a:pt x="106" y="167"/>
                  <a:pt x="107" y="170"/>
                </a:cubicBezTo>
                <a:cubicBezTo>
                  <a:pt x="107" y="177"/>
                  <a:pt x="107" y="177"/>
                  <a:pt x="107" y="177"/>
                </a:cubicBezTo>
                <a:cubicBezTo>
                  <a:pt x="19" y="177"/>
                  <a:pt x="19" y="177"/>
                  <a:pt x="19" y="177"/>
                </a:cubicBezTo>
                <a:cubicBezTo>
                  <a:pt x="19" y="170"/>
                  <a:pt x="19" y="170"/>
                  <a:pt x="19" y="170"/>
                </a:cubicBezTo>
                <a:cubicBezTo>
                  <a:pt x="20" y="167"/>
                  <a:pt x="23" y="164"/>
                  <a:pt x="27" y="1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60" name="Freeform 685">
            <a:extLst>
              <a:ext uri="{FF2B5EF4-FFF2-40B4-BE49-F238E27FC236}">
                <a16:creationId xmlns:a16="http://schemas.microsoft.com/office/drawing/2014/main" id="{3D1F0A89-067B-4D7D-AA41-ED6C03096218}"/>
              </a:ext>
            </a:extLst>
          </p:cNvPr>
          <p:cNvSpPr>
            <a:spLocks noEditPoints="1"/>
          </p:cNvSpPr>
          <p:nvPr/>
        </p:nvSpPr>
        <p:spPr bwMode="auto">
          <a:xfrm>
            <a:off x="8819562" y="6550110"/>
            <a:ext cx="268054" cy="206011"/>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Rectangle 60">
            <a:extLst>
              <a:ext uri="{FF2B5EF4-FFF2-40B4-BE49-F238E27FC236}">
                <a16:creationId xmlns:a16="http://schemas.microsoft.com/office/drawing/2014/main" id="{0C14C63A-71D4-4237-9274-C71835823128}"/>
              </a:ext>
            </a:extLst>
          </p:cNvPr>
          <p:cNvSpPr/>
          <p:nvPr/>
        </p:nvSpPr>
        <p:spPr bwMode="gray">
          <a:xfrm>
            <a:off x="7873307" y="5434175"/>
            <a:ext cx="3583890" cy="1012038"/>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171450" indent="-171450">
              <a:lnSpc>
                <a:spcPct val="106000"/>
              </a:lnSpc>
              <a:buFont typeface="Arial" panose="020B0604020202020204" pitchFamily="34" charset="0"/>
              <a:buChar char="•"/>
            </a:pPr>
            <a:r>
              <a:rPr lang="es-ES" sz="1000">
                <a:ln w="0"/>
                <a:solidFill>
                  <a:schemeClr val="tx1"/>
                </a:solidFill>
              </a:rPr>
              <a:t>El cambio es inevitable en los proyectos de software</a:t>
            </a:r>
          </a:p>
          <a:p>
            <a:pPr marL="171450" indent="-171450">
              <a:lnSpc>
                <a:spcPct val="106000"/>
              </a:lnSpc>
              <a:buFont typeface="Arial" panose="020B0604020202020204" pitchFamily="34" charset="0"/>
              <a:buChar char="•"/>
            </a:pPr>
            <a:r>
              <a:rPr lang="es-ES" sz="1000">
                <a:ln w="0"/>
                <a:solidFill>
                  <a:schemeClr val="tx1"/>
                </a:solidFill>
              </a:rPr>
              <a:t>Es importante tener flexibilidad en las prácticas de trabajo para aceptar el cambio.</a:t>
            </a:r>
          </a:p>
        </p:txBody>
      </p:sp>
      <p:sp>
        <p:nvSpPr>
          <p:cNvPr id="62" name="Rectangle 61">
            <a:extLst>
              <a:ext uri="{FF2B5EF4-FFF2-40B4-BE49-F238E27FC236}">
                <a16:creationId xmlns:a16="http://schemas.microsoft.com/office/drawing/2014/main" id="{D0881D42-93BB-461A-880A-F0F65951678D}"/>
              </a:ext>
            </a:extLst>
          </p:cNvPr>
          <p:cNvSpPr/>
          <p:nvPr/>
        </p:nvSpPr>
        <p:spPr bwMode="gray">
          <a:xfrm>
            <a:off x="7873307" y="4937651"/>
            <a:ext cx="3583890" cy="490946"/>
          </a:xfrm>
          <a:prstGeom prst="rect">
            <a:avLst/>
          </a:prstGeom>
          <a:ln>
            <a:solidFill>
              <a:srgbClr val="0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s-ES" sz="1100" b="1">
                <a:solidFill>
                  <a:schemeClr val="bg1"/>
                </a:solidFill>
              </a:rPr>
              <a:t>Respuesta ante el cambio sobre seguir un plan</a:t>
            </a:r>
          </a:p>
        </p:txBody>
      </p:sp>
      <p:cxnSp>
        <p:nvCxnSpPr>
          <p:cNvPr id="65" name="Straight Connector 64">
            <a:extLst>
              <a:ext uri="{FF2B5EF4-FFF2-40B4-BE49-F238E27FC236}">
                <a16:creationId xmlns:a16="http://schemas.microsoft.com/office/drawing/2014/main" id="{F90731D5-0835-405A-ADE2-B25ABDDA26B5}"/>
              </a:ext>
            </a:extLst>
          </p:cNvPr>
          <p:cNvCxnSpPr>
            <a:cxnSpLocks/>
            <a:stCxn id="53" idx="3"/>
            <a:endCxn id="46" idx="29"/>
          </p:cNvCxnSpPr>
          <p:nvPr/>
        </p:nvCxnSpPr>
        <p:spPr>
          <a:xfrm flipV="1">
            <a:off x="3943502" y="5616323"/>
            <a:ext cx="569471" cy="11294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E885526-DF2C-4841-9518-DCB2F15150CB}"/>
              </a:ext>
            </a:extLst>
          </p:cNvPr>
          <p:cNvCxnSpPr>
            <a:cxnSpLocks/>
            <a:stCxn id="49" idx="3"/>
            <a:endCxn id="48" idx="39"/>
          </p:cNvCxnSpPr>
          <p:nvPr/>
        </p:nvCxnSpPr>
        <p:spPr>
          <a:xfrm flipV="1">
            <a:off x="3464971" y="3540515"/>
            <a:ext cx="987587" cy="1857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12754A9-5548-4633-B766-32C3243E61DE}"/>
              </a:ext>
            </a:extLst>
          </p:cNvPr>
          <p:cNvCxnSpPr>
            <a:cxnSpLocks/>
            <a:stCxn id="44" idx="15"/>
            <a:endCxn id="55" idx="1"/>
          </p:cNvCxnSpPr>
          <p:nvPr/>
        </p:nvCxnSpPr>
        <p:spPr>
          <a:xfrm>
            <a:off x="7326351" y="3540516"/>
            <a:ext cx="546956" cy="12156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521D2BE-37DB-4E5D-A41E-BB3DB8AF1E6A}"/>
              </a:ext>
            </a:extLst>
          </p:cNvPr>
          <p:cNvCxnSpPr>
            <a:cxnSpLocks/>
            <a:stCxn id="45" idx="11"/>
            <a:endCxn id="61" idx="1"/>
          </p:cNvCxnSpPr>
          <p:nvPr/>
        </p:nvCxnSpPr>
        <p:spPr>
          <a:xfrm>
            <a:off x="7337609" y="5622793"/>
            <a:ext cx="535698" cy="31740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BF43973C-4255-E44F-DFF4-83673F4C091D}"/>
              </a:ext>
            </a:extLst>
          </p:cNvPr>
          <p:cNvSpPr/>
          <p:nvPr/>
        </p:nvSpPr>
        <p:spPr bwMode="gray">
          <a:xfrm>
            <a:off x="427537" y="1663155"/>
            <a:ext cx="5977747"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1.1. El Desarrollo Ágil de Software y el Manifiesto Ágil</a:t>
            </a:r>
          </a:p>
        </p:txBody>
      </p:sp>
    </p:spTree>
    <p:extLst>
      <p:ext uri="{BB962C8B-B14F-4D97-AF65-F5344CB8AC3E}">
        <p14:creationId xmlns:p14="http://schemas.microsoft.com/office/powerpoint/2010/main" val="30370225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2</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137062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3</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5232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uál de las siguientes afirmaciones es FALSA sobre el ciclo </a:t>
            </a:r>
            <a:r>
              <a:rPr lang="es-ES" sz="1400" i="1">
                <a:latin typeface="+mj-lt"/>
                <a:cs typeface="Times New Roman" panose="02020603050405020304" pitchFamily="18" charset="0"/>
              </a:rPr>
              <a:t>“Construcción – Instalación – Fallo – Reconstrucción – Reinstalación”? </a:t>
            </a:r>
            <a:endParaRPr lang="es-ES" sz="1400">
              <a:latin typeface="+mj-lt"/>
              <a:cs typeface="Times New Roman" panose="02020603050405020304" pitchFamily="18" charset="0"/>
            </a:endParaRP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524000" y="3486149"/>
            <a:ext cx="5940000" cy="6480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s un ciclo ineficiente resuelto mediante la gestión de la configuración.</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47012" y="3576001"/>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524000" y="4281416"/>
            <a:ext cx="5940000" cy="465931"/>
          </a:xfrm>
          <a:prstGeom prst="roundRect">
            <a:avLst/>
          </a:prstGeom>
          <a:solidFill>
            <a:schemeClr val="bg1">
              <a:lumMod val="95000"/>
            </a:schemeClr>
          </a:solidFill>
          <a:ln w="31750" algn="ctr">
            <a:solidFill>
              <a:schemeClr val="accent2"/>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Es un ciclo ineficiente resuelto mediante el uso de Scrum.</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47012" y="4281416"/>
            <a:ext cx="468000" cy="46800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524000" y="4888945"/>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Los informes de prueba en tiempo real ayudan a resolverlo.</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47012" y="488894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0" y="5494405"/>
            <a:ext cx="5940000" cy="648000"/>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s un ciclo ineficiente que ocurre en muchos proyectos tradicionales.</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47012" y="5585200"/>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
        <p:nvSpPr>
          <p:cNvPr id="3" name="Rectangle 2">
            <a:extLst>
              <a:ext uri="{FF2B5EF4-FFF2-40B4-BE49-F238E27FC236}">
                <a16:creationId xmlns:a16="http://schemas.microsoft.com/office/drawing/2014/main" id="{1ADAAFE4-1EA0-43DA-7301-8C88BA844250}"/>
              </a:ext>
            </a:extLst>
          </p:cNvPr>
          <p:cNvSpPr/>
          <p:nvPr/>
        </p:nvSpPr>
        <p:spPr bwMode="gray">
          <a:xfrm>
            <a:off x="736601" y="3381027"/>
            <a:ext cx="6826250" cy="829023"/>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Rectangle 6">
            <a:extLst>
              <a:ext uri="{FF2B5EF4-FFF2-40B4-BE49-F238E27FC236}">
                <a16:creationId xmlns:a16="http://schemas.microsoft.com/office/drawing/2014/main" id="{D89BF387-F7DB-2C6C-9B8C-CD1AF606167B}"/>
              </a:ext>
            </a:extLst>
          </p:cNvPr>
          <p:cNvSpPr/>
          <p:nvPr/>
        </p:nvSpPr>
        <p:spPr bwMode="gray">
          <a:xfrm>
            <a:off x="847012" y="4818713"/>
            <a:ext cx="6715839" cy="1420162"/>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1" name="TextBox 10">
            <a:extLst>
              <a:ext uri="{FF2B5EF4-FFF2-40B4-BE49-F238E27FC236}">
                <a16:creationId xmlns:a16="http://schemas.microsoft.com/office/drawing/2014/main" id="{CB8FC917-B883-5978-3820-93E4A4128BDD}"/>
              </a:ext>
            </a:extLst>
          </p:cNvPr>
          <p:cNvSpPr txBox="1"/>
          <p:nvPr/>
        </p:nvSpPr>
        <p:spPr>
          <a:xfrm>
            <a:off x="7672988" y="4281416"/>
            <a:ext cx="3932314" cy="1918474"/>
          </a:xfrm>
          <a:prstGeom prst="rect">
            <a:avLst/>
          </a:prstGeom>
          <a:noFill/>
        </p:spPr>
        <p:txBody>
          <a:bodyPr wrap="square">
            <a:spAutoFit/>
          </a:bodyPr>
          <a:lstStyle/>
          <a:p>
            <a:pPr>
              <a:spcAft>
                <a:spcPts val="800"/>
              </a:spcAft>
            </a:pPr>
            <a:r>
              <a:rPr lang="es-ES" sz="1400" i="1">
                <a:latin typeface="+mj-lt"/>
                <a:cs typeface="Times New Roman" panose="02020603050405020304" pitchFamily="18" charset="0"/>
              </a:rPr>
              <a:t>El ciclo “Construcción – Instalación – Fallo – Reconstrucción – Reinstalación” es un ciclo ineficiente resuelto gracias a los informes de prueba en tiempo real que proporcionan las herramientas de gestión de la configuración.</a:t>
            </a:r>
          </a:p>
          <a:p>
            <a:pPr>
              <a:spcAft>
                <a:spcPts val="800"/>
              </a:spcAft>
            </a:pPr>
            <a:r>
              <a:rPr lang="es-ES" sz="1400" i="1">
                <a:latin typeface="+mj-lt"/>
                <a:cs typeface="Times New Roman" panose="02020603050405020304" pitchFamily="18" charset="0"/>
              </a:rPr>
              <a:t>No se resuelve usando la metodología Scrum.</a:t>
            </a:r>
          </a:p>
        </p:txBody>
      </p:sp>
    </p:spTree>
    <p:extLst>
      <p:ext uri="{BB962C8B-B14F-4D97-AF65-F5344CB8AC3E}">
        <p14:creationId xmlns:p14="http://schemas.microsoft.com/office/powerpoint/2010/main" val="364532897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2</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20870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4</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307777"/>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uál es el RIESGO de tener probadores integrados dentro del equipo asignados desde el principio del proyecto?</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524000" y="3370722"/>
            <a:ext cx="5940000" cy="4644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Pérdida de independencia.</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47012" y="3366451"/>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524000" y="3995666"/>
            <a:ext cx="5940000" cy="465931"/>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Tienen menos conocimiento del producto.</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47012" y="399566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524000" y="4603195"/>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Perjudica a la relación con los desarrolladores.</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47012" y="460319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0" y="5208655"/>
            <a:ext cx="5940000" cy="464400"/>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Sienten más presión de tiempo.</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47012" y="520505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108576752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2</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20870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4</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307777"/>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uál es el RIESGO de tener probadores integrados dentro del equipo asignados desde el principio del proyecto?</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524000" y="3370722"/>
            <a:ext cx="5940000" cy="464400"/>
          </a:xfrm>
          <a:prstGeom prst="roundRect">
            <a:avLst/>
          </a:prstGeom>
          <a:solidFill>
            <a:schemeClr val="bg1">
              <a:lumMod val="95000"/>
            </a:schemeClr>
          </a:solidFill>
          <a:ln w="31750" algn="ctr">
            <a:solidFill>
              <a:schemeClr val="accent2"/>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Pérdida de independencia.</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47012" y="3366451"/>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524000" y="3995666"/>
            <a:ext cx="5940000" cy="465931"/>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Tienen menos conocimiento del producto.</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47012" y="399566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524000" y="4603195"/>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Perjudica a la relación con los desarrolladores.</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47012" y="460319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0" y="5208655"/>
            <a:ext cx="5940000" cy="464400"/>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Sienten más presión de tiempo.</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47012" y="520505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
        <p:nvSpPr>
          <p:cNvPr id="3" name="Rectangle 2">
            <a:extLst>
              <a:ext uri="{FF2B5EF4-FFF2-40B4-BE49-F238E27FC236}">
                <a16:creationId xmlns:a16="http://schemas.microsoft.com/office/drawing/2014/main" id="{786A62C8-5114-D882-F069-579C3AA0C1D0}"/>
              </a:ext>
            </a:extLst>
          </p:cNvPr>
          <p:cNvSpPr/>
          <p:nvPr/>
        </p:nvSpPr>
        <p:spPr bwMode="gray">
          <a:xfrm>
            <a:off x="765162" y="3891756"/>
            <a:ext cx="6826250" cy="1947069"/>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TextBox 6">
            <a:extLst>
              <a:ext uri="{FF2B5EF4-FFF2-40B4-BE49-F238E27FC236}">
                <a16:creationId xmlns:a16="http://schemas.microsoft.com/office/drawing/2014/main" id="{533216D4-5938-A0B3-C5B9-C56CB2389023}"/>
              </a:ext>
            </a:extLst>
          </p:cNvPr>
          <p:cNvSpPr txBox="1"/>
          <p:nvPr/>
        </p:nvSpPr>
        <p:spPr>
          <a:xfrm>
            <a:off x="7672988" y="3366451"/>
            <a:ext cx="3932314" cy="2985433"/>
          </a:xfrm>
          <a:prstGeom prst="rect">
            <a:avLst/>
          </a:prstGeom>
          <a:noFill/>
        </p:spPr>
        <p:txBody>
          <a:bodyPr wrap="square">
            <a:spAutoFit/>
          </a:bodyPr>
          <a:lstStyle/>
          <a:p>
            <a:pPr>
              <a:spcAft>
                <a:spcPts val="800"/>
              </a:spcAft>
            </a:pPr>
            <a:r>
              <a:rPr lang="es-ES" sz="1400" i="1">
                <a:latin typeface="+mj-lt"/>
                <a:cs typeface="Times New Roman" panose="02020603050405020304" pitchFamily="18" charset="0"/>
              </a:rPr>
              <a:t>Los probadores asignados desde el principio pierden independencia.</a:t>
            </a:r>
          </a:p>
          <a:p>
            <a:pPr>
              <a:spcAft>
                <a:spcPts val="800"/>
              </a:spcAft>
            </a:pPr>
            <a:r>
              <a:rPr lang="es-ES" sz="1400" i="1">
                <a:latin typeface="+mj-lt"/>
                <a:cs typeface="Times New Roman" panose="02020603050405020304" pitchFamily="18" charset="0"/>
              </a:rPr>
              <a:t>Al estar asignados desde el principio, sí tendrán un mayor conocimiento del producto, por lo que descartamos la B.</a:t>
            </a:r>
          </a:p>
          <a:p>
            <a:pPr>
              <a:spcAft>
                <a:spcPts val="800"/>
              </a:spcAft>
            </a:pPr>
            <a:r>
              <a:rPr lang="es-ES" sz="1400" i="1">
                <a:latin typeface="+mj-lt"/>
                <a:cs typeface="Times New Roman" panose="02020603050405020304" pitchFamily="18" charset="0"/>
              </a:rPr>
              <a:t>Al estar asignados desde el principio, tendrán una mejor relación con el resto del equipo, por lo que descartamos la C.</a:t>
            </a:r>
          </a:p>
          <a:p>
            <a:pPr>
              <a:spcAft>
                <a:spcPts val="800"/>
              </a:spcAft>
            </a:pPr>
            <a:r>
              <a:rPr lang="es-ES" sz="1400" i="1">
                <a:latin typeface="+mj-lt"/>
                <a:cs typeface="Times New Roman" panose="02020603050405020304" pitchFamily="18" charset="0"/>
              </a:rPr>
              <a:t>La presión de tiempo suele afectar a los probadores asignados al final del sprint, ya que no tienen conocimiento del producto, por lo que descartamos la D.</a:t>
            </a:r>
          </a:p>
        </p:txBody>
      </p:sp>
    </p:spTree>
    <p:extLst>
      <p:ext uri="{BB962C8B-B14F-4D97-AF65-F5344CB8AC3E}">
        <p14:creationId xmlns:p14="http://schemas.microsoft.com/office/powerpoint/2010/main" val="64454732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2</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20870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5</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307777"/>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uál de las siguientes opciones puede reducir la efectividad de la prueba?</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524000" y="3370722"/>
            <a:ext cx="5940000" cy="46440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Dependencia excesiva de las pruebas unitarias.</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47012" y="3366451"/>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524000" y="3995666"/>
            <a:ext cx="5940000" cy="465931"/>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Involucrar a probadores independientes en el proyecto.</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47012" y="399566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524000" y="4603195"/>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Usar tableros de tareas y gráficos de evolución.</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47012" y="460319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0" y="5208655"/>
            <a:ext cx="5940000" cy="464400"/>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jecutar pruebas de aceptación diariamente.</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47012" y="520505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408233021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PREGUNTAS TEMA 2</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20870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979125"/>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5</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458963"/>
            <a:ext cx="10958921" cy="307777"/>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Cuál de las siguientes opciones puede reducir la efectividad de la prueba?</a:t>
            </a:r>
          </a:p>
        </p:txBody>
      </p:sp>
      <p:sp>
        <p:nvSpPr>
          <p:cNvPr id="9" name="Rectangle: Rounded Corners 8">
            <a:extLst>
              <a:ext uri="{FF2B5EF4-FFF2-40B4-BE49-F238E27FC236}">
                <a16:creationId xmlns:a16="http://schemas.microsoft.com/office/drawing/2014/main" id="{0F53B193-3D83-4085-3167-54BA7BAB2CE9}"/>
              </a:ext>
            </a:extLst>
          </p:cNvPr>
          <p:cNvSpPr/>
          <p:nvPr/>
        </p:nvSpPr>
        <p:spPr bwMode="gray">
          <a:xfrm>
            <a:off x="1524000" y="3370722"/>
            <a:ext cx="5940000" cy="464400"/>
          </a:xfrm>
          <a:prstGeom prst="roundRect">
            <a:avLst/>
          </a:prstGeom>
          <a:solidFill>
            <a:schemeClr val="bg1">
              <a:lumMod val="95000"/>
            </a:schemeClr>
          </a:solidFill>
          <a:ln w="31750" algn="ctr">
            <a:solidFill>
              <a:schemeClr val="accent2"/>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Dependencia excesiva de las pruebas unitarias.</a:t>
            </a:r>
          </a:p>
        </p:txBody>
      </p:sp>
      <p:sp>
        <p:nvSpPr>
          <p:cNvPr id="10" name="Oval 9">
            <a:extLst>
              <a:ext uri="{FF2B5EF4-FFF2-40B4-BE49-F238E27FC236}">
                <a16:creationId xmlns:a16="http://schemas.microsoft.com/office/drawing/2014/main" id="{9A96A622-2269-BC5B-62C1-6E2FE90027B6}"/>
              </a:ext>
            </a:extLst>
          </p:cNvPr>
          <p:cNvSpPr/>
          <p:nvPr/>
        </p:nvSpPr>
        <p:spPr bwMode="gray">
          <a:xfrm>
            <a:off x="847012" y="3366451"/>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3" name="Rectangle: Rounded Corners 12">
            <a:extLst>
              <a:ext uri="{FF2B5EF4-FFF2-40B4-BE49-F238E27FC236}">
                <a16:creationId xmlns:a16="http://schemas.microsoft.com/office/drawing/2014/main" id="{2291B22A-6F24-8B51-C329-C12030956359}"/>
              </a:ext>
            </a:extLst>
          </p:cNvPr>
          <p:cNvSpPr/>
          <p:nvPr/>
        </p:nvSpPr>
        <p:spPr bwMode="gray">
          <a:xfrm>
            <a:off x="1524000" y="3995666"/>
            <a:ext cx="5940000" cy="465931"/>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Involucrar a probadores independientes en el proyecto.</a:t>
            </a:r>
          </a:p>
        </p:txBody>
      </p:sp>
      <p:sp>
        <p:nvSpPr>
          <p:cNvPr id="14" name="Oval 13">
            <a:extLst>
              <a:ext uri="{FF2B5EF4-FFF2-40B4-BE49-F238E27FC236}">
                <a16:creationId xmlns:a16="http://schemas.microsoft.com/office/drawing/2014/main" id="{74B202E8-E512-0862-224A-58096BE625C7}"/>
              </a:ext>
            </a:extLst>
          </p:cNvPr>
          <p:cNvSpPr/>
          <p:nvPr/>
        </p:nvSpPr>
        <p:spPr bwMode="gray">
          <a:xfrm>
            <a:off x="847012" y="399566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16" name="Rectangle: Rounded Corners 15">
            <a:extLst>
              <a:ext uri="{FF2B5EF4-FFF2-40B4-BE49-F238E27FC236}">
                <a16:creationId xmlns:a16="http://schemas.microsoft.com/office/drawing/2014/main" id="{8749C0F4-3270-1069-87B1-66EF1577550B}"/>
              </a:ext>
            </a:extLst>
          </p:cNvPr>
          <p:cNvSpPr/>
          <p:nvPr/>
        </p:nvSpPr>
        <p:spPr bwMode="gray">
          <a:xfrm>
            <a:off x="1524000" y="4603195"/>
            <a:ext cx="5940000"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Usar tableros de tareas y gráficos de evolución.</a:t>
            </a:r>
          </a:p>
        </p:txBody>
      </p:sp>
      <p:sp>
        <p:nvSpPr>
          <p:cNvPr id="17" name="Oval 16">
            <a:extLst>
              <a:ext uri="{FF2B5EF4-FFF2-40B4-BE49-F238E27FC236}">
                <a16:creationId xmlns:a16="http://schemas.microsoft.com/office/drawing/2014/main" id="{29D37321-2C6A-3978-7B3B-B92B4B845D36}"/>
              </a:ext>
            </a:extLst>
          </p:cNvPr>
          <p:cNvSpPr/>
          <p:nvPr/>
        </p:nvSpPr>
        <p:spPr bwMode="gray">
          <a:xfrm>
            <a:off x="847012" y="460319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0" y="5208655"/>
            <a:ext cx="5940000" cy="464400"/>
          </a:xfrm>
          <a:prstGeom prst="roundRect">
            <a:avLst/>
          </a:prstGeom>
          <a:solidFill>
            <a:schemeClr val="bg1">
              <a:lumMod val="95000"/>
            </a:schemeClr>
          </a:solidFill>
          <a:ln w="317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jecutar pruebas de aceptación diariamente.</a:t>
            </a:r>
          </a:p>
        </p:txBody>
      </p:sp>
      <p:sp>
        <p:nvSpPr>
          <p:cNvPr id="19" name="Oval 18">
            <a:extLst>
              <a:ext uri="{FF2B5EF4-FFF2-40B4-BE49-F238E27FC236}">
                <a16:creationId xmlns:a16="http://schemas.microsoft.com/office/drawing/2014/main" id="{F9C3640E-B7A4-C2E8-DCFC-8F6830F7E699}"/>
              </a:ext>
            </a:extLst>
          </p:cNvPr>
          <p:cNvSpPr/>
          <p:nvPr/>
        </p:nvSpPr>
        <p:spPr bwMode="gray">
          <a:xfrm>
            <a:off x="847012" y="5205055"/>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
        <p:nvSpPr>
          <p:cNvPr id="3" name="TextBox 2">
            <a:extLst>
              <a:ext uri="{FF2B5EF4-FFF2-40B4-BE49-F238E27FC236}">
                <a16:creationId xmlns:a16="http://schemas.microsoft.com/office/drawing/2014/main" id="{E98C2B09-1786-536B-693A-4D2A2723DC65}"/>
              </a:ext>
            </a:extLst>
          </p:cNvPr>
          <p:cNvSpPr txBox="1"/>
          <p:nvPr/>
        </p:nvSpPr>
        <p:spPr>
          <a:xfrm>
            <a:off x="7672988" y="3366451"/>
            <a:ext cx="3932314" cy="1703030"/>
          </a:xfrm>
          <a:prstGeom prst="rect">
            <a:avLst/>
          </a:prstGeom>
          <a:noFill/>
        </p:spPr>
        <p:txBody>
          <a:bodyPr wrap="square">
            <a:spAutoFit/>
          </a:bodyPr>
          <a:lstStyle/>
          <a:p>
            <a:pPr>
              <a:spcAft>
                <a:spcPts val="800"/>
              </a:spcAft>
            </a:pPr>
            <a:r>
              <a:rPr lang="es-ES" sz="1400" i="1">
                <a:latin typeface="+mj-lt"/>
                <a:cs typeface="Times New Roman" panose="02020603050405020304" pitchFamily="18" charset="0"/>
              </a:rPr>
              <a:t>Uno de los riesgos principales del uso de automatización de pruebas es confiar demasiado en las pruebas unitarias.</a:t>
            </a:r>
          </a:p>
          <a:p>
            <a:pPr>
              <a:spcAft>
                <a:spcPts val="800"/>
              </a:spcAft>
            </a:pPr>
            <a:r>
              <a:rPr lang="es-ES" sz="1400" i="1">
                <a:latin typeface="+mj-lt"/>
                <a:cs typeface="Times New Roman" panose="02020603050405020304" pitchFamily="18" charset="0"/>
              </a:rPr>
              <a:t>Las pruebas unitarias no son infalibles para detectar defectos. Es necesario realizar también pruebas de integración y de sistema.</a:t>
            </a:r>
          </a:p>
        </p:txBody>
      </p:sp>
      <p:sp>
        <p:nvSpPr>
          <p:cNvPr id="7" name="Rectangle 6">
            <a:extLst>
              <a:ext uri="{FF2B5EF4-FFF2-40B4-BE49-F238E27FC236}">
                <a16:creationId xmlns:a16="http://schemas.microsoft.com/office/drawing/2014/main" id="{98AE0536-36F4-19CF-C957-18E20F9D9905}"/>
              </a:ext>
            </a:extLst>
          </p:cNvPr>
          <p:cNvSpPr/>
          <p:nvPr/>
        </p:nvSpPr>
        <p:spPr bwMode="gray">
          <a:xfrm>
            <a:off x="765162" y="3891756"/>
            <a:ext cx="6826250" cy="1947069"/>
          </a:xfrm>
          <a:prstGeom prst="rect">
            <a:avLst/>
          </a:prstGeom>
          <a:solidFill>
            <a:schemeClr val="bg1">
              <a:alpha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Tree>
    <p:extLst>
      <p:ext uri="{BB962C8B-B14F-4D97-AF65-F5344CB8AC3E}">
        <p14:creationId xmlns:p14="http://schemas.microsoft.com/office/powerpoint/2010/main" val="54561673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ubtitle 3"/>
          <p:cNvSpPr txBox="1">
            <a:spLocks/>
          </p:cNvSpPr>
          <p:nvPr/>
        </p:nvSpPr>
        <p:spPr bwMode="gray">
          <a:xfrm>
            <a:off x="2276856" y="850455"/>
            <a:ext cx="7845552" cy="3538602"/>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s-ES_tradnl"/>
              <a:t>TEMA 3</a:t>
            </a:r>
          </a:p>
          <a:p>
            <a:endParaRPr lang="es-ES_tradnl" b="0"/>
          </a:p>
          <a:p>
            <a:r>
              <a:rPr lang="es-ES" sz="3600">
                <a:solidFill>
                  <a:srgbClr val="43B02A"/>
                </a:solidFill>
              </a:rPr>
              <a:t>Métodos, Técnicas y Herramientas de Prueba Ágiles</a:t>
            </a:r>
            <a:endParaRPr lang="es-ES_tradnl" sz="3600">
              <a:solidFill>
                <a:srgbClr val="43B02A"/>
              </a:solidFill>
            </a:endParaRPr>
          </a:p>
        </p:txBody>
      </p:sp>
      <p:pic>
        <p:nvPicPr>
          <p:cNvPr id="2" name="Picture 1"/>
          <p:cNvPicPr>
            <a:picLocks noChangeAspect="1"/>
          </p:cNvPicPr>
          <p:nvPr/>
        </p:nvPicPr>
        <p:blipFill>
          <a:blip r:embed="rId6"/>
          <a:stretch>
            <a:fillRect/>
          </a:stretch>
        </p:blipFill>
        <p:spPr>
          <a:xfrm>
            <a:off x="9337712" y="5164226"/>
            <a:ext cx="2447925" cy="1219200"/>
          </a:xfrm>
          <a:prstGeom prst="rect">
            <a:avLst/>
          </a:prstGeom>
        </p:spPr>
      </p:pic>
      <p:sp>
        <p:nvSpPr>
          <p:cNvPr id="8" name="Text Placeholder 8">
            <a:extLst>
              <a:ext uri="{FF2B5EF4-FFF2-40B4-BE49-F238E27FC236}">
                <a16:creationId xmlns:a16="http://schemas.microsoft.com/office/drawing/2014/main" id="{9C335D7C-59FC-40CD-B675-A5CED3F67086}"/>
              </a:ext>
            </a:extLst>
          </p:cNvPr>
          <p:cNvSpPr>
            <a:spLocks noGrp="1"/>
          </p:cNvSpPr>
          <p:nvPr>
            <p:ph type="body" sz="quarter" idx="10"/>
          </p:nvPr>
        </p:nvSpPr>
        <p:spPr>
          <a:xfrm>
            <a:off x="501647" y="6074224"/>
            <a:ext cx="7807851" cy="298451"/>
          </a:xfrm>
        </p:spPr>
        <p:txBody>
          <a:bodyPr/>
          <a:lstStyle/>
          <a:p>
            <a:r>
              <a:rPr lang="es-ES" sz="1600" b="1"/>
              <a:t>ISTQB Programa de Estudio de Nivel Básico Extensión Ágil</a:t>
            </a:r>
          </a:p>
        </p:txBody>
      </p:sp>
    </p:spTree>
    <p:extLst>
      <p:ext uri="{BB962C8B-B14F-4D97-AF65-F5344CB8AC3E}">
        <p14:creationId xmlns:p14="http://schemas.microsoft.com/office/powerpoint/2010/main" val="248970360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2">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8361584"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TEMA 3: MÉTODOS, TÉCNICAS Y HERRAMIENTAS DE PRUEBA ÁGILES</a:t>
            </a:r>
          </a:p>
        </p:txBody>
      </p:sp>
      <p:sp>
        <p:nvSpPr>
          <p:cNvPr id="60" name="Freeform 685">
            <a:extLst>
              <a:ext uri="{FF2B5EF4-FFF2-40B4-BE49-F238E27FC236}">
                <a16:creationId xmlns:a16="http://schemas.microsoft.com/office/drawing/2014/main" id="{3D1F0A89-067B-4D7D-AA41-ED6C03096218}"/>
              </a:ext>
            </a:extLst>
          </p:cNvPr>
          <p:cNvSpPr>
            <a:spLocks noEditPoints="1"/>
          </p:cNvSpPr>
          <p:nvPr/>
        </p:nvSpPr>
        <p:spPr bwMode="auto">
          <a:xfrm>
            <a:off x="8819562" y="6550110"/>
            <a:ext cx="268054" cy="206011"/>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Rectangle: Rounded Corners 26">
            <a:extLst>
              <a:ext uri="{FF2B5EF4-FFF2-40B4-BE49-F238E27FC236}">
                <a16:creationId xmlns:a16="http://schemas.microsoft.com/office/drawing/2014/main" id="{B6DC63B3-A7AD-99E9-55B7-248156606822}"/>
              </a:ext>
            </a:extLst>
          </p:cNvPr>
          <p:cNvSpPr/>
          <p:nvPr/>
        </p:nvSpPr>
        <p:spPr bwMode="gray">
          <a:xfrm>
            <a:off x="695273" y="2624925"/>
            <a:ext cx="5846721" cy="753718"/>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1.1 </a:t>
            </a:r>
            <a:r>
              <a:rPr lang="es-ES" sz="1400" b="0" i="0" u="none" strike="noStrike" baseline="0">
                <a:solidFill>
                  <a:srgbClr val="000000"/>
                </a:solidFill>
              </a:rPr>
              <a:t>Desarrollo Guiado por Pruebas, Desarrollo Guiado por      Pruebas de Aceptación y Desarrollo Guiado por el Comportamiento </a:t>
            </a:r>
            <a:endParaRPr lang="es-ES" sz="1400"/>
          </a:p>
        </p:txBody>
      </p:sp>
      <p:sp>
        <p:nvSpPr>
          <p:cNvPr id="29" name="Rectangle: Rounded Corners 28">
            <a:extLst>
              <a:ext uri="{FF2B5EF4-FFF2-40B4-BE49-F238E27FC236}">
                <a16:creationId xmlns:a16="http://schemas.microsoft.com/office/drawing/2014/main" id="{9B6AF7F4-B20F-9CED-894D-76ED4039FC38}"/>
              </a:ext>
            </a:extLst>
          </p:cNvPr>
          <p:cNvSpPr/>
          <p:nvPr/>
        </p:nvSpPr>
        <p:spPr bwMode="gray">
          <a:xfrm>
            <a:off x="703229" y="3617927"/>
            <a:ext cx="5846721"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1.2 La Pirámide de Prueba</a:t>
            </a:r>
          </a:p>
        </p:txBody>
      </p:sp>
      <p:sp>
        <p:nvSpPr>
          <p:cNvPr id="31" name="Rectangle: Rounded Corners 30">
            <a:extLst>
              <a:ext uri="{FF2B5EF4-FFF2-40B4-BE49-F238E27FC236}">
                <a16:creationId xmlns:a16="http://schemas.microsoft.com/office/drawing/2014/main" id="{80F3AA96-FBD2-4895-BEF7-D6B31F16E45F}"/>
              </a:ext>
            </a:extLst>
          </p:cNvPr>
          <p:cNvSpPr/>
          <p:nvPr/>
        </p:nvSpPr>
        <p:spPr bwMode="gray">
          <a:xfrm>
            <a:off x="703229" y="5267200"/>
            <a:ext cx="5846721" cy="374936"/>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1.4 El Rol de un Probador</a:t>
            </a:r>
          </a:p>
        </p:txBody>
      </p:sp>
      <p:cxnSp>
        <p:nvCxnSpPr>
          <p:cNvPr id="33" name="Connector: Elbow 32">
            <a:extLst>
              <a:ext uri="{FF2B5EF4-FFF2-40B4-BE49-F238E27FC236}">
                <a16:creationId xmlns:a16="http://schemas.microsoft.com/office/drawing/2014/main" id="{8BDF9816-0F42-A98E-5EB4-86FF4CD89262}"/>
              </a:ext>
            </a:extLst>
          </p:cNvPr>
          <p:cNvCxnSpPr>
            <a:cxnSpLocks/>
          </p:cNvCxnSpPr>
          <p:nvPr/>
        </p:nvCxnSpPr>
        <p:spPr>
          <a:xfrm rot="16200000" flipH="1">
            <a:off x="-1017543" y="3735540"/>
            <a:ext cx="3203366" cy="234890"/>
          </a:xfrm>
          <a:prstGeom prst="bentConnector2">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8802FF1-BB39-1528-44C8-8EB5B14A7E21}"/>
              </a:ext>
            </a:extLst>
          </p:cNvPr>
          <p:cNvCxnSpPr>
            <a:cxnSpLocks/>
            <a:endCxn id="29" idx="1"/>
          </p:cNvCxnSpPr>
          <p:nvPr/>
        </p:nvCxnSpPr>
        <p:spPr>
          <a:xfrm>
            <a:off x="468339" y="3905927"/>
            <a:ext cx="234890"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7F42699-291B-FD23-B2E6-4C86BFA573B3}"/>
              </a:ext>
            </a:extLst>
          </p:cNvPr>
          <p:cNvCxnSpPr/>
          <p:nvPr/>
        </p:nvCxnSpPr>
        <p:spPr>
          <a:xfrm>
            <a:off x="465050" y="3082554"/>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2D751480-D879-FB65-A26F-20E0862C8794}"/>
              </a:ext>
            </a:extLst>
          </p:cNvPr>
          <p:cNvSpPr/>
          <p:nvPr/>
        </p:nvSpPr>
        <p:spPr bwMode="gray">
          <a:xfrm>
            <a:off x="701576" y="4433212"/>
            <a:ext cx="5846721"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1.3 Cuadrantes de Prueba, Niveles de Prueba y Tipos de Prueba</a:t>
            </a:r>
          </a:p>
        </p:txBody>
      </p:sp>
      <p:cxnSp>
        <p:nvCxnSpPr>
          <p:cNvPr id="41" name="Straight Arrow Connector 40">
            <a:extLst>
              <a:ext uri="{FF2B5EF4-FFF2-40B4-BE49-F238E27FC236}">
                <a16:creationId xmlns:a16="http://schemas.microsoft.com/office/drawing/2014/main" id="{09AB4805-3161-5286-D4D3-9FD13EDB2E4C}"/>
              </a:ext>
            </a:extLst>
          </p:cNvPr>
          <p:cNvCxnSpPr>
            <a:cxnSpLocks/>
          </p:cNvCxnSpPr>
          <p:nvPr/>
        </p:nvCxnSpPr>
        <p:spPr>
          <a:xfrm>
            <a:off x="460375" y="4732957"/>
            <a:ext cx="234890"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BD62F9AB-61EA-BFD9-9B3B-5CC6D742B44B}"/>
              </a:ext>
            </a:extLst>
          </p:cNvPr>
          <p:cNvSpPr/>
          <p:nvPr/>
        </p:nvSpPr>
        <p:spPr bwMode="gray">
          <a:xfrm>
            <a:off x="276508" y="1784997"/>
            <a:ext cx="3226451" cy="542170"/>
          </a:xfrm>
          <a:prstGeom prst="roundRect">
            <a:avLst>
              <a:gd name="adj" fmla="val 50000"/>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t>3.1. Métodos de Prueba Ágil</a:t>
            </a:r>
          </a:p>
        </p:txBody>
      </p:sp>
    </p:spTree>
    <p:extLst>
      <p:ext uri="{BB962C8B-B14F-4D97-AF65-F5344CB8AC3E}">
        <p14:creationId xmlns:p14="http://schemas.microsoft.com/office/powerpoint/2010/main" val="577522220"/>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3618298"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1 Métodos de Prueba Ágil</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Tipos de desarrollo</a:t>
            </a:r>
            <a:endParaRPr lang="es-ES_tradnl" sz="500" u="sng">
              <a:sym typeface="Wingdings" panose="05000000000000000000" pitchFamily="2" charset="2"/>
            </a:endParaRPr>
          </a:p>
        </p:txBody>
      </p:sp>
      <p:sp>
        <p:nvSpPr>
          <p:cNvPr id="11" name="TextBox 10">
            <a:extLst>
              <a:ext uri="{FF2B5EF4-FFF2-40B4-BE49-F238E27FC236}">
                <a16:creationId xmlns:a16="http://schemas.microsoft.com/office/drawing/2014/main" id="{1B2D8CF5-9D89-49D2-B704-F89B5A683DBD}"/>
              </a:ext>
            </a:extLst>
          </p:cNvPr>
          <p:cNvSpPr txBox="1"/>
          <p:nvPr/>
        </p:nvSpPr>
        <p:spPr>
          <a:xfrm>
            <a:off x="460375" y="2197104"/>
            <a:ext cx="10820156" cy="923330"/>
          </a:xfrm>
          <a:prstGeom prst="rect">
            <a:avLst/>
          </a:prstGeom>
          <a:noFill/>
        </p:spPr>
        <p:txBody>
          <a:bodyPr wrap="square">
            <a:spAutoFit/>
          </a:bodyPr>
          <a:lstStyle/>
          <a:p>
            <a:r>
              <a:rPr lang="es-ES" sz="1800">
                <a:effectLst/>
                <a:latin typeface="Calibri" panose="020F0502020204030204" pitchFamily="34" charset="0"/>
                <a:ea typeface="Calibri" panose="020F0502020204030204" pitchFamily="34" charset="0"/>
                <a:cs typeface="Times New Roman" panose="02020603050405020304" pitchFamily="18" charset="0"/>
              </a:rPr>
              <a:t>El desarrollo guiado por pruebas, el desarrollo guiado por pruebas de aceptación y el desarrollo guiado por el comportamiento son tres técnicas complementarias que se utilizan en equipos ágiles para llevar a cabo las pruebas en los distintos niveles de prueba</a:t>
            </a:r>
            <a:endParaRPr lang="es-ES" sz="1600">
              <a:latin typeface="Calibri" panose="020F0502020204030204" pitchFamily="34" charset="0"/>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C078F3FD-FCA0-ED62-E095-6815285BBD06}"/>
              </a:ext>
            </a:extLst>
          </p:cNvPr>
          <p:cNvGraphicFramePr/>
          <p:nvPr/>
        </p:nvGraphicFramePr>
        <p:xfrm>
          <a:off x="2974792" y="3120434"/>
          <a:ext cx="5791322" cy="272414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72584922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3618298"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1 Métodos de Prueba Ágil</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Tipos de desarrollo</a:t>
            </a:r>
          </a:p>
        </p:txBody>
      </p:sp>
      <p:sp>
        <p:nvSpPr>
          <p:cNvPr id="14" name="TextBox 13">
            <a:extLst>
              <a:ext uri="{FF2B5EF4-FFF2-40B4-BE49-F238E27FC236}">
                <a16:creationId xmlns:a16="http://schemas.microsoft.com/office/drawing/2014/main" id="{73C14585-129B-48B7-BDE7-2DBA47F81C3B}"/>
              </a:ext>
            </a:extLst>
          </p:cNvPr>
          <p:cNvSpPr txBox="1"/>
          <p:nvPr/>
        </p:nvSpPr>
        <p:spPr>
          <a:xfrm>
            <a:off x="190507" y="1770331"/>
            <a:ext cx="11089254" cy="723275"/>
          </a:xfrm>
          <a:prstGeom prst="rect">
            <a:avLst/>
          </a:prstGeom>
          <a:noFill/>
        </p:spPr>
        <p:txBody>
          <a:bodyPr wrap="square" lIns="0" tIns="0" rIns="0" bIns="0" rtlCol="0">
            <a:spAutoFit/>
          </a:bodyPr>
          <a:lstStyle/>
          <a:p>
            <a:pPr marL="269875" lvl="1">
              <a:spcAft>
                <a:spcPts val="25"/>
              </a:spcAft>
            </a:pPr>
            <a:endParaRPr lang="es-ES" sz="1400" b="1"/>
          </a:p>
          <a:p>
            <a:pPr marL="269875" lvl="1">
              <a:spcAft>
                <a:spcPts val="25"/>
              </a:spcAft>
            </a:pPr>
            <a:endParaRPr lang="es-ES_tradnl" sz="1200" b="1">
              <a:sym typeface="Wingdings" panose="05000000000000000000" pitchFamily="2" charset="2"/>
            </a:endParaRPr>
          </a:p>
          <a:p>
            <a:pPr marL="1050910" lvl="2" indent="-171450">
              <a:spcAft>
                <a:spcPts val="25"/>
              </a:spcAft>
              <a:buFont typeface="Wingdings" panose="05000000000000000000" pitchFamily="2" charset="2"/>
              <a:buChar char="Ø"/>
            </a:pPr>
            <a:r>
              <a:rPr lang="es-ES_tradnl" sz="1600">
                <a:sym typeface="Wingdings" panose="05000000000000000000" pitchFamily="2" charset="2"/>
              </a:rPr>
              <a:t> </a:t>
            </a:r>
            <a:r>
              <a:rPr lang="es-ES_tradnl" sz="1400" u="sng">
                <a:sym typeface="Wingdings" panose="05000000000000000000" pitchFamily="2" charset="2"/>
              </a:rPr>
              <a:t>Desarrollo Guiado por Pruebas TDD</a:t>
            </a:r>
            <a:endParaRPr lang="es-ES_tradnl" sz="1100" b="1" u="sng">
              <a:sym typeface="Wingdings" panose="05000000000000000000" pitchFamily="2" charset="2"/>
            </a:endParaRPr>
          </a:p>
          <a:p>
            <a:pPr marL="555625" lvl="1" indent="-285750">
              <a:spcAft>
                <a:spcPts val="25"/>
              </a:spcAft>
              <a:buFont typeface="Wingdings" panose="05000000000000000000" pitchFamily="2" charset="2"/>
              <a:buChar char="q"/>
            </a:pP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332291" y="2542236"/>
            <a:ext cx="4961442" cy="1664623"/>
          </a:xfrm>
          <a:prstGeom prst="rect">
            <a:avLst/>
          </a:prstGeom>
          <a:noFill/>
        </p:spPr>
        <p:txBody>
          <a:bodyPr wrap="square">
            <a:spAutoFit/>
          </a:bodyPr>
          <a:lstStyle/>
          <a:p>
            <a:pPr marL="879460" lvl="2">
              <a:lnSpc>
                <a:spcPct val="150000"/>
              </a:lnSpc>
              <a:spcAft>
                <a:spcPts val="25"/>
              </a:spcAft>
            </a:pPr>
            <a:r>
              <a:rPr lang="es-ES" sz="1400"/>
              <a:t>El desarrollo guiado por pruebas se utiliza para desarrollar código guiado por casos de prueba automatizados.</a:t>
            </a:r>
          </a:p>
          <a:p>
            <a:pPr marL="879460" lvl="2">
              <a:lnSpc>
                <a:spcPct val="150000"/>
              </a:lnSpc>
              <a:spcAft>
                <a:spcPts val="25"/>
              </a:spcAft>
            </a:pPr>
            <a:r>
              <a:rPr lang="es-ES" sz="1400"/>
              <a:t>El proceso para el desarrollo guiado por pruebas es:</a:t>
            </a:r>
          </a:p>
        </p:txBody>
      </p:sp>
      <p:graphicFrame>
        <p:nvGraphicFramePr>
          <p:cNvPr id="3" name="Diagram 2">
            <a:extLst>
              <a:ext uri="{FF2B5EF4-FFF2-40B4-BE49-F238E27FC236}">
                <a16:creationId xmlns:a16="http://schemas.microsoft.com/office/drawing/2014/main" id="{47C5F8C5-17E4-76F8-8A32-4EA17F02020E}"/>
              </a:ext>
            </a:extLst>
          </p:cNvPr>
          <p:cNvGraphicFramePr/>
          <p:nvPr/>
        </p:nvGraphicFramePr>
        <p:xfrm>
          <a:off x="3773873" y="1748812"/>
          <a:ext cx="8156575" cy="484977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12712467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3618298"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1 Métodos de Prueba Ágil</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Tipos de desarrollo</a:t>
            </a:r>
            <a:endParaRPr lang="es-ES_tradnl" sz="500" u="sng">
              <a:sym typeface="Wingdings" panose="05000000000000000000" pitchFamily="2" charset="2"/>
            </a:endParaRPr>
          </a:p>
        </p:txBody>
      </p:sp>
      <p:sp>
        <p:nvSpPr>
          <p:cNvPr id="14" name="TextBox 13">
            <a:extLst>
              <a:ext uri="{FF2B5EF4-FFF2-40B4-BE49-F238E27FC236}">
                <a16:creationId xmlns:a16="http://schemas.microsoft.com/office/drawing/2014/main" id="{73C14585-129B-48B7-BDE7-2DBA47F81C3B}"/>
              </a:ext>
            </a:extLst>
          </p:cNvPr>
          <p:cNvSpPr txBox="1"/>
          <p:nvPr/>
        </p:nvSpPr>
        <p:spPr>
          <a:xfrm>
            <a:off x="155575" y="1760595"/>
            <a:ext cx="11089254" cy="646331"/>
          </a:xfrm>
          <a:prstGeom prst="rect">
            <a:avLst/>
          </a:prstGeom>
          <a:noFill/>
        </p:spPr>
        <p:txBody>
          <a:bodyPr wrap="square" lIns="0" tIns="0" rIns="0" bIns="0" rtlCol="0">
            <a:spAutoFit/>
          </a:bodyPr>
          <a:lstStyle/>
          <a:p>
            <a:pPr marL="269875" lvl="1">
              <a:spcAft>
                <a:spcPts val="25"/>
              </a:spcAft>
            </a:pPr>
            <a:endParaRPr lang="es-ES" sz="1400" b="1"/>
          </a:p>
          <a:p>
            <a:pPr marL="269875" lvl="1">
              <a:spcAft>
                <a:spcPts val="25"/>
              </a:spcAft>
            </a:pPr>
            <a:endParaRPr lang="es-ES_tradnl" sz="1200" b="1">
              <a:sym typeface="Wingdings" panose="05000000000000000000" pitchFamily="2" charset="2"/>
            </a:endParaRPr>
          </a:p>
          <a:p>
            <a:pPr marL="1050910" lvl="2" indent="-171450">
              <a:spcAft>
                <a:spcPts val="25"/>
              </a:spcAft>
              <a:buFont typeface="Wingdings" panose="05000000000000000000" pitchFamily="2" charset="2"/>
              <a:buChar char="Ø"/>
            </a:pPr>
            <a:r>
              <a:rPr lang="es-ES_tradnl" sz="1600">
                <a:sym typeface="Wingdings" panose="05000000000000000000" pitchFamily="2" charset="2"/>
              </a:rPr>
              <a:t> </a:t>
            </a:r>
            <a:r>
              <a:rPr lang="es-ES" sz="1400" u="sng">
                <a:sym typeface="Wingdings" panose="05000000000000000000" pitchFamily="2" charset="2"/>
              </a:rPr>
              <a:t>Desarrollo Guiado por Pruebas de Aceptación</a:t>
            </a: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6350" y="2596688"/>
            <a:ext cx="11668126" cy="2957284"/>
          </a:xfrm>
          <a:prstGeom prst="rect">
            <a:avLst/>
          </a:prstGeom>
          <a:noFill/>
        </p:spPr>
        <p:txBody>
          <a:bodyPr wrap="square">
            <a:spAutoFit/>
          </a:bodyPr>
          <a:lstStyle/>
          <a:p>
            <a:pPr marL="1165210" lvl="2" indent="-285750">
              <a:lnSpc>
                <a:spcPct val="200000"/>
              </a:lnSpc>
              <a:spcAft>
                <a:spcPts val="25"/>
              </a:spcAft>
              <a:buFont typeface="Wingdings" panose="05000000000000000000" pitchFamily="2" charset="2"/>
              <a:buChar char="§"/>
            </a:pPr>
            <a:r>
              <a:rPr lang="es-ES" sz="1400"/>
              <a:t>Define los criterios de aceptación y las pruebas durante la creación de las historias de usuario</a:t>
            </a:r>
          </a:p>
          <a:p>
            <a:pPr marL="1165210" lvl="2" indent="-285750">
              <a:lnSpc>
                <a:spcPct val="200000"/>
              </a:lnSpc>
              <a:spcAft>
                <a:spcPts val="25"/>
              </a:spcAft>
              <a:buFont typeface="Wingdings" panose="05000000000000000000" pitchFamily="2" charset="2"/>
              <a:buChar char="§"/>
            </a:pPr>
            <a:r>
              <a:rPr lang="es-ES" sz="1400"/>
              <a:t>Es un enfoque colaborativo que permite a todos los implicados entender cómo tiene que comportarse el componente de software y qué necesitan los desarrolladores, probadores y representantes de negocio para garantizar ese comportamiento.</a:t>
            </a:r>
          </a:p>
          <a:p>
            <a:pPr marL="1165210" lvl="2" indent="-285750">
              <a:lnSpc>
                <a:spcPct val="200000"/>
              </a:lnSpc>
              <a:spcAft>
                <a:spcPts val="25"/>
              </a:spcAft>
              <a:buFont typeface="Wingdings" panose="05000000000000000000" pitchFamily="2" charset="2"/>
              <a:buChar char="§"/>
            </a:pPr>
            <a:r>
              <a:rPr lang="es-ES" sz="1400"/>
              <a:t>Crea pruebas reutilizables para las pruebas de regresión.</a:t>
            </a:r>
          </a:p>
          <a:p>
            <a:pPr marL="1165210" lvl="2" indent="-285750">
              <a:lnSpc>
                <a:spcPct val="200000"/>
              </a:lnSpc>
              <a:spcAft>
                <a:spcPts val="25"/>
              </a:spcAft>
              <a:buFont typeface="Wingdings" panose="05000000000000000000" pitchFamily="2" charset="2"/>
              <a:buChar char="§"/>
            </a:pPr>
            <a:r>
              <a:rPr lang="es-ES" sz="1400"/>
              <a:t>Permite resolver rápidamente los defectos y validar el comportamiento de las prestaciones.</a:t>
            </a:r>
          </a:p>
          <a:p>
            <a:pPr marL="1165210" lvl="2" indent="-285750">
              <a:lnSpc>
                <a:spcPct val="150000"/>
              </a:lnSpc>
              <a:spcAft>
                <a:spcPts val="25"/>
              </a:spcAft>
              <a:buFont typeface="Wingdings" panose="05000000000000000000" pitchFamily="2" charset="2"/>
              <a:buChar char="§"/>
            </a:pPr>
            <a:endParaRPr lang="es-ES" sz="1400"/>
          </a:p>
        </p:txBody>
      </p:sp>
    </p:spTree>
    <p:extLst>
      <p:ext uri="{BB962C8B-B14F-4D97-AF65-F5344CB8AC3E}">
        <p14:creationId xmlns:p14="http://schemas.microsoft.com/office/powerpoint/2010/main" val="259864618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6050054" cy="584775"/>
          </a:xfrm>
          <a:prstGeom prst="rect">
            <a:avLst/>
          </a:prstGeom>
        </p:spPr>
        <p:txBody>
          <a:bodyPr wrap="non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1.1 Fundamentos de Desarrollo Ágil de Software</a:t>
            </a:r>
          </a:p>
          <a:p>
            <a:pPr marL="269875" lvl="1">
              <a:spcAft>
                <a:spcPts val="25"/>
              </a:spcAft>
            </a:pPr>
            <a:endParaRPr lang="en-GB" altLang="en-US" sz="1600" b="1">
              <a:solidFill>
                <a:schemeClr val="accent1"/>
              </a:solidFill>
              <a:latin typeface="Verdana" pitchFamily="34" charset="0"/>
              <a:ea typeface="Arial" pitchFamily="34" charset="0"/>
              <a:cs typeface="Verdana" pitchFamily="34" charset="0"/>
            </a:endParaRPr>
          </a:p>
        </p:txBody>
      </p:sp>
      <p:sp>
        <p:nvSpPr>
          <p:cNvPr id="3" name="Rectangle: Rounded Corners 2">
            <a:extLst>
              <a:ext uri="{FF2B5EF4-FFF2-40B4-BE49-F238E27FC236}">
                <a16:creationId xmlns:a16="http://schemas.microsoft.com/office/drawing/2014/main" id="{D4D4739D-7C8A-A2AC-32D6-64BC5C0ABD4D}"/>
              </a:ext>
            </a:extLst>
          </p:cNvPr>
          <p:cNvSpPr/>
          <p:nvPr/>
        </p:nvSpPr>
        <p:spPr bwMode="gray">
          <a:xfrm>
            <a:off x="427537" y="1663155"/>
            <a:ext cx="5977747"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1.1. El Desarrollo Ágil de Software y el Manifiesto Ágil</a:t>
            </a:r>
          </a:p>
        </p:txBody>
      </p:sp>
      <p:sp>
        <p:nvSpPr>
          <p:cNvPr id="4" name="Rectangle 3">
            <a:extLst>
              <a:ext uri="{FF2B5EF4-FFF2-40B4-BE49-F238E27FC236}">
                <a16:creationId xmlns:a16="http://schemas.microsoft.com/office/drawing/2014/main" id="{7CF37005-07C1-1AE8-7410-D3602D873063}"/>
              </a:ext>
            </a:extLst>
          </p:cNvPr>
          <p:cNvSpPr txBox="1">
            <a:spLocks/>
          </p:cNvSpPr>
          <p:nvPr/>
        </p:nvSpPr>
        <p:spPr>
          <a:xfrm>
            <a:off x="307975" y="2191768"/>
            <a:ext cx="11201401" cy="313692"/>
          </a:xfrm>
          <a:prstGeom prst="rect">
            <a:avLst/>
          </a:prstGeom>
        </p:spPr>
        <p:txBody>
          <a:bodyPr vert="horz" lIns="91440" tIns="45720" rIns="91440" bIns="4572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555625" lvl="1" indent="-285750">
              <a:spcAft>
                <a:spcPts val="25"/>
              </a:spcAft>
              <a:buFont typeface="Wingdings" panose="05000000000000000000" pitchFamily="2" charset="2"/>
              <a:buChar char="q"/>
            </a:pPr>
            <a:r>
              <a:rPr lang="es-ES" b="0"/>
              <a:t>El Manifiesto Ágil contiene </a:t>
            </a:r>
            <a:r>
              <a:rPr lang="es-ES"/>
              <a:t>12 principios:</a:t>
            </a:r>
            <a:endParaRPr lang="es-ES" sz="1400"/>
          </a:p>
        </p:txBody>
      </p:sp>
      <p:sp>
        <p:nvSpPr>
          <p:cNvPr id="5" name="Oval 4">
            <a:extLst>
              <a:ext uri="{FF2B5EF4-FFF2-40B4-BE49-F238E27FC236}">
                <a16:creationId xmlns:a16="http://schemas.microsoft.com/office/drawing/2014/main" id="{2E5BE08C-21DB-4B96-FB3B-43B84A095063}"/>
              </a:ext>
            </a:extLst>
          </p:cNvPr>
          <p:cNvSpPr/>
          <p:nvPr/>
        </p:nvSpPr>
        <p:spPr bwMode="gray">
          <a:xfrm>
            <a:off x="4257461" y="2897552"/>
            <a:ext cx="3163150" cy="3138410"/>
          </a:xfrm>
          <a:prstGeom prst="ellipse">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800" b="1"/>
              <a:t>Principios del Manifiesto Ágil</a:t>
            </a:r>
          </a:p>
        </p:txBody>
      </p:sp>
      <p:sp>
        <p:nvSpPr>
          <p:cNvPr id="7" name="Rectangle: Rounded Corners 6">
            <a:extLst>
              <a:ext uri="{FF2B5EF4-FFF2-40B4-BE49-F238E27FC236}">
                <a16:creationId xmlns:a16="http://schemas.microsoft.com/office/drawing/2014/main" id="{85A24CA8-5A80-80E6-9350-11D592DE9D90}"/>
              </a:ext>
            </a:extLst>
          </p:cNvPr>
          <p:cNvSpPr/>
          <p:nvPr/>
        </p:nvSpPr>
        <p:spPr bwMode="gray">
          <a:xfrm>
            <a:off x="1225483" y="2646853"/>
            <a:ext cx="3567099"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La prioridad es satisfacer al cliente</a:t>
            </a:r>
          </a:p>
        </p:txBody>
      </p:sp>
      <p:sp>
        <p:nvSpPr>
          <p:cNvPr id="8" name="Rectangle: Rounded Corners 7">
            <a:extLst>
              <a:ext uri="{FF2B5EF4-FFF2-40B4-BE49-F238E27FC236}">
                <a16:creationId xmlns:a16="http://schemas.microsoft.com/office/drawing/2014/main" id="{7D15A6E7-9D83-76AE-F758-FB1ED8472FC2}"/>
              </a:ext>
            </a:extLst>
          </p:cNvPr>
          <p:cNvSpPr/>
          <p:nvPr/>
        </p:nvSpPr>
        <p:spPr bwMode="gray">
          <a:xfrm>
            <a:off x="786943" y="3260844"/>
            <a:ext cx="3567100"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Aceptar los cambios</a:t>
            </a:r>
          </a:p>
        </p:txBody>
      </p:sp>
      <p:sp>
        <p:nvSpPr>
          <p:cNvPr id="9" name="Rectangle: Rounded Corners 8">
            <a:extLst>
              <a:ext uri="{FF2B5EF4-FFF2-40B4-BE49-F238E27FC236}">
                <a16:creationId xmlns:a16="http://schemas.microsoft.com/office/drawing/2014/main" id="{DF592292-DC41-CCDB-6363-5B5645293460}"/>
              </a:ext>
            </a:extLst>
          </p:cNvPr>
          <p:cNvSpPr/>
          <p:nvPr/>
        </p:nvSpPr>
        <p:spPr bwMode="gray">
          <a:xfrm>
            <a:off x="551803" y="3877389"/>
            <a:ext cx="3567101"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Entregar software frecuentemente</a:t>
            </a:r>
          </a:p>
        </p:txBody>
      </p:sp>
      <p:sp>
        <p:nvSpPr>
          <p:cNvPr id="10" name="Rectangle: Rounded Corners 9">
            <a:extLst>
              <a:ext uri="{FF2B5EF4-FFF2-40B4-BE49-F238E27FC236}">
                <a16:creationId xmlns:a16="http://schemas.microsoft.com/office/drawing/2014/main" id="{59A92CE8-DDFB-7C9E-3AAA-62E293B92A31}"/>
              </a:ext>
            </a:extLst>
          </p:cNvPr>
          <p:cNvSpPr/>
          <p:nvPr/>
        </p:nvSpPr>
        <p:spPr bwMode="gray">
          <a:xfrm>
            <a:off x="551802" y="4491380"/>
            <a:ext cx="3567101"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Negocio y desarrolladores juntos</a:t>
            </a:r>
          </a:p>
        </p:txBody>
      </p:sp>
      <p:sp>
        <p:nvSpPr>
          <p:cNvPr id="11" name="Rectangle: Rounded Corners 10">
            <a:extLst>
              <a:ext uri="{FF2B5EF4-FFF2-40B4-BE49-F238E27FC236}">
                <a16:creationId xmlns:a16="http://schemas.microsoft.com/office/drawing/2014/main" id="{6651E777-74AA-2851-C329-FC45CD0BAED3}"/>
              </a:ext>
            </a:extLst>
          </p:cNvPr>
          <p:cNvSpPr/>
          <p:nvPr/>
        </p:nvSpPr>
        <p:spPr bwMode="gray">
          <a:xfrm>
            <a:off x="786942" y="5104806"/>
            <a:ext cx="3567101"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Individuos motivados</a:t>
            </a:r>
          </a:p>
        </p:txBody>
      </p:sp>
      <p:sp>
        <p:nvSpPr>
          <p:cNvPr id="12" name="Rectangle: Rounded Corners 11">
            <a:extLst>
              <a:ext uri="{FF2B5EF4-FFF2-40B4-BE49-F238E27FC236}">
                <a16:creationId xmlns:a16="http://schemas.microsoft.com/office/drawing/2014/main" id="{D02D5118-49E8-CD9D-B695-80E78E169A84}"/>
              </a:ext>
            </a:extLst>
          </p:cNvPr>
          <p:cNvSpPr/>
          <p:nvPr/>
        </p:nvSpPr>
        <p:spPr bwMode="gray">
          <a:xfrm>
            <a:off x="1160164" y="5718232"/>
            <a:ext cx="3567101"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Conversación cara a cara</a:t>
            </a:r>
          </a:p>
        </p:txBody>
      </p:sp>
      <p:sp>
        <p:nvSpPr>
          <p:cNvPr id="16" name="Rectangle: Rounded Corners 15">
            <a:extLst>
              <a:ext uri="{FF2B5EF4-FFF2-40B4-BE49-F238E27FC236}">
                <a16:creationId xmlns:a16="http://schemas.microsoft.com/office/drawing/2014/main" id="{F97B3F54-762D-BF6B-6C6F-5D7132F8BB97}"/>
              </a:ext>
            </a:extLst>
          </p:cNvPr>
          <p:cNvSpPr/>
          <p:nvPr/>
        </p:nvSpPr>
        <p:spPr bwMode="gray">
          <a:xfrm flipH="1">
            <a:off x="6879827" y="2646853"/>
            <a:ext cx="3567099"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Software como medida de progreso</a:t>
            </a:r>
          </a:p>
        </p:txBody>
      </p:sp>
      <p:sp>
        <p:nvSpPr>
          <p:cNvPr id="17" name="Rectangle: Rounded Corners 16">
            <a:extLst>
              <a:ext uri="{FF2B5EF4-FFF2-40B4-BE49-F238E27FC236}">
                <a16:creationId xmlns:a16="http://schemas.microsoft.com/office/drawing/2014/main" id="{60B663CD-A4F0-B9EA-9C11-B0F7736439C4}"/>
              </a:ext>
            </a:extLst>
          </p:cNvPr>
          <p:cNvSpPr/>
          <p:nvPr/>
        </p:nvSpPr>
        <p:spPr bwMode="gray">
          <a:xfrm flipH="1">
            <a:off x="7318366" y="3260844"/>
            <a:ext cx="3567100"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Desarrollo sostenible</a:t>
            </a:r>
          </a:p>
        </p:txBody>
      </p:sp>
      <p:sp>
        <p:nvSpPr>
          <p:cNvPr id="18" name="Rectangle: Rounded Corners 17">
            <a:extLst>
              <a:ext uri="{FF2B5EF4-FFF2-40B4-BE49-F238E27FC236}">
                <a16:creationId xmlns:a16="http://schemas.microsoft.com/office/drawing/2014/main" id="{C3426B9F-DE6B-7A67-637F-4BDFA096EA8E}"/>
              </a:ext>
            </a:extLst>
          </p:cNvPr>
          <p:cNvSpPr/>
          <p:nvPr/>
        </p:nvSpPr>
        <p:spPr bwMode="gray">
          <a:xfrm flipH="1">
            <a:off x="7553505" y="3877389"/>
            <a:ext cx="3567101"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pPr>
            <a:r>
              <a:rPr lang="es-ES" sz="1400"/>
              <a:t>Excelencia técnica</a:t>
            </a:r>
          </a:p>
        </p:txBody>
      </p:sp>
      <p:sp>
        <p:nvSpPr>
          <p:cNvPr id="19" name="Rectangle: Rounded Corners 18">
            <a:extLst>
              <a:ext uri="{FF2B5EF4-FFF2-40B4-BE49-F238E27FC236}">
                <a16:creationId xmlns:a16="http://schemas.microsoft.com/office/drawing/2014/main" id="{48D5C28D-47C6-2F3A-6345-00D638D434FE}"/>
              </a:ext>
            </a:extLst>
          </p:cNvPr>
          <p:cNvSpPr/>
          <p:nvPr/>
        </p:nvSpPr>
        <p:spPr bwMode="gray">
          <a:xfrm flipH="1">
            <a:off x="7553506" y="4491380"/>
            <a:ext cx="3567101"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Simplicidad</a:t>
            </a:r>
          </a:p>
        </p:txBody>
      </p:sp>
      <p:sp>
        <p:nvSpPr>
          <p:cNvPr id="20" name="Rectangle: Rounded Corners 19">
            <a:extLst>
              <a:ext uri="{FF2B5EF4-FFF2-40B4-BE49-F238E27FC236}">
                <a16:creationId xmlns:a16="http://schemas.microsoft.com/office/drawing/2014/main" id="{F6122E61-C346-7791-A04E-DCF539897581}"/>
              </a:ext>
            </a:extLst>
          </p:cNvPr>
          <p:cNvSpPr/>
          <p:nvPr/>
        </p:nvSpPr>
        <p:spPr bwMode="gray">
          <a:xfrm flipH="1">
            <a:off x="7355690" y="5104806"/>
            <a:ext cx="3567101"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pPr>
            <a:r>
              <a:rPr lang="es-ES" sz="1400"/>
              <a:t>Equipos auto-organizados</a:t>
            </a:r>
          </a:p>
        </p:txBody>
      </p:sp>
      <p:sp>
        <p:nvSpPr>
          <p:cNvPr id="21" name="Rectangle: Rounded Corners 20">
            <a:extLst>
              <a:ext uri="{FF2B5EF4-FFF2-40B4-BE49-F238E27FC236}">
                <a16:creationId xmlns:a16="http://schemas.microsoft.com/office/drawing/2014/main" id="{E0017580-9540-BF8D-1614-37F50CBBD822}"/>
              </a:ext>
            </a:extLst>
          </p:cNvPr>
          <p:cNvSpPr/>
          <p:nvPr/>
        </p:nvSpPr>
        <p:spPr bwMode="gray">
          <a:xfrm flipH="1">
            <a:off x="6879827" y="5718232"/>
            <a:ext cx="3567101" cy="475152"/>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a:t>Reflexión para ser más efectivos</a:t>
            </a:r>
          </a:p>
        </p:txBody>
      </p:sp>
    </p:spTree>
    <p:extLst>
      <p:ext uri="{BB962C8B-B14F-4D97-AF65-F5344CB8AC3E}">
        <p14:creationId xmlns:p14="http://schemas.microsoft.com/office/powerpoint/2010/main" val="289543098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3618298"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1 Métodos de Prueba Ágil</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Tipos de desarrollo</a:t>
            </a:r>
            <a:endParaRPr lang="es-ES_tradnl" sz="500" u="sng">
              <a:sym typeface="Wingdings" panose="05000000000000000000" pitchFamily="2" charset="2"/>
            </a:endParaRPr>
          </a:p>
        </p:txBody>
      </p:sp>
      <p:sp>
        <p:nvSpPr>
          <p:cNvPr id="14" name="TextBox 13">
            <a:extLst>
              <a:ext uri="{FF2B5EF4-FFF2-40B4-BE49-F238E27FC236}">
                <a16:creationId xmlns:a16="http://schemas.microsoft.com/office/drawing/2014/main" id="{73C14585-129B-48B7-BDE7-2DBA47F81C3B}"/>
              </a:ext>
            </a:extLst>
          </p:cNvPr>
          <p:cNvSpPr txBox="1"/>
          <p:nvPr/>
        </p:nvSpPr>
        <p:spPr>
          <a:xfrm>
            <a:off x="155575" y="1795331"/>
            <a:ext cx="11089254" cy="646331"/>
          </a:xfrm>
          <a:prstGeom prst="rect">
            <a:avLst/>
          </a:prstGeom>
          <a:noFill/>
        </p:spPr>
        <p:txBody>
          <a:bodyPr wrap="square" lIns="0" tIns="0" rIns="0" bIns="0" rtlCol="0">
            <a:spAutoFit/>
          </a:bodyPr>
          <a:lstStyle/>
          <a:p>
            <a:pPr marL="269875" lvl="1">
              <a:spcAft>
                <a:spcPts val="25"/>
              </a:spcAft>
            </a:pPr>
            <a:endParaRPr lang="es-ES" sz="1400" b="1"/>
          </a:p>
          <a:p>
            <a:pPr marL="269875" lvl="1">
              <a:spcAft>
                <a:spcPts val="25"/>
              </a:spcAft>
            </a:pPr>
            <a:endParaRPr lang="es-ES_tradnl" sz="1200" b="1">
              <a:sym typeface="Wingdings" panose="05000000000000000000" pitchFamily="2" charset="2"/>
            </a:endParaRPr>
          </a:p>
          <a:p>
            <a:pPr marL="1050910" lvl="2" indent="-171450">
              <a:spcAft>
                <a:spcPts val="25"/>
              </a:spcAft>
              <a:buFont typeface="Wingdings" panose="05000000000000000000" pitchFamily="2" charset="2"/>
              <a:buChar char="Ø"/>
            </a:pPr>
            <a:r>
              <a:rPr lang="es-ES_tradnl" sz="1600">
                <a:sym typeface="Wingdings" panose="05000000000000000000" pitchFamily="2" charset="2"/>
              </a:rPr>
              <a:t> </a:t>
            </a:r>
            <a:r>
              <a:rPr lang="es-ES" sz="1400" u="sng">
                <a:sym typeface="Wingdings" panose="05000000000000000000" pitchFamily="2" charset="2"/>
              </a:rPr>
              <a:t>Desarrollo Guiado por el Comportamiento</a:t>
            </a: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0" y="2600630"/>
            <a:ext cx="11244829" cy="1745414"/>
          </a:xfrm>
          <a:prstGeom prst="rect">
            <a:avLst/>
          </a:prstGeom>
          <a:noFill/>
        </p:spPr>
        <p:txBody>
          <a:bodyPr wrap="square">
            <a:spAutoFit/>
          </a:bodyPr>
          <a:lstStyle/>
          <a:p>
            <a:pPr marL="1165210" lvl="2" indent="-285750">
              <a:lnSpc>
                <a:spcPct val="200000"/>
              </a:lnSpc>
              <a:spcAft>
                <a:spcPts val="25"/>
              </a:spcAft>
              <a:buFont typeface="Wingdings" panose="05000000000000000000" pitchFamily="2" charset="2"/>
              <a:buChar char="§"/>
            </a:pPr>
            <a:r>
              <a:rPr lang="es-ES" sz="1400"/>
              <a:t>Permite al desarrollador concentrarse en probar el código basándose en el comportamiento esperado del software desde la perspectiva del usuario y no en las funcionalidades de este.</a:t>
            </a:r>
          </a:p>
          <a:p>
            <a:pPr marL="1165210" lvl="2" indent="-285750">
              <a:lnSpc>
                <a:spcPct val="200000"/>
              </a:lnSpc>
              <a:spcAft>
                <a:spcPts val="25"/>
              </a:spcAft>
              <a:buFont typeface="Wingdings" panose="05000000000000000000" pitchFamily="2" charset="2"/>
              <a:buChar char="§"/>
            </a:pPr>
            <a:r>
              <a:rPr lang="es-ES" sz="1400"/>
              <a:t>Las pruebas suelen ser más fáciles de entender para los demás miembros del equipo y los implicados.</a:t>
            </a:r>
          </a:p>
          <a:p>
            <a:pPr marL="1165210" lvl="2" indent="-285750">
              <a:lnSpc>
                <a:spcPct val="200000"/>
              </a:lnSpc>
              <a:spcAft>
                <a:spcPts val="25"/>
              </a:spcAft>
              <a:buFont typeface="Wingdings" panose="05000000000000000000" pitchFamily="2" charset="2"/>
              <a:buChar char="§"/>
            </a:pPr>
            <a:r>
              <a:rPr lang="es-ES" sz="1400"/>
              <a:t>Marcos de desarrollo guiados por comportamiento basados en formato.</a:t>
            </a:r>
          </a:p>
        </p:txBody>
      </p:sp>
      <p:pic>
        <p:nvPicPr>
          <p:cNvPr id="4" name="Picture 3">
            <a:extLst>
              <a:ext uri="{FF2B5EF4-FFF2-40B4-BE49-F238E27FC236}">
                <a16:creationId xmlns:a16="http://schemas.microsoft.com/office/drawing/2014/main" id="{20238A84-D658-AAEC-5EFB-D47D18D69A7C}"/>
              </a:ext>
            </a:extLst>
          </p:cNvPr>
          <p:cNvPicPr>
            <a:picLocks noChangeAspect="1"/>
          </p:cNvPicPr>
          <p:nvPr/>
        </p:nvPicPr>
        <p:blipFill>
          <a:blip r:embed="rId6"/>
          <a:stretch>
            <a:fillRect/>
          </a:stretch>
        </p:blipFill>
        <p:spPr>
          <a:xfrm>
            <a:off x="2931056" y="4570915"/>
            <a:ext cx="5906012" cy="1036410"/>
          </a:xfrm>
          <a:prstGeom prst="rect">
            <a:avLst/>
          </a:prstGeom>
        </p:spPr>
      </p:pic>
    </p:spTree>
    <p:extLst>
      <p:ext uri="{BB962C8B-B14F-4D97-AF65-F5344CB8AC3E}">
        <p14:creationId xmlns:p14="http://schemas.microsoft.com/office/powerpoint/2010/main" val="281292877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3618298"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1 Métodos de Prueba Ágil</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La Pirámide de Prueba</a:t>
            </a: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0" y="2241029"/>
            <a:ext cx="6410994" cy="3603615"/>
          </a:xfrm>
          <a:prstGeom prst="rect">
            <a:avLst/>
          </a:prstGeom>
          <a:noFill/>
        </p:spPr>
        <p:txBody>
          <a:bodyPr wrap="square">
            <a:spAutoFit/>
          </a:bodyPr>
          <a:lstStyle/>
          <a:p>
            <a:pPr marL="1165210" lvl="2" indent="-285750">
              <a:lnSpc>
                <a:spcPct val="150000"/>
              </a:lnSpc>
              <a:spcAft>
                <a:spcPts val="25"/>
              </a:spcAft>
              <a:buFont typeface="Wingdings" panose="05000000000000000000" pitchFamily="2" charset="2"/>
              <a:buChar char="§"/>
            </a:pPr>
            <a:r>
              <a:rPr lang="es-ES" sz="1400"/>
              <a:t>Un sistema de software puede ser probado en diferentes niveles. Los niveles de prueba típicos son, desde la base de la pirámide hasta la cima, unidad, integración, sistema y aceptación.</a:t>
            </a:r>
          </a:p>
          <a:p>
            <a:pPr marL="1165210" lvl="2" indent="-285750">
              <a:lnSpc>
                <a:spcPct val="150000"/>
              </a:lnSpc>
              <a:spcAft>
                <a:spcPts val="25"/>
              </a:spcAft>
              <a:buFont typeface="Wingdings" panose="05000000000000000000" pitchFamily="2" charset="2"/>
              <a:buChar char="§"/>
            </a:pPr>
            <a:r>
              <a:rPr lang="es-ES" sz="1400"/>
              <a:t>La pirámide de prueba hace hincapié en tener un </a:t>
            </a:r>
            <a:r>
              <a:rPr lang="es-ES" sz="1400">
                <a:highlight>
                  <a:srgbClr val="FFFF00"/>
                </a:highlight>
              </a:rPr>
              <a:t>gran</a:t>
            </a:r>
            <a:r>
              <a:rPr lang="es-ES" sz="1400"/>
              <a:t> </a:t>
            </a:r>
            <a:r>
              <a:rPr lang="es-ES" sz="1400">
                <a:highlight>
                  <a:srgbClr val="FFFF00"/>
                </a:highlight>
              </a:rPr>
              <a:t>número de pruebas en los niveles inferiores </a:t>
            </a:r>
            <a:r>
              <a:rPr lang="es-ES" sz="1400"/>
              <a:t>(base de la pirámide) y, a medida que el desarrollo avanza hacia los niveles superiores, el número de pruebas disminuye (cima de la pirámide)</a:t>
            </a:r>
          </a:p>
          <a:p>
            <a:pPr marL="1165210" lvl="2" indent="-285750">
              <a:lnSpc>
                <a:spcPct val="150000"/>
              </a:lnSpc>
              <a:spcAft>
                <a:spcPts val="25"/>
              </a:spcAft>
              <a:buFont typeface="Wingdings" panose="05000000000000000000" pitchFamily="2" charset="2"/>
              <a:buChar char="§"/>
            </a:pPr>
            <a:r>
              <a:rPr lang="es-ES" sz="1400"/>
              <a:t>El concepto de pirámide de prueba se basa en el principio de control de calidad y pruebas tempranas.</a:t>
            </a:r>
          </a:p>
        </p:txBody>
      </p:sp>
      <p:sp>
        <p:nvSpPr>
          <p:cNvPr id="11" name="TextBox 10">
            <a:extLst>
              <a:ext uri="{FF2B5EF4-FFF2-40B4-BE49-F238E27FC236}">
                <a16:creationId xmlns:a16="http://schemas.microsoft.com/office/drawing/2014/main" id="{2EE377CC-F1E6-4B49-96B4-62A92DDF3C95}"/>
              </a:ext>
            </a:extLst>
          </p:cNvPr>
          <p:cNvSpPr txBox="1"/>
          <p:nvPr/>
        </p:nvSpPr>
        <p:spPr>
          <a:xfrm>
            <a:off x="8477250" y="4491297"/>
            <a:ext cx="2190750" cy="615553"/>
          </a:xfrm>
          <a:prstGeom prst="rect">
            <a:avLst/>
          </a:prstGeom>
          <a:noFill/>
        </p:spPr>
        <p:txBody>
          <a:bodyPr wrap="square" lIns="0" tIns="0" rIns="0" bIns="0" rtlCol="0">
            <a:spAutoFit/>
          </a:bodyPr>
          <a:lstStyle/>
          <a:p>
            <a:pPr algn="ctr">
              <a:spcBef>
                <a:spcPts val="600"/>
              </a:spcBef>
              <a:buSzPct val="100000"/>
            </a:pPr>
            <a:r>
              <a:rPr lang="es-ES" sz="2000">
                <a:solidFill>
                  <a:schemeClr val="bg1"/>
                </a:solidFill>
              </a:rPr>
              <a:t>Gran número de pruebas</a:t>
            </a:r>
          </a:p>
        </p:txBody>
      </p:sp>
      <p:sp>
        <p:nvSpPr>
          <p:cNvPr id="17" name="TextBox 16">
            <a:extLst>
              <a:ext uri="{FF2B5EF4-FFF2-40B4-BE49-F238E27FC236}">
                <a16:creationId xmlns:a16="http://schemas.microsoft.com/office/drawing/2014/main" id="{2CE40CCC-8EB4-472F-B1D7-B766168C2EBA}"/>
              </a:ext>
            </a:extLst>
          </p:cNvPr>
          <p:cNvSpPr txBox="1"/>
          <p:nvPr/>
        </p:nvSpPr>
        <p:spPr>
          <a:xfrm>
            <a:off x="9105899" y="2717163"/>
            <a:ext cx="942975" cy="369332"/>
          </a:xfrm>
          <a:prstGeom prst="rect">
            <a:avLst/>
          </a:prstGeom>
          <a:noFill/>
        </p:spPr>
        <p:txBody>
          <a:bodyPr wrap="square" lIns="0" tIns="0" rIns="0" bIns="0" rtlCol="0">
            <a:spAutoFit/>
          </a:bodyPr>
          <a:lstStyle/>
          <a:p>
            <a:pPr algn="ctr">
              <a:spcBef>
                <a:spcPts val="600"/>
              </a:spcBef>
              <a:buSzPct val="100000"/>
            </a:pPr>
            <a:r>
              <a:rPr lang="es-ES" sz="1200">
                <a:solidFill>
                  <a:schemeClr val="bg1"/>
                </a:solidFill>
              </a:rPr>
              <a:t>Menos pruebas</a:t>
            </a:r>
          </a:p>
        </p:txBody>
      </p:sp>
      <p:cxnSp>
        <p:nvCxnSpPr>
          <p:cNvPr id="23" name="Straight Arrow Connector 22">
            <a:extLst>
              <a:ext uri="{FF2B5EF4-FFF2-40B4-BE49-F238E27FC236}">
                <a16:creationId xmlns:a16="http://schemas.microsoft.com/office/drawing/2014/main" id="{C32BEEF6-12CA-481E-8D6E-2DA785035B36}"/>
              </a:ext>
            </a:extLst>
          </p:cNvPr>
          <p:cNvCxnSpPr>
            <a:cxnSpLocks/>
          </p:cNvCxnSpPr>
          <p:nvPr/>
        </p:nvCxnSpPr>
        <p:spPr>
          <a:xfrm flipV="1">
            <a:off x="10763250" y="2564194"/>
            <a:ext cx="0" cy="2784976"/>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graphicFrame>
        <p:nvGraphicFramePr>
          <p:cNvPr id="4" name="Diagram 3">
            <a:extLst>
              <a:ext uri="{FF2B5EF4-FFF2-40B4-BE49-F238E27FC236}">
                <a16:creationId xmlns:a16="http://schemas.microsoft.com/office/drawing/2014/main" id="{F72DE215-CC1C-4E91-7E25-BCF9EB654D94}"/>
              </a:ext>
            </a:extLst>
          </p:cNvPr>
          <p:cNvGraphicFramePr/>
          <p:nvPr/>
        </p:nvGraphicFramePr>
        <p:xfrm>
          <a:off x="7023853" y="2564194"/>
          <a:ext cx="3505357" cy="295728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TextBox 4">
            <a:extLst>
              <a:ext uri="{FF2B5EF4-FFF2-40B4-BE49-F238E27FC236}">
                <a16:creationId xmlns:a16="http://schemas.microsoft.com/office/drawing/2014/main" id="{9D256CE8-2B4A-1F80-5F68-495361ABF8F9}"/>
              </a:ext>
            </a:extLst>
          </p:cNvPr>
          <p:cNvSpPr txBox="1"/>
          <p:nvPr/>
        </p:nvSpPr>
        <p:spPr>
          <a:xfrm>
            <a:off x="11053599" y="2717163"/>
            <a:ext cx="1216351" cy="2554545"/>
          </a:xfrm>
          <a:prstGeom prst="rect">
            <a:avLst/>
          </a:prstGeom>
          <a:noFill/>
        </p:spPr>
        <p:txBody>
          <a:bodyPr wrap="square" lIns="0" tIns="0" rIns="0" bIns="0" rtlCol="0">
            <a:spAutoFit/>
          </a:bodyPr>
          <a:lstStyle/>
          <a:p>
            <a:pPr>
              <a:spcBef>
                <a:spcPts val="600"/>
              </a:spcBef>
              <a:buSzPct val="100000"/>
            </a:pPr>
            <a:r>
              <a:rPr lang="es-ES_tradnl" sz="1400">
                <a:solidFill>
                  <a:srgbClr val="313131"/>
                </a:solidFill>
              </a:rPr>
              <a:t>-</a:t>
            </a:r>
          </a:p>
          <a:p>
            <a:pPr>
              <a:spcBef>
                <a:spcPts val="600"/>
              </a:spcBef>
              <a:buSzPct val="100000"/>
            </a:pPr>
            <a:endParaRPr lang="es-ES_tradnl" sz="1400">
              <a:solidFill>
                <a:srgbClr val="313131"/>
              </a:solidFill>
            </a:endParaRPr>
          </a:p>
          <a:p>
            <a:pPr>
              <a:spcBef>
                <a:spcPts val="600"/>
              </a:spcBef>
              <a:buSzPct val="100000"/>
            </a:pPr>
            <a:r>
              <a:rPr lang="es-ES_tradnl" sz="1400">
                <a:solidFill>
                  <a:srgbClr val="313131"/>
                </a:solidFill>
              </a:rPr>
              <a:t> </a:t>
            </a:r>
          </a:p>
          <a:p>
            <a:pPr>
              <a:spcBef>
                <a:spcPts val="600"/>
              </a:spcBef>
              <a:buSzPct val="100000"/>
            </a:pPr>
            <a:endParaRPr lang="es-ES_tradnl" sz="1400">
              <a:solidFill>
                <a:srgbClr val="313131"/>
              </a:solidFill>
            </a:endParaRPr>
          </a:p>
          <a:p>
            <a:pPr>
              <a:spcBef>
                <a:spcPts val="600"/>
              </a:spcBef>
              <a:buSzPct val="100000"/>
            </a:pPr>
            <a:r>
              <a:rPr lang="es-ES_tradnl" sz="1400">
                <a:solidFill>
                  <a:srgbClr val="313131"/>
                </a:solidFill>
              </a:rPr>
              <a:t>Pruebas</a:t>
            </a:r>
          </a:p>
          <a:p>
            <a:pPr>
              <a:spcBef>
                <a:spcPts val="600"/>
              </a:spcBef>
              <a:buSzPct val="100000"/>
            </a:pPr>
            <a:endParaRPr lang="es-ES_tradnl" sz="1400">
              <a:solidFill>
                <a:srgbClr val="313131"/>
              </a:solidFill>
            </a:endParaRPr>
          </a:p>
          <a:p>
            <a:pPr>
              <a:spcBef>
                <a:spcPts val="600"/>
              </a:spcBef>
              <a:buSzPct val="100000"/>
            </a:pPr>
            <a:endParaRPr lang="es-ES_tradnl" sz="1400">
              <a:solidFill>
                <a:srgbClr val="313131"/>
              </a:solidFill>
            </a:endParaRPr>
          </a:p>
          <a:p>
            <a:pPr>
              <a:spcBef>
                <a:spcPts val="600"/>
              </a:spcBef>
              <a:buSzPct val="100000"/>
            </a:pPr>
            <a:endParaRPr lang="es-ES_tradnl" sz="1400">
              <a:solidFill>
                <a:srgbClr val="313131"/>
              </a:solidFill>
            </a:endParaRPr>
          </a:p>
          <a:p>
            <a:pPr>
              <a:spcBef>
                <a:spcPts val="600"/>
              </a:spcBef>
              <a:buSzPct val="100000"/>
            </a:pPr>
            <a:r>
              <a:rPr lang="es-ES_tradnl" sz="1400">
                <a:solidFill>
                  <a:srgbClr val="313131"/>
                </a:solidFill>
              </a:rPr>
              <a:t>+</a:t>
            </a:r>
            <a:endParaRPr lang="es-ES" sz="1400">
              <a:solidFill>
                <a:srgbClr val="313131"/>
              </a:solidFill>
            </a:endParaRPr>
          </a:p>
        </p:txBody>
      </p:sp>
    </p:spTree>
    <p:extLst>
      <p:ext uri="{BB962C8B-B14F-4D97-AF65-F5344CB8AC3E}">
        <p14:creationId xmlns:p14="http://schemas.microsoft.com/office/powerpoint/2010/main" val="87638678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3618298"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1 Métodos de Prueba Ágil</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Cuadrantes de Prueba</a:t>
            </a: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171450" y="2409806"/>
            <a:ext cx="4391025" cy="2957284"/>
          </a:xfrm>
          <a:prstGeom prst="rect">
            <a:avLst/>
          </a:prstGeom>
          <a:noFill/>
        </p:spPr>
        <p:txBody>
          <a:bodyPr wrap="square">
            <a:spAutoFit/>
          </a:bodyPr>
          <a:lstStyle/>
          <a:p>
            <a:pPr marL="1165210" lvl="2" indent="-285750">
              <a:lnSpc>
                <a:spcPct val="150000"/>
              </a:lnSpc>
              <a:spcAft>
                <a:spcPts val="25"/>
              </a:spcAft>
              <a:buFont typeface="Wingdings" panose="05000000000000000000" pitchFamily="2" charset="2"/>
              <a:buChar char="§"/>
            </a:pPr>
            <a:r>
              <a:rPr lang="es-ES" sz="1400"/>
              <a:t>Los cuadrantes de prueba alinean los niveles de prueba con los tipos de prueba adecuados en la metodología ágil.</a:t>
            </a:r>
          </a:p>
          <a:p>
            <a:pPr marL="1165210" lvl="2" indent="-285750">
              <a:lnSpc>
                <a:spcPct val="150000"/>
              </a:lnSpc>
              <a:spcAft>
                <a:spcPts val="25"/>
              </a:spcAft>
              <a:buFont typeface="Wingdings" panose="05000000000000000000" pitchFamily="2" charset="2"/>
              <a:buChar char="§"/>
            </a:pPr>
            <a:r>
              <a:rPr lang="es-ES" sz="1400"/>
              <a:t>Las pruebas pueden ser totalmente manuales, totalmente automatizadas o una combinación de manuales y automatizadas</a:t>
            </a:r>
          </a:p>
        </p:txBody>
      </p:sp>
      <p:sp>
        <p:nvSpPr>
          <p:cNvPr id="11" name="TextBox 10">
            <a:extLst>
              <a:ext uri="{FF2B5EF4-FFF2-40B4-BE49-F238E27FC236}">
                <a16:creationId xmlns:a16="http://schemas.microsoft.com/office/drawing/2014/main" id="{2EE377CC-F1E6-4B49-96B4-62A92DDF3C95}"/>
              </a:ext>
            </a:extLst>
          </p:cNvPr>
          <p:cNvSpPr txBox="1"/>
          <p:nvPr/>
        </p:nvSpPr>
        <p:spPr>
          <a:xfrm>
            <a:off x="8858250" y="4462722"/>
            <a:ext cx="2190750" cy="615553"/>
          </a:xfrm>
          <a:prstGeom prst="rect">
            <a:avLst/>
          </a:prstGeom>
          <a:noFill/>
        </p:spPr>
        <p:txBody>
          <a:bodyPr wrap="square" lIns="0" tIns="0" rIns="0" bIns="0" rtlCol="0">
            <a:spAutoFit/>
          </a:bodyPr>
          <a:lstStyle/>
          <a:p>
            <a:pPr>
              <a:spcBef>
                <a:spcPts val="600"/>
              </a:spcBef>
              <a:buSzPct val="100000"/>
            </a:pPr>
            <a:r>
              <a:rPr lang="es-ES" sz="2000">
                <a:solidFill>
                  <a:schemeClr val="bg1"/>
                </a:solidFill>
              </a:rPr>
              <a:t>Gran número de pruebas</a:t>
            </a:r>
          </a:p>
        </p:txBody>
      </p:sp>
      <p:sp>
        <p:nvSpPr>
          <p:cNvPr id="4" name="Rectangle 3">
            <a:extLst>
              <a:ext uri="{FF2B5EF4-FFF2-40B4-BE49-F238E27FC236}">
                <a16:creationId xmlns:a16="http://schemas.microsoft.com/office/drawing/2014/main" id="{4E507AA6-83B5-4019-AF02-22F9BE5965CF}"/>
              </a:ext>
            </a:extLst>
          </p:cNvPr>
          <p:cNvSpPr/>
          <p:nvPr/>
        </p:nvSpPr>
        <p:spPr bwMode="gray">
          <a:xfrm>
            <a:off x="4553868" y="2138799"/>
            <a:ext cx="3609057" cy="2233175"/>
          </a:xfrm>
          <a:prstGeom prst="rect">
            <a:avLst/>
          </a:prstGeom>
          <a:solidFill>
            <a:schemeClr val="accent1"/>
          </a:solidFill>
          <a:ln w="38100">
            <a:solidFill>
              <a:srgbClr val="2C5234"/>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nSpc>
                <a:spcPct val="106000"/>
              </a:lnSpc>
              <a:buFont typeface="Wingdings 2" pitchFamily="18" charset="2"/>
              <a:buNone/>
            </a:pPr>
            <a:r>
              <a:rPr lang="es-ES" sz="2000" b="1" u="sng">
                <a:effectLst/>
                <a:latin typeface="Calibri" panose="020F0502020204030204" pitchFamily="34" charset="0"/>
                <a:ea typeface="Calibri" panose="020F0502020204030204" pitchFamily="34" charset="0"/>
                <a:cs typeface="Times New Roman" panose="02020603050405020304" pitchFamily="18" charset="0"/>
              </a:rPr>
              <a:t>Q1</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E</a:t>
            </a:r>
            <a:r>
              <a:rPr lang="es-ES" sz="1400">
                <a:effectLst/>
                <a:latin typeface="Calibri" panose="020F0502020204030204" pitchFamily="34" charset="0"/>
                <a:ea typeface="Calibri" panose="020F0502020204030204" pitchFamily="34" charset="0"/>
                <a:cs typeface="Times New Roman" panose="02020603050405020304" pitchFamily="18" charset="0"/>
              </a:rPr>
              <a:t>s el nivel unitario</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Apoya a los desarrolladores</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C</a:t>
            </a:r>
            <a:r>
              <a:rPr lang="es-ES" sz="1400">
                <a:effectLst/>
                <a:latin typeface="Calibri" panose="020F0502020204030204" pitchFamily="34" charset="0"/>
                <a:ea typeface="Calibri" panose="020F0502020204030204" pitchFamily="34" charset="0"/>
                <a:cs typeface="Times New Roman" panose="02020603050405020304" pitchFamily="18" charset="0"/>
              </a:rPr>
              <a:t>ontiene pruebas unitarias</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Estas pruebas deben automatizarse</a:t>
            </a:r>
          </a:p>
          <a:p>
            <a:pPr>
              <a:lnSpc>
                <a:spcPct val="106000"/>
              </a:lnSpc>
              <a:buFont typeface="Wingdings 2" pitchFamily="18" charset="2"/>
              <a:buNone/>
            </a:pPr>
            <a:endParaRPr lang="es-ES" sz="1600" b="1">
              <a:solidFill>
                <a:schemeClr val="bg1"/>
              </a:solidFill>
            </a:endParaRPr>
          </a:p>
        </p:txBody>
      </p:sp>
      <p:sp>
        <p:nvSpPr>
          <p:cNvPr id="22" name="Rectangle 21">
            <a:extLst>
              <a:ext uri="{FF2B5EF4-FFF2-40B4-BE49-F238E27FC236}">
                <a16:creationId xmlns:a16="http://schemas.microsoft.com/office/drawing/2014/main" id="{70C978E3-655F-4F73-BC4B-D65400CAD935}"/>
              </a:ext>
            </a:extLst>
          </p:cNvPr>
          <p:cNvSpPr/>
          <p:nvPr/>
        </p:nvSpPr>
        <p:spPr bwMode="gray">
          <a:xfrm>
            <a:off x="8172450" y="2138799"/>
            <a:ext cx="3609057" cy="2233175"/>
          </a:xfrm>
          <a:prstGeom prst="rect">
            <a:avLst/>
          </a:prstGeom>
          <a:solidFill>
            <a:srgbClr val="43B02A"/>
          </a:solidFill>
          <a:ln w="38100">
            <a:solidFill>
              <a:srgbClr val="2C5234"/>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nSpc>
                <a:spcPct val="106000"/>
              </a:lnSpc>
              <a:buFont typeface="Wingdings 2" pitchFamily="18" charset="2"/>
              <a:buNone/>
            </a:pPr>
            <a:r>
              <a:rPr lang="es-ES" sz="2000" b="1" u="sng">
                <a:effectLst/>
                <a:latin typeface="Calibri" panose="020F0502020204030204" pitchFamily="34" charset="0"/>
                <a:ea typeface="Calibri" panose="020F0502020204030204" pitchFamily="34" charset="0"/>
                <a:cs typeface="Times New Roman" panose="02020603050405020304" pitchFamily="18" charset="0"/>
              </a:rPr>
              <a:t>Q2</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E</a:t>
            </a:r>
            <a:r>
              <a:rPr lang="es-ES" sz="1400">
                <a:effectLst/>
                <a:latin typeface="Calibri" panose="020F0502020204030204" pitchFamily="34" charset="0"/>
                <a:ea typeface="Calibri" panose="020F0502020204030204" pitchFamily="34" charset="0"/>
                <a:cs typeface="Times New Roman" panose="02020603050405020304" pitchFamily="18" charset="0"/>
              </a:rPr>
              <a:t>s el nivel </a:t>
            </a:r>
            <a:r>
              <a:rPr lang="es-ES" sz="1400">
                <a:latin typeface="Calibri" panose="020F0502020204030204" pitchFamily="34" charset="0"/>
                <a:ea typeface="Calibri" panose="020F0502020204030204" pitchFamily="34" charset="0"/>
                <a:cs typeface="Times New Roman" panose="02020603050405020304" pitchFamily="18" charset="0"/>
              </a:rPr>
              <a:t>sistema</a:t>
            </a:r>
            <a:endParaRPr lang="es-ES" sz="14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De cara al negocio, comportamiento.</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Contiene pruebas funcionales</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Comprueban los criterios de aceptación</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Pueden ser manuales o automatizadas </a:t>
            </a:r>
          </a:p>
        </p:txBody>
      </p:sp>
      <p:sp>
        <p:nvSpPr>
          <p:cNvPr id="24" name="Rectangle 23">
            <a:extLst>
              <a:ext uri="{FF2B5EF4-FFF2-40B4-BE49-F238E27FC236}">
                <a16:creationId xmlns:a16="http://schemas.microsoft.com/office/drawing/2014/main" id="{8387461A-C4E3-4718-9C9C-66A63EA162E1}"/>
              </a:ext>
            </a:extLst>
          </p:cNvPr>
          <p:cNvSpPr/>
          <p:nvPr/>
        </p:nvSpPr>
        <p:spPr bwMode="gray">
          <a:xfrm>
            <a:off x="8172450" y="4396046"/>
            <a:ext cx="3609057" cy="2233175"/>
          </a:xfrm>
          <a:prstGeom prst="rect">
            <a:avLst/>
          </a:prstGeom>
          <a:solidFill>
            <a:srgbClr val="6A951B"/>
          </a:solidFill>
          <a:ln w="38100">
            <a:solidFill>
              <a:srgbClr val="2C5234"/>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nSpc>
                <a:spcPct val="106000"/>
              </a:lnSpc>
              <a:buFont typeface="Wingdings 2" pitchFamily="18" charset="2"/>
              <a:buNone/>
            </a:pPr>
            <a:r>
              <a:rPr lang="es-ES" sz="2000" b="1" u="sng">
                <a:effectLst/>
                <a:latin typeface="Calibri" panose="020F0502020204030204" pitchFamily="34" charset="0"/>
                <a:ea typeface="Calibri" panose="020F0502020204030204" pitchFamily="34" charset="0"/>
                <a:cs typeface="Times New Roman" panose="02020603050405020304" pitchFamily="18" charset="0"/>
              </a:rPr>
              <a:t>Q4</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E</a:t>
            </a:r>
            <a:r>
              <a:rPr lang="es-ES" sz="1400">
                <a:effectLst/>
                <a:latin typeface="Calibri" panose="020F0502020204030204" pitchFamily="34" charset="0"/>
                <a:ea typeface="Calibri" panose="020F0502020204030204" pitchFamily="34" charset="0"/>
                <a:cs typeface="Times New Roman" panose="02020603050405020304" pitchFamily="18" charset="0"/>
              </a:rPr>
              <a:t>s el nivel de aceptación de </a:t>
            </a:r>
            <a:r>
              <a:rPr lang="es-ES" sz="1400">
                <a:latin typeface="Calibri" panose="020F0502020204030204" pitchFamily="34" charset="0"/>
                <a:ea typeface="Calibri" panose="020F0502020204030204" pitchFamily="34" charset="0"/>
                <a:cs typeface="Times New Roman" panose="02020603050405020304" pitchFamily="18" charset="0"/>
              </a:rPr>
              <a:t>operativa.</a:t>
            </a:r>
            <a:endParaRPr lang="es-ES" sz="14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Orientado a la tecnología.</a:t>
            </a:r>
            <a:endParaRPr lang="es-ES" sz="14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Contiene pruebas de rendimiento, carga, estrés y escalabilidad, seguridad, mantenibilidad, memoria,…</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Estas pruebas suelen estar automatizadas.</a:t>
            </a:r>
          </a:p>
        </p:txBody>
      </p:sp>
      <p:sp>
        <p:nvSpPr>
          <p:cNvPr id="3" name="Rectangle 2">
            <a:extLst>
              <a:ext uri="{FF2B5EF4-FFF2-40B4-BE49-F238E27FC236}">
                <a16:creationId xmlns:a16="http://schemas.microsoft.com/office/drawing/2014/main" id="{FC4310D7-FBFE-A82D-E6CE-CA2FC3C8F496}"/>
              </a:ext>
            </a:extLst>
          </p:cNvPr>
          <p:cNvSpPr/>
          <p:nvPr/>
        </p:nvSpPr>
        <p:spPr bwMode="gray">
          <a:xfrm>
            <a:off x="4553868" y="4396046"/>
            <a:ext cx="3609057" cy="2233175"/>
          </a:xfrm>
          <a:prstGeom prst="rect">
            <a:avLst/>
          </a:prstGeom>
          <a:solidFill>
            <a:srgbClr val="C4D600"/>
          </a:solidFill>
          <a:ln w="38100">
            <a:solidFill>
              <a:srgbClr val="2C5234"/>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nSpc>
                <a:spcPct val="106000"/>
              </a:lnSpc>
              <a:buFont typeface="Wingdings 2" pitchFamily="18" charset="2"/>
              <a:buNone/>
            </a:pPr>
            <a:r>
              <a:rPr lang="es-ES" sz="2000" b="1" u="sng">
                <a:effectLst/>
                <a:latin typeface="Calibri" panose="020F0502020204030204" pitchFamily="34" charset="0"/>
                <a:ea typeface="Calibri" panose="020F0502020204030204" pitchFamily="34" charset="0"/>
                <a:cs typeface="Times New Roman" panose="02020603050405020304" pitchFamily="18" charset="0"/>
              </a:rPr>
              <a:t>Q3</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E</a:t>
            </a:r>
            <a:r>
              <a:rPr lang="es-ES" sz="1400">
                <a:effectLst/>
                <a:latin typeface="Calibri" panose="020F0502020204030204" pitchFamily="34" charset="0"/>
                <a:ea typeface="Calibri" panose="020F0502020204030204" pitchFamily="34" charset="0"/>
                <a:cs typeface="Times New Roman" panose="02020603050405020304" pitchFamily="18" charset="0"/>
              </a:rPr>
              <a:t>s el nivel de aceptación de sistema</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De cara al negocio</a:t>
            </a:r>
            <a:endParaRPr lang="es-ES" sz="140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Contiene pruebas exploratorias</a:t>
            </a:r>
          </a:p>
          <a:p>
            <a:pPr marL="285750" indent="-285750">
              <a:lnSpc>
                <a:spcPct val="106000"/>
              </a:lnSpc>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Estas pruebas suelen ser manuales y están orientadas al usuario</a:t>
            </a:r>
          </a:p>
        </p:txBody>
      </p:sp>
    </p:spTree>
    <p:extLst>
      <p:ext uri="{BB962C8B-B14F-4D97-AF65-F5344CB8AC3E}">
        <p14:creationId xmlns:p14="http://schemas.microsoft.com/office/powerpoint/2010/main" val="119224490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3618298"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1 Métodos de Prueba Ágil</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El Rol de un probador en un ciclo de vida Scrum:</a:t>
            </a:r>
            <a:endParaRPr lang="es-ES_tradnl" sz="500" u="sng">
              <a:sym typeface="Wingdings" panose="05000000000000000000" pitchFamily="2" charset="2"/>
            </a:endParaRPr>
          </a:p>
        </p:txBody>
      </p:sp>
      <p:sp>
        <p:nvSpPr>
          <p:cNvPr id="17" name="TextBox 16">
            <a:extLst>
              <a:ext uri="{FF2B5EF4-FFF2-40B4-BE49-F238E27FC236}">
                <a16:creationId xmlns:a16="http://schemas.microsoft.com/office/drawing/2014/main" id="{A3F420B2-491C-4901-AB33-696403EA3D75}"/>
              </a:ext>
            </a:extLst>
          </p:cNvPr>
          <p:cNvSpPr txBox="1"/>
          <p:nvPr/>
        </p:nvSpPr>
        <p:spPr>
          <a:xfrm>
            <a:off x="0" y="1714843"/>
            <a:ext cx="11089254" cy="723275"/>
          </a:xfrm>
          <a:prstGeom prst="rect">
            <a:avLst/>
          </a:prstGeom>
          <a:noFill/>
        </p:spPr>
        <p:txBody>
          <a:bodyPr wrap="square" lIns="0" tIns="0" rIns="0" bIns="0" rtlCol="0">
            <a:spAutoFit/>
          </a:bodyPr>
          <a:lstStyle/>
          <a:p>
            <a:pPr marL="269875" lvl="1">
              <a:spcAft>
                <a:spcPts val="25"/>
              </a:spcAft>
            </a:pPr>
            <a:endParaRPr lang="es-ES" sz="1400" b="1"/>
          </a:p>
          <a:p>
            <a:pPr marL="269875" lvl="1">
              <a:spcAft>
                <a:spcPts val="25"/>
              </a:spcAft>
            </a:pPr>
            <a:endParaRPr lang="es-ES_tradnl" sz="1200" b="1">
              <a:sym typeface="Wingdings" panose="05000000000000000000" pitchFamily="2" charset="2"/>
            </a:endParaRPr>
          </a:p>
          <a:p>
            <a:pPr marL="1050910" lvl="2" indent="-171450">
              <a:spcAft>
                <a:spcPts val="25"/>
              </a:spcAft>
              <a:buFont typeface="Wingdings" panose="05000000000000000000" pitchFamily="2" charset="2"/>
              <a:buChar char="Ø"/>
            </a:pPr>
            <a:r>
              <a:rPr lang="es-ES_tradnl" sz="1600">
                <a:sym typeface="Wingdings" panose="05000000000000000000" pitchFamily="2" charset="2"/>
              </a:rPr>
              <a:t> </a:t>
            </a:r>
            <a:r>
              <a:rPr lang="es-ES_tradnl" sz="1400">
                <a:sym typeface="Wingdings" panose="05000000000000000000" pitchFamily="2" charset="2"/>
              </a:rPr>
              <a:t>Trabajo en Equipo: buenas prácticas</a:t>
            </a:r>
            <a:endParaRPr lang="es-ES_tradnl" sz="1100" b="1">
              <a:sym typeface="Wingdings" panose="05000000000000000000" pitchFamily="2" charset="2"/>
            </a:endParaRPr>
          </a:p>
          <a:p>
            <a:pPr marL="555625" lvl="1" indent="-285750">
              <a:spcAft>
                <a:spcPts val="25"/>
              </a:spcAft>
              <a:buFont typeface="Wingdings" panose="05000000000000000000" pitchFamily="2" charset="2"/>
              <a:buChar char="q"/>
            </a:pPr>
            <a:endParaRPr lang="es-ES_tradnl" sz="500" u="sng">
              <a:sym typeface="Wingdings" panose="05000000000000000000" pitchFamily="2" charset="2"/>
            </a:endParaRPr>
          </a:p>
        </p:txBody>
      </p:sp>
      <p:graphicFrame>
        <p:nvGraphicFramePr>
          <p:cNvPr id="3" name="Diagram 2">
            <a:extLst>
              <a:ext uri="{FF2B5EF4-FFF2-40B4-BE49-F238E27FC236}">
                <a16:creationId xmlns:a16="http://schemas.microsoft.com/office/drawing/2014/main" id="{538B9272-2423-8036-8935-7EC871140791}"/>
              </a:ext>
            </a:extLst>
          </p:cNvPr>
          <p:cNvGraphicFramePr/>
          <p:nvPr/>
        </p:nvGraphicFramePr>
        <p:xfrm>
          <a:off x="1304428" y="2595267"/>
          <a:ext cx="9513294" cy="353825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83421734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3618298"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1 Métodos de Prueba Ágil</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El Rol de un probador</a:t>
            </a: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399892" y="2542236"/>
            <a:ext cx="11660596" cy="729495"/>
          </a:xfrm>
          <a:prstGeom prst="rect">
            <a:avLst/>
          </a:prstGeom>
          <a:noFill/>
        </p:spPr>
        <p:txBody>
          <a:bodyPr wrap="square">
            <a:spAutoFit/>
          </a:bodyPr>
          <a:lstStyle/>
          <a:p>
            <a:pPr lvl="0">
              <a:lnSpc>
                <a:spcPct val="107000"/>
              </a:lnSpc>
            </a:pPr>
            <a:r>
              <a:rPr lang="es-ES" sz="1600">
                <a:effectLst/>
                <a:latin typeface="Calibri" panose="020F0502020204030204" pitchFamily="34" charset="0"/>
                <a:ea typeface="Calibri" panose="020F0502020204030204" pitchFamily="34" charset="0"/>
                <a:cs typeface="Times New Roman" panose="02020603050405020304" pitchFamily="18" charset="0"/>
              </a:rPr>
              <a:t>El esprint cero es la primera iteración del proyecto en la que tienen lugar muchas actividades de preparación.</a:t>
            </a:r>
          </a:p>
          <a:p>
            <a:pPr lvl="0">
              <a:lnSpc>
                <a:spcPct val="107000"/>
              </a:lnSpc>
            </a:pPr>
            <a:r>
              <a:rPr lang="es-ES" sz="1600">
                <a:effectLst/>
                <a:latin typeface="Calibri" panose="020F0502020204030204" pitchFamily="34" charset="0"/>
                <a:ea typeface="Calibri" panose="020F0502020204030204" pitchFamily="34" charset="0"/>
                <a:cs typeface="Times New Roman" panose="02020603050405020304" pitchFamily="18" charset="0"/>
              </a:rPr>
              <a:t>El probador colabora con el equipo en las siguientes actividades durante esta iteración:</a:t>
            </a:r>
          </a:p>
          <a:p>
            <a:pPr lvl="0">
              <a:lnSpc>
                <a:spcPct val="107000"/>
              </a:lnSpc>
            </a:pPr>
            <a:endParaRPr lang="es-ES" sz="7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7" name="TextBox 16">
            <a:extLst>
              <a:ext uri="{FF2B5EF4-FFF2-40B4-BE49-F238E27FC236}">
                <a16:creationId xmlns:a16="http://schemas.microsoft.com/office/drawing/2014/main" id="{A3F420B2-491C-4901-AB33-696403EA3D75}"/>
              </a:ext>
            </a:extLst>
          </p:cNvPr>
          <p:cNvSpPr txBox="1"/>
          <p:nvPr/>
        </p:nvSpPr>
        <p:spPr>
          <a:xfrm>
            <a:off x="190507" y="1770331"/>
            <a:ext cx="11089254" cy="723275"/>
          </a:xfrm>
          <a:prstGeom prst="rect">
            <a:avLst/>
          </a:prstGeom>
          <a:noFill/>
        </p:spPr>
        <p:txBody>
          <a:bodyPr wrap="square" lIns="0" tIns="0" rIns="0" bIns="0" rtlCol="0">
            <a:spAutoFit/>
          </a:bodyPr>
          <a:lstStyle/>
          <a:p>
            <a:pPr marL="269875" lvl="1">
              <a:spcAft>
                <a:spcPts val="25"/>
              </a:spcAft>
            </a:pPr>
            <a:endParaRPr lang="es-ES" sz="1400" b="1"/>
          </a:p>
          <a:p>
            <a:pPr marL="269875" lvl="1">
              <a:spcAft>
                <a:spcPts val="25"/>
              </a:spcAft>
            </a:pPr>
            <a:endParaRPr lang="es-ES_tradnl" sz="1200" b="1">
              <a:sym typeface="Wingdings" panose="05000000000000000000" pitchFamily="2" charset="2"/>
            </a:endParaRPr>
          </a:p>
          <a:p>
            <a:pPr marL="1050910" lvl="2" indent="-171450">
              <a:spcAft>
                <a:spcPts val="25"/>
              </a:spcAft>
              <a:buFont typeface="Wingdings" panose="05000000000000000000" pitchFamily="2" charset="2"/>
              <a:buChar char="Ø"/>
            </a:pPr>
            <a:r>
              <a:rPr lang="es-ES_tradnl" sz="1600">
                <a:sym typeface="Wingdings" panose="05000000000000000000" pitchFamily="2" charset="2"/>
              </a:rPr>
              <a:t> </a:t>
            </a:r>
            <a:r>
              <a:rPr lang="es-ES_tradnl" sz="1400">
                <a:sym typeface="Wingdings" panose="05000000000000000000" pitchFamily="2" charset="2"/>
              </a:rPr>
              <a:t>Esprint Cero</a:t>
            </a:r>
            <a:endParaRPr lang="es-ES_tradnl" sz="1100" b="1">
              <a:sym typeface="Wingdings" panose="05000000000000000000" pitchFamily="2" charset="2"/>
            </a:endParaRPr>
          </a:p>
          <a:p>
            <a:pPr marL="555625" lvl="1" indent="-285750">
              <a:spcAft>
                <a:spcPts val="25"/>
              </a:spcAft>
              <a:buFont typeface="Wingdings" panose="05000000000000000000" pitchFamily="2" charset="2"/>
              <a:buChar char="q"/>
            </a:pPr>
            <a:endParaRPr lang="es-ES_tradnl" sz="500" u="sng">
              <a:sym typeface="Wingdings" panose="05000000000000000000" pitchFamily="2" charset="2"/>
            </a:endParaRPr>
          </a:p>
        </p:txBody>
      </p:sp>
      <p:graphicFrame>
        <p:nvGraphicFramePr>
          <p:cNvPr id="3" name="Diagram 2">
            <a:extLst>
              <a:ext uri="{FF2B5EF4-FFF2-40B4-BE49-F238E27FC236}">
                <a16:creationId xmlns:a16="http://schemas.microsoft.com/office/drawing/2014/main" id="{0A7E8AF5-2971-2559-8D7E-6EB53BA7029B}"/>
              </a:ext>
            </a:extLst>
          </p:cNvPr>
          <p:cNvGraphicFramePr/>
          <p:nvPr/>
        </p:nvGraphicFramePr>
        <p:xfrm>
          <a:off x="655345" y="3320361"/>
          <a:ext cx="9348966" cy="286660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12190574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3618298"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1 Métodos de Prueba Ágil</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El Rol de un probador</a:t>
            </a:r>
            <a:endParaRPr lang="es-ES_tradnl" sz="500" u="sng">
              <a:sym typeface="Wingdings" panose="05000000000000000000" pitchFamily="2" charset="2"/>
            </a:endParaRPr>
          </a:p>
        </p:txBody>
      </p:sp>
      <p:sp>
        <p:nvSpPr>
          <p:cNvPr id="17" name="TextBox 16">
            <a:extLst>
              <a:ext uri="{FF2B5EF4-FFF2-40B4-BE49-F238E27FC236}">
                <a16:creationId xmlns:a16="http://schemas.microsoft.com/office/drawing/2014/main" id="{A3F420B2-491C-4901-AB33-696403EA3D75}"/>
              </a:ext>
            </a:extLst>
          </p:cNvPr>
          <p:cNvSpPr txBox="1"/>
          <p:nvPr/>
        </p:nvSpPr>
        <p:spPr>
          <a:xfrm>
            <a:off x="155575" y="1660719"/>
            <a:ext cx="11089254" cy="5906232"/>
          </a:xfrm>
          <a:prstGeom prst="rect">
            <a:avLst/>
          </a:prstGeom>
          <a:noFill/>
        </p:spPr>
        <p:txBody>
          <a:bodyPr wrap="square" lIns="0" tIns="0" rIns="0" bIns="0" rtlCol="0">
            <a:spAutoFit/>
          </a:bodyPr>
          <a:lstStyle/>
          <a:p>
            <a:pPr marL="879460" lvl="2">
              <a:spcAft>
                <a:spcPts val="25"/>
              </a:spcAft>
            </a:pPr>
            <a:endParaRPr lang="es-ES" sz="1400" b="1">
              <a:sym typeface="Wingdings" panose="05000000000000000000" pitchFamily="2" charset="2"/>
            </a:endParaRPr>
          </a:p>
          <a:p>
            <a:pPr marL="879460" lvl="2">
              <a:spcAft>
                <a:spcPts val="25"/>
              </a:spcAft>
            </a:pPr>
            <a:endParaRPr lang="es-ES" sz="1400" b="1">
              <a:sym typeface="Wingdings" panose="05000000000000000000" pitchFamily="2" charset="2"/>
            </a:endParaRPr>
          </a:p>
          <a:p>
            <a:pPr marL="1165210" lvl="2" indent="-285750">
              <a:spcAft>
                <a:spcPts val="25"/>
              </a:spcAft>
              <a:buFont typeface="Wingdings" panose="05000000000000000000" pitchFamily="2" charset="2"/>
              <a:buChar char="Ø"/>
            </a:pPr>
            <a:r>
              <a:rPr lang="es-ES_tradnl" sz="1400">
                <a:sym typeface="Wingdings" panose="05000000000000000000" pitchFamily="2" charset="2"/>
              </a:rPr>
              <a:t>Integración</a:t>
            </a:r>
          </a:p>
          <a:p>
            <a:pPr marL="879460" lvl="2">
              <a:spcAft>
                <a:spcPts val="25"/>
              </a:spcAft>
            </a:pPr>
            <a:endParaRPr lang="es-ES_tradnl" sz="1400">
              <a:sym typeface="Wingdings" panose="05000000000000000000" pitchFamily="2" charset="2"/>
            </a:endParaRPr>
          </a:p>
          <a:p>
            <a:pPr marL="1774794" lvl="3" indent="-285750">
              <a:spcAft>
                <a:spcPts val="25"/>
              </a:spcAft>
              <a:buFont typeface="Wingdings" panose="05000000000000000000" pitchFamily="2" charset="2"/>
              <a:buChar char="§"/>
            </a:pPr>
            <a:r>
              <a:rPr lang="es-ES" sz="1400">
                <a:effectLst/>
                <a:latin typeface="Calibri" panose="020F0502020204030204" pitchFamily="34" charset="0"/>
                <a:ea typeface="Calibri" panose="020F0502020204030204" pitchFamily="34" charset="0"/>
                <a:cs typeface="Times New Roman" panose="02020603050405020304" pitchFamily="18" charset="0"/>
              </a:rPr>
              <a:t>En los proyectos ágiles, el objetivo es entregar valor al cliente de forma continua</a:t>
            </a:r>
          </a:p>
          <a:p>
            <a:pPr marL="1774794" lvl="3" indent="-285750">
              <a:spcAft>
                <a:spcPts val="25"/>
              </a:spcAft>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L</a:t>
            </a:r>
            <a:r>
              <a:rPr lang="es-ES" sz="1400">
                <a:effectLst/>
                <a:latin typeface="Calibri" panose="020F0502020204030204" pitchFamily="34" charset="0"/>
                <a:ea typeface="Calibri" panose="020F0502020204030204" pitchFamily="34" charset="0"/>
                <a:cs typeface="Times New Roman" panose="02020603050405020304" pitchFamily="18" charset="0"/>
              </a:rPr>
              <a:t>a estrategia de integración debe considerar tanto el diseño como la prueba</a:t>
            </a:r>
          </a:p>
          <a:p>
            <a:pPr marL="1774794" lvl="3" indent="-285750">
              <a:spcAft>
                <a:spcPts val="25"/>
              </a:spcAft>
              <a:buFont typeface="Wingdings" panose="05000000000000000000" pitchFamily="2" charset="2"/>
              <a:buChar char="§"/>
            </a:pPr>
            <a:r>
              <a:rPr lang="es-ES" sz="1400">
                <a:latin typeface="Calibri" panose="020F0502020204030204" pitchFamily="34" charset="0"/>
                <a:ea typeface="Calibri" panose="020F0502020204030204" pitchFamily="34" charset="0"/>
                <a:cs typeface="Times New Roman" panose="02020603050405020304" pitchFamily="18" charset="0"/>
              </a:rPr>
              <a:t>E</a:t>
            </a:r>
            <a:r>
              <a:rPr lang="es-ES" sz="1400">
                <a:effectLst/>
                <a:latin typeface="Calibri" panose="020F0502020204030204" pitchFamily="34" charset="0"/>
                <a:ea typeface="Calibri" panose="020F0502020204030204" pitchFamily="34" charset="0"/>
                <a:cs typeface="Times New Roman" panose="02020603050405020304" pitchFamily="18" charset="0"/>
              </a:rPr>
              <a:t>s importante identificar todas las dependencias entre las funciones y características subyacentes</a:t>
            </a:r>
          </a:p>
          <a:p>
            <a:pPr marL="1489044" lvl="3">
              <a:spcAft>
                <a:spcPts val="25"/>
              </a:spcAft>
            </a:pPr>
            <a:endParaRPr lang="es-ES" sz="1400">
              <a:effectLst/>
              <a:latin typeface="Calibri" panose="020F0502020204030204" pitchFamily="34" charset="0"/>
              <a:ea typeface="Calibri" panose="020F0502020204030204" pitchFamily="34" charset="0"/>
              <a:cs typeface="Times New Roman" panose="02020603050405020304" pitchFamily="18" charset="0"/>
            </a:endParaRPr>
          </a:p>
          <a:p>
            <a:pPr marL="1165210" lvl="2" indent="-285750">
              <a:spcAft>
                <a:spcPts val="25"/>
              </a:spcAft>
              <a:buFont typeface="Wingdings" panose="05000000000000000000" pitchFamily="2" charset="2"/>
              <a:buChar char="Ø"/>
            </a:pPr>
            <a:r>
              <a:rPr lang="es-ES_tradnl" sz="1400">
                <a:sym typeface="Wingdings" panose="05000000000000000000" pitchFamily="2" charset="2"/>
              </a:rPr>
              <a:t>Planificación de la prueba</a:t>
            </a:r>
          </a:p>
          <a:p>
            <a:pPr marL="879460" lvl="2">
              <a:spcAft>
                <a:spcPts val="25"/>
              </a:spcAft>
            </a:pPr>
            <a:endParaRPr lang="es-ES_tradnl" sz="1400">
              <a:sym typeface="Wingdings" panose="05000000000000000000" pitchFamily="2" charset="2"/>
            </a:endParaRPr>
          </a:p>
          <a:p>
            <a:pPr marL="1774794" lvl="3" indent="-285750">
              <a:spcAft>
                <a:spcPts val="25"/>
              </a:spcAft>
              <a:buFont typeface="Wingdings" panose="05000000000000000000" pitchFamily="2" charset="2"/>
              <a:buChar char="§"/>
            </a:pPr>
            <a:r>
              <a:rPr lang="es-ES" sz="1400">
                <a:effectLst/>
                <a:latin typeface="Calibri" panose="020F0502020204030204" pitchFamily="34" charset="0"/>
                <a:ea typeface="Calibri" panose="020F0502020204030204" pitchFamily="34" charset="0"/>
                <a:cs typeface="Times New Roman" panose="02020603050405020304" pitchFamily="18" charset="0"/>
              </a:rPr>
              <a:t>Dado que las pruebas están totalmente integradas en el equipo ágil, la planificación de la prueba debe comenzar durante la sesión de planificación de la entrega y actualizarse durante cada esprint.</a:t>
            </a:r>
          </a:p>
          <a:p>
            <a:pPr marL="1774794" lvl="3" indent="-285750">
              <a:spcAft>
                <a:spcPts val="25"/>
              </a:spcAft>
              <a:buFont typeface="Wingdings" panose="05000000000000000000" pitchFamily="2" charset="2"/>
              <a:buChar char="§"/>
            </a:pPr>
            <a:r>
              <a:rPr lang="es-ES" sz="1400">
                <a:effectLst/>
                <a:latin typeface="Calibri" panose="020F0502020204030204" pitchFamily="34" charset="0"/>
                <a:ea typeface="Calibri" panose="020F0502020204030204" pitchFamily="34" charset="0"/>
                <a:cs typeface="Times New Roman" panose="02020603050405020304" pitchFamily="18" charset="0"/>
              </a:rPr>
              <a:t>La planificación del esprint da como resultado un conjunto de tareas que se colocan en el tablero de tareas, donde cada tarea debe tener una duración de uno o dos días de trabajo.</a:t>
            </a:r>
          </a:p>
          <a:p>
            <a:pPr marL="1489044" lvl="3">
              <a:spcAft>
                <a:spcPts val="25"/>
              </a:spcAft>
            </a:pPr>
            <a:endParaRPr lang="es-ES" sz="1400">
              <a:effectLst/>
              <a:latin typeface="Calibri" panose="020F0502020204030204" pitchFamily="34" charset="0"/>
              <a:ea typeface="Calibri" panose="020F0502020204030204" pitchFamily="34" charset="0"/>
              <a:cs typeface="Times New Roman" panose="02020603050405020304" pitchFamily="18" charset="0"/>
            </a:endParaRPr>
          </a:p>
          <a:p>
            <a:pPr marL="1165210" lvl="2" indent="-285750">
              <a:spcAft>
                <a:spcPts val="25"/>
              </a:spcAft>
              <a:buFont typeface="Wingdings" panose="05000000000000000000" pitchFamily="2" charset="2"/>
              <a:buChar char="Ø"/>
            </a:pPr>
            <a:r>
              <a:rPr lang="es-ES_tradnl" sz="1400">
                <a:sym typeface="Wingdings" panose="05000000000000000000" pitchFamily="2" charset="2"/>
              </a:rPr>
              <a:t>Prácticas de Prueba Ágil</a:t>
            </a:r>
          </a:p>
          <a:p>
            <a:pPr marL="879460" lvl="2">
              <a:spcAft>
                <a:spcPts val="25"/>
              </a:spcAft>
            </a:pPr>
            <a:endParaRPr lang="es-ES_tradnl" sz="1400">
              <a:sym typeface="Wingdings" panose="05000000000000000000" pitchFamily="2" charset="2"/>
            </a:endParaRPr>
          </a:p>
          <a:p>
            <a:pPr marL="1774794" lvl="3" indent="-285750">
              <a:spcAft>
                <a:spcPts val="25"/>
              </a:spcAft>
              <a:buFont typeface="Wingdings" panose="05000000000000000000" pitchFamily="2" charset="2"/>
              <a:buChar char="§"/>
            </a:pPr>
            <a:r>
              <a:rPr lang="es-ES" sz="1400">
                <a:latin typeface="Calibri" panose="020F0502020204030204" pitchFamily="34" charset="0"/>
                <a:cs typeface="Calibri" panose="020F0502020204030204" pitchFamily="34" charset="0"/>
                <a:sym typeface="Wingdings" panose="05000000000000000000" pitchFamily="2" charset="2"/>
              </a:rPr>
              <a:t>Trabajo en pareja: Dos miembros del equipo se sientan juntos en un puesto de trabajo para realizar una prueba u otra tarea del esprint.</a:t>
            </a:r>
          </a:p>
          <a:p>
            <a:pPr marL="1774794" lvl="3" indent="-285750">
              <a:spcAft>
                <a:spcPts val="25"/>
              </a:spcAft>
              <a:buFont typeface="Wingdings" panose="05000000000000000000" pitchFamily="2" charset="2"/>
              <a:buChar char="§"/>
            </a:pPr>
            <a:r>
              <a:rPr lang="es-ES" sz="1400">
                <a:latin typeface="Calibri" panose="020F0502020204030204" pitchFamily="34" charset="0"/>
                <a:cs typeface="Calibri" panose="020F0502020204030204" pitchFamily="34" charset="0"/>
                <a:sym typeface="Wingdings" panose="05000000000000000000" pitchFamily="2" charset="2"/>
              </a:rPr>
              <a:t>Diseño de prueba incremental: Los casos de prueba y los contratos se construyen gradualmente a partir de las historias de usuario y otras bases de prueba</a:t>
            </a:r>
          </a:p>
          <a:p>
            <a:pPr marL="1774794" lvl="3" indent="-285750">
              <a:spcAft>
                <a:spcPts val="25"/>
              </a:spcAft>
              <a:buFont typeface="Wingdings" panose="05000000000000000000" pitchFamily="2" charset="2"/>
              <a:buChar char="§"/>
            </a:pPr>
            <a:r>
              <a:rPr lang="es-ES" sz="1400">
                <a:latin typeface="Calibri" panose="020F0502020204030204" pitchFamily="34" charset="0"/>
                <a:cs typeface="Calibri" panose="020F0502020204030204" pitchFamily="34" charset="0"/>
                <a:sym typeface="Wingdings" panose="05000000000000000000" pitchFamily="2" charset="2"/>
              </a:rPr>
              <a:t>Mapa Mental: Los mapas mentales son una herramienta útil a la hora de probar.</a:t>
            </a:r>
          </a:p>
          <a:p>
            <a:pPr marL="285750" indent="-285750">
              <a:lnSpc>
                <a:spcPct val="107000"/>
              </a:lnSpc>
              <a:buFont typeface="Wingdings" panose="05000000000000000000" pitchFamily="2" charset="2"/>
              <a:buChar char="§"/>
            </a:pPr>
            <a:endParaRPr lang="es-ES_tradnl" sz="1200">
              <a:sym typeface="Wingdings" panose="05000000000000000000" pitchFamily="2" charset="2"/>
            </a:endParaRPr>
          </a:p>
          <a:p>
            <a:pPr>
              <a:lnSpc>
                <a:spcPct val="107000"/>
              </a:lnSpc>
            </a:pPr>
            <a:endParaRPr lang="es-ES_tradnl" sz="1400">
              <a:sym typeface="Wingdings" panose="05000000000000000000" pitchFamily="2" charset="2"/>
            </a:endParaRPr>
          </a:p>
          <a:p>
            <a:pPr lvl="0">
              <a:lnSpc>
                <a:spcPct val="107000"/>
              </a:lnSpc>
            </a:pPr>
            <a:endParaRPr lang="es-ES" sz="1400">
              <a:effectLst/>
              <a:latin typeface="Calibri" panose="020F0502020204030204" pitchFamily="34" charset="0"/>
              <a:ea typeface="Calibri" panose="020F0502020204030204" pitchFamily="34" charset="0"/>
              <a:cs typeface="Times New Roman" panose="02020603050405020304" pitchFamily="18" charset="0"/>
            </a:endParaRPr>
          </a:p>
          <a:p>
            <a:pPr marL="1660494" lvl="3" indent="-171450">
              <a:spcAft>
                <a:spcPts val="25"/>
              </a:spcAft>
              <a:buFont typeface="Wingdings" panose="05000000000000000000" pitchFamily="2" charset="2"/>
              <a:buChar char="Ø"/>
            </a:pPr>
            <a:endParaRPr lang="es-ES_tradnl" sz="1400">
              <a:sym typeface="Wingdings" panose="05000000000000000000" pitchFamily="2" charset="2"/>
            </a:endParaRPr>
          </a:p>
          <a:p>
            <a:pPr marL="1660494" lvl="3" indent="-171450">
              <a:spcAft>
                <a:spcPts val="25"/>
              </a:spcAft>
              <a:buFont typeface="Wingdings" panose="05000000000000000000" pitchFamily="2" charset="2"/>
              <a:buChar char="Ø"/>
            </a:pPr>
            <a:endParaRPr lang="es-ES_tradnl" sz="1400" b="1">
              <a:sym typeface="Wingdings" panose="05000000000000000000" pitchFamily="2" charset="2"/>
            </a:endParaRPr>
          </a:p>
          <a:p>
            <a:pPr marL="555625" lvl="1" indent="-285750">
              <a:spcAft>
                <a:spcPts val="25"/>
              </a:spcAft>
              <a:buFont typeface="Wingdings" panose="05000000000000000000" pitchFamily="2" charset="2"/>
              <a:buChar char="q"/>
            </a:pPr>
            <a:endParaRPr lang="es-ES_tradnl" sz="500" u="sng">
              <a:sym typeface="Wingdings" panose="05000000000000000000" pitchFamily="2" charset="2"/>
            </a:endParaRPr>
          </a:p>
        </p:txBody>
      </p:sp>
    </p:spTree>
    <p:extLst>
      <p:ext uri="{BB962C8B-B14F-4D97-AF65-F5344CB8AC3E}">
        <p14:creationId xmlns:p14="http://schemas.microsoft.com/office/powerpoint/2010/main" val="4043896630"/>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8361584"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TEMA 3: MÉTODOS, TÉCNICAS Y HERRAMIENTAS DE PRUEBA ÁGILES</a:t>
            </a:r>
          </a:p>
        </p:txBody>
      </p:sp>
      <p:sp>
        <p:nvSpPr>
          <p:cNvPr id="60" name="Freeform 685">
            <a:extLst>
              <a:ext uri="{FF2B5EF4-FFF2-40B4-BE49-F238E27FC236}">
                <a16:creationId xmlns:a16="http://schemas.microsoft.com/office/drawing/2014/main" id="{3D1F0A89-067B-4D7D-AA41-ED6C03096218}"/>
              </a:ext>
            </a:extLst>
          </p:cNvPr>
          <p:cNvSpPr>
            <a:spLocks noEditPoints="1"/>
          </p:cNvSpPr>
          <p:nvPr/>
        </p:nvSpPr>
        <p:spPr bwMode="auto">
          <a:xfrm>
            <a:off x="8819562" y="6550110"/>
            <a:ext cx="268054" cy="206011"/>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Rectangle: Rounded Corners 26">
            <a:extLst>
              <a:ext uri="{FF2B5EF4-FFF2-40B4-BE49-F238E27FC236}">
                <a16:creationId xmlns:a16="http://schemas.microsoft.com/office/drawing/2014/main" id="{B6DC63B3-A7AD-99E9-55B7-248156606822}"/>
              </a:ext>
            </a:extLst>
          </p:cNvPr>
          <p:cNvSpPr/>
          <p:nvPr/>
        </p:nvSpPr>
        <p:spPr bwMode="gray">
          <a:xfrm>
            <a:off x="703228" y="2716666"/>
            <a:ext cx="5846721" cy="615147"/>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2.1 Evaluación de los Riesgos de Calidad en Proyectos Ágiles</a:t>
            </a:r>
          </a:p>
        </p:txBody>
      </p:sp>
      <p:sp>
        <p:nvSpPr>
          <p:cNvPr id="29" name="Rectangle: Rounded Corners 28">
            <a:extLst>
              <a:ext uri="{FF2B5EF4-FFF2-40B4-BE49-F238E27FC236}">
                <a16:creationId xmlns:a16="http://schemas.microsoft.com/office/drawing/2014/main" id="{9B6AF7F4-B20F-9CED-894D-76ED4039FC38}"/>
              </a:ext>
            </a:extLst>
          </p:cNvPr>
          <p:cNvSpPr/>
          <p:nvPr/>
        </p:nvSpPr>
        <p:spPr bwMode="gray">
          <a:xfrm>
            <a:off x="703229" y="3617927"/>
            <a:ext cx="5846721"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2.2 Estimación del Esfuerzo de Prueba en Función del Contenido y el Riesgo</a:t>
            </a:r>
          </a:p>
        </p:txBody>
      </p:sp>
      <p:cxnSp>
        <p:nvCxnSpPr>
          <p:cNvPr id="37" name="Straight Arrow Connector 36">
            <a:extLst>
              <a:ext uri="{FF2B5EF4-FFF2-40B4-BE49-F238E27FC236}">
                <a16:creationId xmlns:a16="http://schemas.microsoft.com/office/drawing/2014/main" id="{D7F42699-291B-FD23-B2E6-4C86BFA573B3}"/>
              </a:ext>
            </a:extLst>
          </p:cNvPr>
          <p:cNvCxnSpPr/>
          <p:nvPr/>
        </p:nvCxnSpPr>
        <p:spPr>
          <a:xfrm>
            <a:off x="465050" y="3082554"/>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6D9CEF93-A3E1-1C57-01D1-AE25B3EE19AD}"/>
              </a:ext>
            </a:extLst>
          </p:cNvPr>
          <p:cNvCxnSpPr>
            <a:cxnSpLocks/>
          </p:cNvCxnSpPr>
          <p:nvPr/>
        </p:nvCxnSpPr>
        <p:spPr>
          <a:xfrm rot="16200000" flipH="1">
            <a:off x="-236529" y="2920343"/>
            <a:ext cx="1672923" cy="269765"/>
          </a:xfrm>
          <a:prstGeom prst="bentConnector3">
            <a:avLst>
              <a:gd name="adj1" fmla="val 100238"/>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BD62F9AB-61EA-BFD9-9B3B-5CC6D742B44B}"/>
              </a:ext>
            </a:extLst>
          </p:cNvPr>
          <p:cNvSpPr/>
          <p:nvPr/>
        </p:nvSpPr>
        <p:spPr bwMode="gray">
          <a:xfrm>
            <a:off x="276509" y="1784997"/>
            <a:ext cx="5176274" cy="542170"/>
          </a:xfrm>
          <a:prstGeom prst="roundRect">
            <a:avLst>
              <a:gd name="adj" fmla="val 50000"/>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t>3.2 Evaluación de los Riesgos de Calidad y Estimación del Esfuerzo de Prueba</a:t>
            </a:r>
          </a:p>
        </p:txBody>
      </p:sp>
    </p:spTree>
    <p:extLst>
      <p:ext uri="{BB962C8B-B14F-4D97-AF65-F5344CB8AC3E}">
        <p14:creationId xmlns:p14="http://schemas.microsoft.com/office/powerpoint/2010/main" val="36661506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9390712"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2 Evaluación de los Riesgos de Calidad y Estimación del Esfuerzo de Prueba</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Evaluación de los Riesgos de Calidad en Proyectos Ágiles</a:t>
            </a: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611603" y="2164829"/>
            <a:ext cx="10439558" cy="607539"/>
          </a:xfrm>
          <a:prstGeom prst="rect">
            <a:avLst/>
          </a:prstGeom>
          <a:noFill/>
        </p:spPr>
        <p:txBody>
          <a:bodyPr wrap="square">
            <a:spAutoFit/>
          </a:bodyPr>
          <a:lstStyle/>
          <a:p>
            <a:pPr lvl="0">
              <a:lnSpc>
                <a:spcPct val="107000"/>
              </a:lnSpc>
            </a:pPr>
            <a:r>
              <a:rPr lang="es-ES" sz="1600">
                <a:effectLst/>
                <a:latin typeface="Calibri" panose="020F0502020204030204" pitchFamily="34" charset="0"/>
                <a:ea typeface="Calibri" panose="020F0502020204030204" pitchFamily="34" charset="0"/>
                <a:cs typeface="Times New Roman" panose="02020603050405020304" pitchFamily="18" charset="0"/>
              </a:rPr>
              <a:t>Uno de los muchos retos de la prueba es la selección, asignación y priorización adecuadas de las condiciones de prueba. </a:t>
            </a:r>
          </a:p>
          <a:p>
            <a:pPr lvl="0">
              <a:lnSpc>
                <a:spcPct val="107000"/>
              </a:lnSpc>
            </a:pPr>
            <a:endParaRPr lang="es-ES" sz="16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8F31E40E-3D67-4023-9298-9B4DA0E23BD4}"/>
              </a:ext>
            </a:extLst>
          </p:cNvPr>
          <p:cNvSpPr txBox="1"/>
          <p:nvPr/>
        </p:nvSpPr>
        <p:spPr>
          <a:xfrm>
            <a:off x="611603" y="2572343"/>
            <a:ext cx="9151522" cy="3293209"/>
          </a:xfrm>
          <a:prstGeom prst="rect">
            <a:avLst/>
          </a:prstGeom>
          <a:noFill/>
        </p:spPr>
        <p:txBody>
          <a:bodyPr wrap="square">
            <a:spAutoFit/>
          </a:bodyPr>
          <a:lstStyle/>
          <a:p>
            <a:r>
              <a:rPr lang="es-ES" sz="1600">
                <a:latin typeface="Calibri" panose="020F0502020204030204" pitchFamily="34" charset="0"/>
                <a:cs typeface="Times New Roman" panose="02020603050405020304" pitchFamily="18" charset="0"/>
              </a:rPr>
              <a:t>En los proyectos ágiles, el análisis del riesgo de calidad tiene lugar en dos puntos:</a:t>
            </a:r>
          </a:p>
          <a:p>
            <a:endParaRPr lang="es-ES" sz="1600">
              <a:latin typeface="Calibri" panose="020F0502020204030204" pitchFamily="34" charset="0"/>
              <a:cs typeface="Times New Roman" panose="02020603050405020304" pitchFamily="18" charset="0"/>
            </a:endParaRPr>
          </a:p>
          <a:p>
            <a:pPr marL="285750" indent="-285750">
              <a:buFont typeface="Wingdings" panose="05000000000000000000" pitchFamily="2" charset="2"/>
              <a:buChar char="§"/>
            </a:pPr>
            <a:r>
              <a:rPr lang="es-ES" sz="1600" b="1">
                <a:latin typeface="Calibri" panose="020F0502020204030204" pitchFamily="34" charset="0"/>
                <a:cs typeface="Times New Roman" panose="02020603050405020304" pitchFamily="18" charset="0"/>
              </a:rPr>
              <a:t>Planificación de la entrega: </a:t>
            </a:r>
            <a:r>
              <a:rPr lang="es-ES" sz="1600">
                <a:latin typeface="Calibri" panose="020F0502020204030204" pitchFamily="34" charset="0"/>
                <a:cs typeface="Times New Roman" panose="02020603050405020304" pitchFamily="18" charset="0"/>
              </a:rPr>
              <a:t>los representantes de negocio que conocen las prestaciones de la entrega proporcionan una visión general de alto nivel de los riesgos, y todo el equipo, incluidos los probadores, pueden ayudar en la identificación y evaluación del riesgo</a:t>
            </a:r>
          </a:p>
          <a:p>
            <a:endParaRPr lang="es-ES" sz="1600">
              <a:latin typeface="Calibri" panose="020F0502020204030204" pitchFamily="34" charset="0"/>
              <a:cs typeface="Times New Roman" panose="02020603050405020304" pitchFamily="18" charset="0"/>
            </a:endParaRPr>
          </a:p>
          <a:p>
            <a:pPr marL="285750" indent="-285750">
              <a:buFont typeface="Wingdings" panose="05000000000000000000" pitchFamily="2" charset="2"/>
              <a:buChar char="§"/>
            </a:pPr>
            <a:r>
              <a:rPr lang="es-ES" sz="1600" b="1">
                <a:latin typeface="Calibri" panose="020F0502020204030204" pitchFamily="34" charset="0"/>
                <a:cs typeface="Times New Roman" panose="02020603050405020304" pitchFamily="18" charset="0"/>
              </a:rPr>
              <a:t>Planificación de la iteración: </a:t>
            </a:r>
            <a:r>
              <a:rPr lang="es-ES" sz="1600">
                <a:latin typeface="Calibri" panose="020F0502020204030204" pitchFamily="34" charset="0"/>
                <a:cs typeface="Times New Roman" panose="02020603050405020304" pitchFamily="18" charset="0"/>
              </a:rPr>
              <a:t>todo el equipo identifica y evalúa los riesgos de calidad</a:t>
            </a:r>
          </a:p>
          <a:p>
            <a:endParaRPr lang="es-ES" sz="1600">
              <a:latin typeface="Calibri" panose="020F0502020204030204" pitchFamily="34" charset="0"/>
              <a:cs typeface="Times New Roman" panose="02020603050405020304" pitchFamily="18" charset="0"/>
            </a:endParaRPr>
          </a:p>
          <a:p>
            <a:pPr marL="285750" indent="-285750">
              <a:buFont typeface="Wingdings" panose="05000000000000000000" pitchFamily="2" charset="2"/>
              <a:buChar char="§"/>
            </a:pPr>
            <a:endParaRPr lang="es-ES" sz="1600">
              <a:latin typeface="Calibri" panose="020F0502020204030204" pitchFamily="34" charset="0"/>
              <a:cs typeface="Times New Roman" panose="02020603050405020304" pitchFamily="18" charset="0"/>
            </a:endParaRPr>
          </a:p>
          <a:p>
            <a:r>
              <a:rPr lang="es-ES" sz="1600">
                <a:latin typeface="Calibri" panose="020F0502020204030204" pitchFamily="34" charset="0"/>
                <a:cs typeface="Times New Roman" panose="02020603050405020304" pitchFamily="18" charset="0"/>
              </a:rPr>
              <a:t>Las tareas se priorizan en función del nivel de riesgo de calidad asociado a ellas. </a:t>
            </a:r>
          </a:p>
          <a:p>
            <a:endParaRPr lang="es-ES" sz="1600">
              <a:latin typeface="Calibri" panose="020F0502020204030204" pitchFamily="34" charset="0"/>
              <a:cs typeface="Times New Roman" panose="02020603050405020304" pitchFamily="18" charset="0"/>
            </a:endParaRPr>
          </a:p>
          <a:p>
            <a:r>
              <a:rPr lang="es-ES" sz="1600">
                <a:latin typeface="Calibri" panose="020F0502020204030204" pitchFamily="34" charset="0"/>
                <a:cs typeface="Times New Roman" panose="02020603050405020304" pitchFamily="18" charset="0"/>
              </a:rPr>
              <a:t>	Tareas con riesgos más altos                      Empiezan antes y mayor esfuerzo.</a:t>
            </a:r>
          </a:p>
          <a:p>
            <a:r>
              <a:rPr lang="es-ES" sz="1600">
                <a:latin typeface="Calibri" panose="020F0502020204030204" pitchFamily="34" charset="0"/>
                <a:cs typeface="Times New Roman" panose="02020603050405020304" pitchFamily="18" charset="0"/>
              </a:rPr>
              <a:t>	Tareas con riesgos más bajos                     Empiezan más tarde y menor esfuerzo.</a:t>
            </a:r>
          </a:p>
        </p:txBody>
      </p:sp>
      <p:sp>
        <p:nvSpPr>
          <p:cNvPr id="4" name="Arrow: Right 3">
            <a:extLst>
              <a:ext uri="{FF2B5EF4-FFF2-40B4-BE49-F238E27FC236}">
                <a16:creationId xmlns:a16="http://schemas.microsoft.com/office/drawing/2014/main" id="{D45C5122-6748-88CA-B8A4-6DB1CFF66CFF}"/>
              </a:ext>
            </a:extLst>
          </p:cNvPr>
          <p:cNvSpPr/>
          <p:nvPr/>
        </p:nvSpPr>
        <p:spPr bwMode="gray">
          <a:xfrm>
            <a:off x="4392038" y="5342382"/>
            <a:ext cx="698121" cy="164338"/>
          </a:xfrm>
          <a:prstGeom prst="rightArrow">
            <a:avLst/>
          </a:prstGeom>
          <a:solidFill>
            <a:schemeClr val="accent1"/>
          </a:solidFill>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a:ln w="0"/>
              <a:solidFill>
                <a:schemeClr val="accent1"/>
              </a:solidFill>
              <a:effectLst>
                <a:outerShdw blurRad="38100" dist="25400" dir="5400000" algn="ctr" rotWithShape="0">
                  <a:srgbClr val="6E747A">
                    <a:alpha val="43000"/>
                  </a:srgbClr>
                </a:outerShdw>
              </a:effectLst>
            </a:endParaRPr>
          </a:p>
        </p:txBody>
      </p:sp>
      <p:sp>
        <p:nvSpPr>
          <p:cNvPr id="5" name="Arrow: Right 4">
            <a:extLst>
              <a:ext uri="{FF2B5EF4-FFF2-40B4-BE49-F238E27FC236}">
                <a16:creationId xmlns:a16="http://schemas.microsoft.com/office/drawing/2014/main" id="{B4BB10DA-0AEB-EC8C-89E7-3D68175F0AC6}"/>
              </a:ext>
            </a:extLst>
          </p:cNvPr>
          <p:cNvSpPr/>
          <p:nvPr/>
        </p:nvSpPr>
        <p:spPr bwMode="gray">
          <a:xfrm>
            <a:off x="4392038" y="5603967"/>
            <a:ext cx="698121" cy="164338"/>
          </a:xfrm>
          <a:prstGeom prst="rightArrow">
            <a:avLst/>
          </a:prstGeom>
          <a:solidFill>
            <a:schemeClr val="accent1"/>
          </a:solidFill>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77271895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9390712"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2 Evaluación de los Riesgos de Calidad y Estimación del Esfuerzo de Prueba</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Evaluación de los Riesgos de Calidad en Proyectos Ágiles</a:t>
            </a: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611603" y="2164829"/>
            <a:ext cx="10439558" cy="607539"/>
          </a:xfrm>
          <a:prstGeom prst="rect">
            <a:avLst/>
          </a:prstGeom>
          <a:noFill/>
        </p:spPr>
        <p:txBody>
          <a:bodyPr wrap="square">
            <a:spAutoFit/>
          </a:bodyPr>
          <a:lstStyle/>
          <a:p>
            <a:pPr lvl="0">
              <a:lnSpc>
                <a:spcPct val="107000"/>
              </a:lnSpc>
            </a:pPr>
            <a:r>
              <a:rPr lang="es-ES" sz="1600">
                <a:effectLst/>
                <a:latin typeface="Calibri" panose="020F0502020204030204" pitchFamily="34" charset="0"/>
                <a:ea typeface="Calibri" panose="020F0502020204030204" pitchFamily="34" charset="0"/>
                <a:cs typeface="Times New Roman" panose="02020603050405020304" pitchFamily="18" charset="0"/>
              </a:rPr>
              <a:t>En los siguientes pasos se expone un ejemplo de cómo puede llevarse a cabo el proceso de análisis del riesgo de calidad en un proyecto ágil durante </a:t>
            </a:r>
            <a:r>
              <a:rPr lang="es-ES" sz="1600" b="1">
                <a:effectLst/>
                <a:latin typeface="Calibri" panose="020F0502020204030204" pitchFamily="34" charset="0"/>
                <a:ea typeface="Calibri" panose="020F0502020204030204" pitchFamily="34" charset="0"/>
                <a:cs typeface="Times New Roman" panose="02020603050405020304" pitchFamily="18" charset="0"/>
              </a:rPr>
              <a:t>la planificación de la iteración</a:t>
            </a:r>
            <a:r>
              <a:rPr lang="es-ES" sz="1600">
                <a:effectLst/>
                <a:latin typeface="Calibri" panose="020F0502020204030204" pitchFamily="34" charset="0"/>
                <a:ea typeface="Calibri" panose="020F0502020204030204" pitchFamily="34" charset="0"/>
                <a:cs typeface="Times New Roman" panose="02020603050405020304" pitchFamily="18" charset="0"/>
              </a:rPr>
              <a:t>:</a:t>
            </a:r>
          </a:p>
        </p:txBody>
      </p:sp>
      <p:graphicFrame>
        <p:nvGraphicFramePr>
          <p:cNvPr id="10" name="Diagram 9">
            <a:extLst>
              <a:ext uri="{FF2B5EF4-FFF2-40B4-BE49-F238E27FC236}">
                <a16:creationId xmlns:a16="http://schemas.microsoft.com/office/drawing/2014/main" id="{BC03B019-7BD0-4B6A-BD92-FD8EE897A98C}"/>
              </a:ext>
            </a:extLst>
          </p:cNvPr>
          <p:cNvGraphicFramePr/>
          <p:nvPr/>
        </p:nvGraphicFramePr>
        <p:xfrm>
          <a:off x="0" y="2902792"/>
          <a:ext cx="9946129" cy="342597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3" name="Group 2">
            <a:extLst>
              <a:ext uri="{FF2B5EF4-FFF2-40B4-BE49-F238E27FC236}">
                <a16:creationId xmlns:a16="http://schemas.microsoft.com/office/drawing/2014/main" id="{B78AE562-9911-EF2F-519F-8757306F63B1}"/>
              </a:ext>
            </a:extLst>
          </p:cNvPr>
          <p:cNvGrpSpPr/>
          <p:nvPr/>
        </p:nvGrpSpPr>
        <p:grpSpPr>
          <a:xfrm>
            <a:off x="9975395" y="3894933"/>
            <a:ext cx="1075766" cy="1035839"/>
            <a:chOff x="6720873" y="1988327"/>
            <a:chExt cx="2394258" cy="1436555"/>
          </a:xfrm>
        </p:grpSpPr>
        <p:sp>
          <p:nvSpPr>
            <p:cNvPr id="4" name="Rectangle 3">
              <a:extLst>
                <a:ext uri="{FF2B5EF4-FFF2-40B4-BE49-F238E27FC236}">
                  <a16:creationId xmlns:a16="http://schemas.microsoft.com/office/drawing/2014/main" id="{EE921CF5-C9A6-E860-0DE8-F7EDF55B49D9}"/>
                </a:ext>
              </a:extLst>
            </p:cNvPr>
            <p:cNvSpPr/>
            <p:nvPr/>
          </p:nvSpPr>
          <p:spPr>
            <a:xfrm>
              <a:off x="6720873" y="1988327"/>
              <a:ext cx="2394258" cy="1436555"/>
            </a:xfrm>
            <a:prstGeom prst="rect">
              <a:avLst/>
            </a:prstGeom>
          </p:spPr>
          <p:style>
            <a:lnRef idx="2">
              <a:schemeClr val="lt1">
                <a:hueOff val="0"/>
                <a:satOff val="0"/>
                <a:lumOff val="0"/>
                <a:alphaOff val="0"/>
              </a:schemeClr>
            </a:lnRef>
            <a:fillRef idx="1">
              <a:schemeClr val="accent1">
                <a:shade val="50000"/>
                <a:hueOff val="186327"/>
                <a:satOff val="-10732"/>
                <a:lumOff val="15727"/>
                <a:alphaOff val="0"/>
              </a:schemeClr>
            </a:fillRef>
            <a:effectRef idx="0">
              <a:schemeClr val="accent1">
                <a:shade val="50000"/>
                <a:hueOff val="186327"/>
                <a:satOff val="-10732"/>
                <a:lumOff val="15727"/>
                <a:alphaOff val="0"/>
              </a:schemeClr>
            </a:effectRef>
            <a:fontRef idx="minor">
              <a:schemeClr val="lt1"/>
            </a:fontRef>
          </p:style>
          <p:txBody>
            <a:bodyPr/>
            <a:lstStyle/>
            <a:p>
              <a:endParaRPr lang="en-US"/>
            </a:p>
          </p:txBody>
        </p:sp>
        <p:sp>
          <p:nvSpPr>
            <p:cNvPr id="5" name="TextBox 4">
              <a:extLst>
                <a:ext uri="{FF2B5EF4-FFF2-40B4-BE49-F238E27FC236}">
                  <a16:creationId xmlns:a16="http://schemas.microsoft.com/office/drawing/2014/main" id="{B7A1DBA8-2E44-7AEC-1779-BA0264D2EE2E}"/>
                </a:ext>
              </a:extLst>
            </p:cNvPr>
            <p:cNvSpPr txBox="1"/>
            <p:nvPr/>
          </p:nvSpPr>
          <p:spPr>
            <a:xfrm>
              <a:off x="6720873" y="1988327"/>
              <a:ext cx="2394258" cy="1436555"/>
            </a:xfrm>
            <a:prstGeom prst="rect">
              <a:avLst/>
            </a:prstGeom>
            <a:solidFill>
              <a:schemeClr val="bg1"/>
            </a:solidFill>
            <a:ln w="38100">
              <a:solidFill>
                <a:srgbClr val="DA291C"/>
              </a:solidFill>
            </a:ln>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s-ES" sz="1200" kern="1200">
                  <a:solidFill>
                    <a:schemeClr val="tx1"/>
                  </a:solidFill>
                </a:rPr>
                <a:t>Ajuste periódico del análisis de riesgo</a:t>
              </a:r>
              <a:endParaRPr lang="en-US" sz="1200" kern="1200">
                <a:solidFill>
                  <a:schemeClr val="tx1"/>
                </a:solidFill>
              </a:endParaRPr>
            </a:p>
          </p:txBody>
        </p:sp>
      </p:grpSp>
    </p:spTree>
    <p:extLst>
      <p:ext uri="{BB962C8B-B14F-4D97-AF65-F5344CB8AC3E}">
        <p14:creationId xmlns:p14="http://schemas.microsoft.com/office/powerpoint/2010/main" val="164430247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9390712"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2 Evaluación de los Riesgos de Calidad y Estimación del Esfuerzo de Prueba</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Estimación del Esfuerzo de Prueba en Función del Contenido y el Riesgo</a:t>
            </a: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611603" y="2164829"/>
            <a:ext cx="10439558" cy="3378104"/>
          </a:xfrm>
          <a:prstGeom prst="rect">
            <a:avLst/>
          </a:prstGeom>
          <a:noFill/>
        </p:spPr>
        <p:txBody>
          <a:bodyPr wrap="square">
            <a:spAutoFit/>
          </a:bodyPr>
          <a:lstStyle/>
          <a:p>
            <a:pPr marL="285750" lvl="0" indent="-285750">
              <a:lnSpc>
                <a:spcPct val="150000"/>
              </a:lnSpc>
              <a:buFont typeface="Wingdings" panose="05000000000000000000" pitchFamily="2" charset="2"/>
              <a:buChar char="Ø"/>
            </a:pPr>
            <a:r>
              <a:rPr lang="es-ES" sz="1600">
                <a:effectLst/>
                <a:latin typeface="Calibri" panose="020F0502020204030204" pitchFamily="34" charset="0"/>
                <a:ea typeface="Calibri" panose="020F0502020204030204" pitchFamily="34" charset="0"/>
                <a:cs typeface="Times New Roman" panose="02020603050405020304" pitchFamily="18" charset="0"/>
              </a:rPr>
              <a:t>Durante la planificación de la entrega, el equipo ágil estima el esfuerzo necesario para completar la entrega. La estimación aborda también el esfuerzo de prueba. Una técnica de estimación habitual en los proyectos ágiles es el póker de planificación, una técnica basada en el consenso.</a:t>
            </a:r>
          </a:p>
          <a:p>
            <a:pPr marL="285750" lvl="0" indent="-285750">
              <a:lnSpc>
                <a:spcPct val="150000"/>
              </a:lnSpc>
              <a:buFont typeface="Wingdings" panose="05000000000000000000" pitchFamily="2" charset="2"/>
              <a:buChar char="Ø"/>
            </a:pPr>
            <a:r>
              <a:rPr lang="es-ES" sz="1600">
                <a:effectLst/>
                <a:latin typeface="Calibri" panose="020F0502020204030204" pitchFamily="34" charset="0"/>
                <a:ea typeface="Calibri" panose="020F0502020204030204" pitchFamily="34" charset="0"/>
                <a:cs typeface="Times New Roman" panose="02020603050405020304" pitchFamily="18" charset="0"/>
              </a:rPr>
              <a:t>Los valores representan el número de puntos de historia, días de esfuerzo u otras unidades en las que el equipo estima.</a:t>
            </a:r>
          </a:p>
          <a:p>
            <a:pPr marL="285750" lvl="0" indent="-285750">
              <a:lnSpc>
                <a:spcPct val="150000"/>
              </a:lnSpc>
              <a:buFont typeface="Wingdings" panose="05000000000000000000" pitchFamily="2" charset="2"/>
              <a:buChar char="Ø"/>
            </a:pPr>
            <a:r>
              <a:rPr lang="es-ES" sz="1600">
                <a:effectLst/>
                <a:latin typeface="Calibri" panose="020F0502020204030204" pitchFamily="34" charset="0"/>
                <a:ea typeface="Calibri" panose="020F0502020204030204" pitchFamily="34" charset="0"/>
                <a:cs typeface="Times New Roman" panose="02020603050405020304" pitchFamily="18" charset="0"/>
              </a:rPr>
              <a:t>Una estimación elevada suele significar que la historia no se entiende bien o que debe dividirse en varias historias más pequeñas.</a:t>
            </a:r>
          </a:p>
          <a:p>
            <a:pPr marL="285750" lvl="0" indent="-285750">
              <a:lnSpc>
                <a:spcPct val="150000"/>
              </a:lnSpc>
              <a:buFont typeface="Wingdings" panose="05000000000000000000" pitchFamily="2" charset="2"/>
              <a:buChar char="Ø"/>
            </a:pPr>
            <a:r>
              <a:rPr lang="es-ES" sz="1600">
                <a:effectLst/>
                <a:latin typeface="Calibri" panose="020F0502020204030204" pitchFamily="34" charset="0"/>
                <a:ea typeface="Calibri" panose="020F0502020204030204" pitchFamily="34" charset="0"/>
                <a:cs typeface="Times New Roman" panose="02020603050405020304" pitchFamily="18" charset="0"/>
              </a:rPr>
              <a:t>Los estimadores discuten la prestación y hacen preguntas al propietario de producto si es necesario.</a:t>
            </a:r>
          </a:p>
          <a:p>
            <a:pPr marL="285750" lvl="0" indent="-285750">
              <a:lnSpc>
                <a:spcPct val="150000"/>
              </a:lnSpc>
              <a:buFont typeface="Wingdings" panose="05000000000000000000" pitchFamily="2" charset="2"/>
              <a:buChar char="Ø"/>
            </a:pPr>
            <a:r>
              <a:rPr lang="es-ES" sz="1600">
                <a:effectLst/>
                <a:latin typeface="Calibri" panose="020F0502020204030204" pitchFamily="34" charset="0"/>
                <a:ea typeface="Calibri" panose="020F0502020204030204" pitchFamily="34" charset="0"/>
                <a:cs typeface="Times New Roman" panose="02020603050405020304" pitchFamily="18" charset="0"/>
              </a:rPr>
              <a:t>Es aconsejable incluir el nivel de riesgo de un elemento de la lista de trabajo acumulado, además de la prioridad especificada por el propietario del producto</a:t>
            </a:r>
          </a:p>
        </p:txBody>
      </p:sp>
    </p:spTree>
    <p:extLst>
      <p:ext uri="{BB962C8B-B14F-4D97-AF65-F5344CB8AC3E}">
        <p14:creationId xmlns:p14="http://schemas.microsoft.com/office/powerpoint/2010/main" val="22092833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6050054"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1 </a:t>
            </a:r>
            <a:r>
              <a:rPr lang="en-GB" altLang="en-US" sz="1600" b="1" err="1">
                <a:solidFill>
                  <a:schemeClr val="accent1"/>
                </a:solidFill>
                <a:latin typeface="Verdana" pitchFamily="34" charset="0"/>
                <a:ea typeface="Arial" pitchFamily="34" charset="0"/>
                <a:cs typeface="Verdana" pitchFamily="34" charset="0"/>
              </a:rPr>
              <a:t>Fundamentos</a:t>
            </a:r>
            <a:r>
              <a:rPr lang="en-GB" altLang="en-US" sz="1600" b="1">
                <a:solidFill>
                  <a:schemeClr val="accent1"/>
                </a:solidFill>
                <a:latin typeface="Verdana" pitchFamily="34" charset="0"/>
                <a:ea typeface="Arial" pitchFamily="34" charset="0"/>
                <a:cs typeface="Verdana" pitchFamily="34" charset="0"/>
              </a:rPr>
              <a:t> de Desarrollo Ágil de Software</a:t>
            </a:r>
          </a:p>
        </p:txBody>
      </p:sp>
      <p:sp>
        <p:nvSpPr>
          <p:cNvPr id="8" name="TextBox 7"/>
          <p:cNvSpPr txBox="1"/>
          <p:nvPr/>
        </p:nvSpPr>
        <p:spPr>
          <a:xfrm>
            <a:off x="399892" y="2253121"/>
            <a:ext cx="8372309" cy="2015936"/>
          </a:xfrm>
          <a:prstGeom prst="rect">
            <a:avLst/>
          </a:prstGeom>
          <a:noFill/>
        </p:spPr>
        <p:txBody>
          <a:bodyPr wrap="square" lIns="0" tIns="0" rIns="0" bIns="0" rtlCol="0" anchor="t">
            <a:spAutoFit/>
          </a:bodyPr>
          <a:lstStyle/>
          <a:p>
            <a:pPr marL="555625" lvl="1" indent="-285750">
              <a:spcAft>
                <a:spcPts val="25"/>
              </a:spcAft>
              <a:buFont typeface="Wingdings" panose="05000000000000000000" pitchFamily="2" charset="2"/>
              <a:buChar char="§"/>
            </a:pPr>
            <a:r>
              <a:rPr lang="es-ES" sz="1400">
                <a:sym typeface="Wingdings" panose="05000000000000000000" pitchFamily="2" charset="2"/>
              </a:rPr>
              <a:t>Implica la </a:t>
            </a:r>
            <a:r>
              <a:rPr lang="es-ES" sz="1400" b="1">
                <a:sym typeface="Wingdings" panose="05000000000000000000" pitchFamily="2" charset="2"/>
              </a:rPr>
              <a:t>participación de todos los miembros </a:t>
            </a:r>
            <a:r>
              <a:rPr lang="es-ES" sz="1400">
                <a:sym typeface="Wingdings" panose="05000000000000000000" pitchFamily="2" charset="2"/>
              </a:rPr>
              <a:t>con los conocimientos necesarios para garantizar el éxito del proyecto.</a:t>
            </a:r>
          </a:p>
          <a:p>
            <a:pPr marL="555625" lvl="1" indent="-285750">
              <a:spcAft>
                <a:spcPts val="25"/>
              </a:spcAft>
              <a:buFont typeface="Wingdings" panose="05000000000000000000" pitchFamily="2" charset="2"/>
              <a:buChar char="§"/>
            </a:pPr>
            <a:endParaRPr lang="es-ES" sz="1000">
              <a:sym typeface="Wingdings" panose="05000000000000000000" pitchFamily="2" charset="2"/>
            </a:endParaRPr>
          </a:p>
          <a:p>
            <a:pPr marL="555625" lvl="1" indent="-285750">
              <a:spcAft>
                <a:spcPts val="25"/>
              </a:spcAft>
              <a:buFont typeface="Wingdings" panose="05000000000000000000" pitchFamily="2" charset="2"/>
              <a:buChar char="§"/>
            </a:pPr>
            <a:r>
              <a:rPr lang="es-ES" sz="1400" b="1">
                <a:sym typeface="Wingdings" panose="05000000000000000000" pitchFamily="2" charset="2"/>
              </a:rPr>
              <a:t>Comunicación:</a:t>
            </a:r>
            <a:r>
              <a:rPr lang="es-ES" sz="1400">
                <a:sym typeface="Wingdings" panose="05000000000000000000" pitchFamily="2" charset="2"/>
              </a:rPr>
              <a:t> se apoya en las </a:t>
            </a:r>
            <a:r>
              <a:rPr lang="es-ES" sz="1400" b="1">
                <a:sym typeface="Wingdings" panose="05000000000000000000" pitchFamily="2" charset="2"/>
              </a:rPr>
              <a:t>reuniones de pie diarias</a:t>
            </a:r>
            <a:r>
              <a:rPr lang="es-ES" sz="1400">
                <a:sym typeface="Wingdings" panose="05000000000000000000" pitchFamily="2" charset="2"/>
              </a:rPr>
              <a:t> en las que participan todos los miembros.</a:t>
            </a:r>
          </a:p>
          <a:p>
            <a:pPr marL="555625" lvl="1" indent="-285750">
              <a:lnSpc>
                <a:spcPct val="200000"/>
              </a:lnSpc>
              <a:spcAft>
                <a:spcPts val="25"/>
              </a:spcAft>
              <a:buFont typeface="Wingdings" panose="05000000000000000000" pitchFamily="2" charset="2"/>
              <a:buChar char="§"/>
            </a:pPr>
            <a:r>
              <a:rPr lang="es-ES" sz="1400">
                <a:sym typeface="Wingdings" panose="05000000000000000000" pitchFamily="2" charset="2"/>
              </a:rPr>
              <a:t>Promueve una dinámica de equipo más eficaz y eficiente.</a:t>
            </a:r>
          </a:p>
          <a:p>
            <a:pPr marL="555625" lvl="1" indent="-285750">
              <a:lnSpc>
                <a:spcPct val="200000"/>
              </a:lnSpc>
              <a:spcAft>
                <a:spcPts val="25"/>
              </a:spcAft>
              <a:buFont typeface="Wingdings" panose="05000000000000000000" pitchFamily="2" charset="2"/>
              <a:buChar char="§"/>
            </a:pPr>
            <a:r>
              <a:rPr lang="es-ES" sz="1400">
                <a:sym typeface="Wingdings" panose="05000000000000000000" pitchFamily="2" charset="2"/>
              </a:rPr>
              <a:t>La calidad es </a:t>
            </a:r>
            <a:r>
              <a:rPr lang="es-ES" sz="1400" b="1">
                <a:sym typeface="Wingdings" panose="05000000000000000000" pitchFamily="2" charset="2"/>
              </a:rPr>
              <a:t>responsabilidad de todo el equipo.</a:t>
            </a:r>
            <a:endParaRPr lang="es-ES_tradnl" sz="1200" b="1">
              <a:sym typeface="Wingdings" panose="05000000000000000000" pitchFamily="2" charset="2"/>
            </a:endParaRPr>
          </a:p>
          <a:p>
            <a:pPr marL="555625" lvl="1" indent="-285750">
              <a:spcAft>
                <a:spcPts val="25"/>
              </a:spcAft>
              <a:buFont typeface="Wingdings" panose="05000000000000000000" pitchFamily="2" charset="2"/>
              <a:buChar char="q"/>
            </a:pPr>
            <a:endParaRPr lang="es-ES_tradnl" sz="500" u="sng">
              <a:sym typeface="Wingdings" panose="05000000000000000000" pitchFamily="2" charset="2"/>
            </a:endParaRPr>
          </a:p>
        </p:txBody>
      </p:sp>
      <p:graphicFrame>
        <p:nvGraphicFramePr>
          <p:cNvPr id="3" name="Diagram 2">
            <a:extLst>
              <a:ext uri="{FF2B5EF4-FFF2-40B4-BE49-F238E27FC236}">
                <a16:creationId xmlns:a16="http://schemas.microsoft.com/office/drawing/2014/main" id="{8E86080F-FCE7-9AA1-9E26-B27B2EBC5987}"/>
              </a:ext>
            </a:extLst>
          </p:cNvPr>
          <p:cNvGraphicFramePr/>
          <p:nvPr>
            <p:extLst>
              <p:ext uri="{D42A27DB-BD31-4B8C-83A1-F6EECF244321}">
                <p14:modId xmlns:p14="http://schemas.microsoft.com/office/powerpoint/2010/main" val="2479056834"/>
              </p:ext>
            </p:extLst>
          </p:nvPr>
        </p:nvGraphicFramePr>
        <p:xfrm>
          <a:off x="586362" y="4203058"/>
          <a:ext cx="7472891" cy="198357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Rectangle: Rounded Corners 3">
            <a:extLst>
              <a:ext uri="{FF2B5EF4-FFF2-40B4-BE49-F238E27FC236}">
                <a16:creationId xmlns:a16="http://schemas.microsoft.com/office/drawing/2014/main" id="{22716E5E-D5A1-9165-1AE5-232B71F9C745}"/>
              </a:ext>
            </a:extLst>
          </p:cNvPr>
          <p:cNvSpPr/>
          <p:nvPr/>
        </p:nvSpPr>
        <p:spPr bwMode="gray">
          <a:xfrm>
            <a:off x="427537" y="1663155"/>
            <a:ext cx="3865063"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1.2. Enfoque de Equipo Completo</a:t>
            </a:r>
          </a:p>
        </p:txBody>
      </p:sp>
      <p:sp>
        <p:nvSpPr>
          <p:cNvPr id="5" name="Rectangle: Rounded Corners 4">
            <a:extLst>
              <a:ext uri="{FF2B5EF4-FFF2-40B4-BE49-F238E27FC236}">
                <a16:creationId xmlns:a16="http://schemas.microsoft.com/office/drawing/2014/main" id="{9BBF672A-AB9E-23F7-37F4-5E954109AE1C}"/>
              </a:ext>
            </a:extLst>
          </p:cNvPr>
          <p:cNvSpPr/>
          <p:nvPr/>
        </p:nvSpPr>
        <p:spPr bwMode="gray">
          <a:xfrm>
            <a:off x="8540750" y="4203058"/>
            <a:ext cx="3121025" cy="1983570"/>
          </a:xfrm>
          <a:prstGeom prst="roundRect">
            <a:avLst/>
          </a:prstGeom>
          <a:solidFill>
            <a:schemeClr val="accent1">
              <a:lumMod val="20000"/>
              <a:lumOff val="80000"/>
            </a:schemeClr>
          </a:solidFill>
          <a:ln w="25400" algn="ctr">
            <a:solidFill>
              <a:srgbClr val="009A4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7" name="Rectangle: Rounded Corners 6">
            <a:extLst>
              <a:ext uri="{FF2B5EF4-FFF2-40B4-BE49-F238E27FC236}">
                <a16:creationId xmlns:a16="http://schemas.microsoft.com/office/drawing/2014/main" id="{DB0D65AC-50DA-A96A-9DEC-782A625EB179}"/>
              </a:ext>
            </a:extLst>
          </p:cNvPr>
          <p:cNvSpPr/>
          <p:nvPr/>
        </p:nvSpPr>
        <p:spPr bwMode="gray">
          <a:xfrm>
            <a:off x="9176731" y="4009448"/>
            <a:ext cx="1849061" cy="387220"/>
          </a:xfrm>
          <a:prstGeom prst="roundRect">
            <a:avLst>
              <a:gd name="adj" fmla="val 50000"/>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Poder de 3</a:t>
            </a:r>
          </a:p>
        </p:txBody>
      </p:sp>
      <p:sp>
        <p:nvSpPr>
          <p:cNvPr id="9" name="TextBox 8">
            <a:extLst>
              <a:ext uri="{FF2B5EF4-FFF2-40B4-BE49-F238E27FC236}">
                <a16:creationId xmlns:a16="http://schemas.microsoft.com/office/drawing/2014/main" id="{A630ECC0-1CB6-0577-A2A7-67826F2F048B}"/>
              </a:ext>
            </a:extLst>
          </p:cNvPr>
          <p:cNvSpPr txBox="1"/>
          <p:nvPr/>
        </p:nvSpPr>
        <p:spPr>
          <a:xfrm>
            <a:off x="8772201" y="4541724"/>
            <a:ext cx="2829091" cy="1455078"/>
          </a:xfrm>
          <a:prstGeom prst="rect">
            <a:avLst/>
          </a:prstGeom>
          <a:noFill/>
        </p:spPr>
        <p:txBody>
          <a:bodyPr wrap="square">
            <a:spAutoFit/>
          </a:bodyPr>
          <a:lstStyle/>
          <a:p>
            <a:pPr>
              <a:lnSpc>
                <a:spcPct val="107000"/>
              </a:lnSpc>
              <a:spcAft>
                <a:spcPts val="800"/>
              </a:spcAft>
            </a:pPr>
            <a:r>
              <a:rPr lang="es-ES" sz="1400">
                <a:effectLst/>
                <a:latin typeface="+mj-lt"/>
                <a:ea typeface="Calibri" panose="020F0502020204030204" pitchFamily="34" charset="0"/>
                <a:cs typeface="Times New Roman" panose="02020603050405020304" pitchFamily="18" charset="0"/>
              </a:rPr>
              <a:t>Concepto que consiste en involucrar a </a:t>
            </a:r>
            <a:r>
              <a:rPr lang="es-ES" sz="1400" b="1" err="1">
                <a:effectLst/>
                <a:latin typeface="+mj-lt"/>
                <a:ea typeface="Calibri" panose="020F0502020204030204" pitchFamily="34" charset="0"/>
                <a:cs typeface="Times New Roman" panose="02020603050405020304" pitchFamily="18" charset="0"/>
              </a:rPr>
              <a:t>testers</a:t>
            </a:r>
            <a:r>
              <a:rPr lang="es-ES" sz="1400" b="1">
                <a:effectLst/>
                <a:latin typeface="+mj-lt"/>
                <a:ea typeface="Calibri" panose="020F0502020204030204" pitchFamily="34" charset="0"/>
                <a:cs typeface="Times New Roman" panose="02020603050405020304" pitchFamily="18" charset="0"/>
              </a:rPr>
              <a:t>, desarrolladores </a:t>
            </a:r>
            <a:r>
              <a:rPr lang="es-ES" sz="1400">
                <a:effectLst/>
                <a:latin typeface="+mj-lt"/>
                <a:ea typeface="Calibri" panose="020F0502020204030204" pitchFamily="34" charset="0"/>
                <a:cs typeface="Times New Roman" panose="02020603050405020304" pitchFamily="18" charset="0"/>
              </a:rPr>
              <a:t>y </a:t>
            </a:r>
            <a:r>
              <a:rPr lang="es-ES" sz="1400" b="1">
                <a:effectLst/>
                <a:latin typeface="+mj-lt"/>
                <a:ea typeface="Calibri" panose="020F0502020204030204" pitchFamily="34" charset="0"/>
                <a:cs typeface="Times New Roman" panose="02020603050405020304" pitchFamily="18" charset="0"/>
              </a:rPr>
              <a:t>negocio </a:t>
            </a:r>
            <a:r>
              <a:rPr lang="es-ES" sz="1400">
                <a:effectLst/>
                <a:latin typeface="+mj-lt"/>
                <a:ea typeface="Calibri" panose="020F0502020204030204" pitchFamily="34" charset="0"/>
                <a:cs typeface="Times New Roman" panose="02020603050405020304" pitchFamily="18" charset="0"/>
              </a:rPr>
              <a:t>en todas las discusiones sobre las prestaciones del producto.</a:t>
            </a:r>
            <a:endParaRPr lang="es-ES" sz="1400">
              <a:latin typeface="+mj-lt"/>
              <a:ea typeface="Calibri" panose="020F0502020204030204" pitchFamily="34" charset="0"/>
              <a:cs typeface="Times New Roman" panose="02020603050405020304" pitchFamily="18" charset="0"/>
            </a:endParaRPr>
          </a:p>
        </p:txBody>
      </p:sp>
      <p:sp>
        <p:nvSpPr>
          <p:cNvPr id="10" name="Rectangle: Rounded Corners 9">
            <a:extLst>
              <a:ext uri="{FF2B5EF4-FFF2-40B4-BE49-F238E27FC236}">
                <a16:creationId xmlns:a16="http://schemas.microsoft.com/office/drawing/2014/main" id="{93A9103F-2795-13CF-3423-519D627CFBBE}"/>
              </a:ext>
            </a:extLst>
          </p:cNvPr>
          <p:cNvSpPr/>
          <p:nvPr/>
        </p:nvSpPr>
        <p:spPr bwMode="gray">
          <a:xfrm>
            <a:off x="8540750" y="2656748"/>
            <a:ext cx="3121025" cy="1084876"/>
          </a:xfrm>
          <a:prstGeom prst="roundRect">
            <a:avLst/>
          </a:prstGeom>
          <a:solidFill>
            <a:schemeClr val="bg1">
              <a:lumMod val="95000"/>
            </a:schemeClr>
          </a:solidFill>
          <a:ln w="25400" algn="ctr">
            <a:solidFill>
              <a:schemeClr val="accent2"/>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12" name="TextBox 11">
            <a:extLst>
              <a:ext uri="{FF2B5EF4-FFF2-40B4-BE49-F238E27FC236}">
                <a16:creationId xmlns:a16="http://schemas.microsoft.com/office/drawing/2014/main" id="{C1EB92A7-D1E8-09B7-CAE3-4B816CD394E4}"/>
              </a:ext>
            </a:extLst>
          </p:cNvPr>
          <p:cNvSpPr txBox="1"/>
          <p:nvPr/>
        </p:nvSpPr>
        <p:spPr>
          <a:xfrm>
            <a:off x="8737276" y="2859017"/>
            <a:ext cx="2829091" cy="763542"/>
          </a:xfrm>
          <a:prstGeom prst="rect">
            <a:avLst/>
          </a:prstGeom>
          <a:noFill/>
        </p:spPr>
        <p:txBody>
          <a:bodyPr wrap="square">
            <a:spAutoFit/>
          </a:bodyPr>
          <a:lstStyle/>
          <a:p>
            <a:pPr>
              <a:lnSpc>
                <a:spcPct val="107000"/>
              </a:lnSpc>
              <a:spcAft>
                <a:spcPts val="800"/>
              </a:spcAft>
            </a:pPr>
            <a:r>
              <a:rPr lang="es-ES_tradnl" sz="1400">
                <a:latin typeface="+mj-lt"/>
                <a:ea typeface="Calibri" panose="020F0502020204030204" pitchFamily="34" charset="0"/>
                <a:cs typeface="Times New Roman" panose="02020603050405020304" pitchFamily="18" charset="0"/>
              </a:rPr>
              <a:t>E</a:t>
            </a:r>
            <a:r>
              <a:rPr lang="es-ES" sz="1400">
                <a:latin typeface="+mj-lt"/>
                <a:ea typeface="Calibri" panose="020F0502020204030204" pitchFamily="34" charset="0"/>
                <a:cs typeface="Times New Roman" panose="02020603050405020304" pitchFamily="18" charset="0"/>
              </a:rPr>
              <a:t>l tamaño ideal de los equipos ágiles es </a:t>
            </a:r>
            <a:r>
              <a:rPr lang="es-ES" sz="1400" b="1">
                <a:latin typeface="+mj-lt"/>
                <a:ea typeface="Calibri" panose="020F0502020204030204" pitchFamily="34" charset="0"/>
                <a:cs typeface="Times New Roman" panose="02020603050405020304" pitchFamily="18" charset="0"/>
              </a:rPr>
              <a:t>entre 3 y 9 miembros.</a:t>
            </a:r>
            <a:endParaRPr lang="es-ES" sz="1400">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4978047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8361584"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TEMA 3: MÉTODOS, TÉCNICAS Y HERRAMIENTAS DE PRUEBA ÁGILES</a:t>
            </a:r>
          </a:p>
        </p:txBody>
      </p:sp>
      <p:sp>
        <p:nvSpPr>
          <p:cNvPr id="60" name="Freeform 685">
            <a:extLst>
              <a:ext uri="{FF2B5EF4-FFF2-40B4-BE49-F238E27FC236}">
                <a16:creationId xmlns:a16="http://schemas.microsoft.com/office/drawing/2014/main" id="{3D1F0A89-067B-4D7D-AA41-ED6C03096218}"/>
              </a:ext>
            </a:extLst>
          </p:cNvPr>
          <p:cNvSpPr>
            <a:spLocks noEditPoints="1"/>
          </p:cNvSpPr>
          <p:nvPr/>
        </p:nvSpPr>
        <p:spPr bwMode="auto">
          <a:xfrm>
            <a:off x="8819562" y="6550110"/>
            <a:ext cx="268054" cy="206011"/>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Rectangle: Rounded Corners 26">
            <a:extLst>
              <a:ext uri="{FF2B5EF4-FFF2-40B4-BE49-F238E27FC236}">
                <a16:creationId xmlns:a16="http://schemas.microsoft.com/office/drawing/2014/main" id="{B6DC63B3-A7AD-99E9-55B7-248156606822}"/>
              </a:ext>
            </a:extLst>
          </p:cNvPr>
          <p:cNvSpPr/>
          <p:nvPr/>
        </p:nvSpPr>
        <p:spPr bwMode="gray">
          <a:xfrm>
            <a:off x="695273" y="2624925"/>
            <a:ext cx="5846721" cy="753718"/>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3.1 </a:t>
            </a:r>
            <a:r>
              <a:rPr lang="es-ES" sz="1400" b="0" i="0" u="none" strike="noStrike" baseline="0">
                <a:solidFill>
                  <a:srgbClr val="000000"/>
                </a:solidFill>
              </a:rPr>
              <a:t>Criterios de Aceptación, Cobertura Adecuada y Otra Información para Probar</a:t>
            </a:r>
            <a:endParaRPr lang="es-ES" sz="1400"/>
          </a:p>
        </p:txBody>
      </p:sp>
      <p:sp>
        <p:nvSpPr>
          <p:cNvPr id="29" name="Rectangle: Rounded Corners 28">
            <a:extLst>
              <a:ext uri="{FF2B5EF4-FFF2-40B4-BE49-F238E27FC236}">
                <a16:creationId xmlns:a16="http://schemas.microsoft.com/office/drawing/2014/main" id="{9B6AF7F4-B20F-9CED-894D-76ED4039FC38}"/>
              </a:ext>
            </a:extLst>
          </p:cNvPr>
          <p:cNvSpPr/>
          <p:nvPr/>
        </p:nvSpPr>
        <p:spPr bwMode="gray">
          <a:xfrm>
            <a:off x="703229" y="3617927"/>
            <a:ext cx="5846721"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3.2 Aplicación del Desarrollo Guiado por Pruebas de Aceptación</a:t>
            </a:r>
          </a:p>
        </p:txBody>
      </p:sp>
      <p:sp>
        <p:nvSpPr>
          <p:cNvPr id="31" name="Rectangle: Rounded Corners 30">
            <a:extLst>
              <a:ext uri="{FF2B5EF4-FFF2-40B4-BE49-F238E27FC236}">
                <a16:creationId xmlns:a16="http://schemas.microsoft.com/office/drawing/2014/main" id="{80F3AA96-FBD2-4895-BEF7-D6B31F16E45F}"/>
              </a:ext>
            </a:extLst>
          </p:cNvPr>
          <p:cNvSpPr/>
          <p:nvPr/>
        </p:nvSpPr>
        <p:spPr bwMode="gray">
          <a:xfrm>
            <a:off x="703229" y="5267200"/>
            <a:ext cx="5846721" cy="374936"/>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3.4 Prueba Exploratoria y Prueba Ágil</a:t>
            </a:r>
          </a:p>
        </p:txBody>
      </p:sp>
      <p:cxnSp>
        <p:nvCxnSpPr>
          <p:cNvPr id="33" name="Connector: Elbow 32">
            <a:extLst>
              <a:ext uri="{FF2B5EF4-FFF2-40B4-BE49-F238E27FC236}">
                <a16:creationId xmlns:a16="http://schemas.microsoft.com/office/drawing/2014/main" id="{8BDF9816-0F42-A98E-5EB4-86FF4CD89262}"/>
              </a:ext>
            </a:extLst>
          </p:cNvPr>
          <p:cNvCxnSpPr>
            <a:cxnSpLocks/>
          </p:cNvCxnSpPr>
          <p:nvPr/>
        </p:nvCxnSpPr>
        <p:spPr>
          <a:xfrm rot="16200000" flipH="1">
            <a:off x="-1017543" y="3735540"/>
            <a:ext cx="3203366" cy="234890"/>
          </a:xfrm>
          <a:prstGeom prst="bentConnector2">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8802FF1-BB39-1528-44C8-8EB5B14A7E21}"/>
              </a:ext>
            </a:extLst>
          </p:cNvPr>
          <p:cNvCxnSpPr>
            <a:cxnSpLocks/>
            <a:endCxn id="29" idx="1"/>
          </p:cNvCxnSpPr>
          <p:nvPr/>
        </p:nvCxnSpPr>
        <p:spPr>
          <a:xfrm>
            <a:off x="468339" y="3905927"/>
            <a:ext cx="234890"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7F42699-291B-FD23-B2E6-4C86BFA573B3}"/>
              </a:ext>
            </a:extLst>
          </p:cNvPr>
          <p:cNvCxnSpPr/>
          <p:nvPr/>
        </p:nvCxnSpPr>
        <p:spPr>
          <a:xfrm>
            <a:off x="465050" y="3082554"/>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2D751480-D879-FB65-A26F-20E0862C8794}"/>
              </a:ext>
            </a:extLst>
          </p:cNvPr>
          <p:cNvSpPr/>
          <p:nvPr/>
        </p:nvSpPr>
        <p:spPr bwMode="gray">
          <a:xfrm>
            <a:off x="701576" y="4433212"/>
            <a:ext cx="5846721"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3.3 Diseño de Pruebas de Caja Negra Funcionales y No Funcionales</a:t>
            </a:r>
          </a:p>
        </p:txBody>
      </p:sp>
      <p:cxnSp>
        <p:nvCxnSpPr>
          <p:cNvPr id="41" name="Straight Arrow Connector 40">
            <a:extLst>
              <a:ext uri="{FF2B5EF4-FFF2-40B4-BE49-F238E27FC236}">
                <a16:creationId xmlns:a16="http://schemas.microsoft.com/office/drawing/2014/main" id="{09AB4805-3161-5286-D4D3-9FD13EDB2E4C}"/>
              </a:ext>
            </a:extLst>
          </p:cNvPr>
          <p:cNvCxnSpPr>
            <a:cxnSpLocks/>
          </p:cNvCxnSpPr>
          <p:nvPr/>
        </p:nvCxnSpPr>
        <p:spPr>
          <a:xfrm>
            <a:off x="460375" y="4732957"/>
            <a:ext cx="234890"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BD62F9AB-61EA-BFD9-9B3B-5CC6D742B44B}"/>
              </a:ext>
            </a:extLst>
          </p:cNvPr>
          <p:cNvSpPr/>
          <p:nvPr/>
        </p:nvSpPr>
        <p:spPr bwMode="gray">
          <a:xfrm>
            <a:off x="276508" y="1784997"/>
            <a:ext cx="3703821" cy="542170"/>
          </a:xfrm>
          <a:prstGeom prst="roundRect">
            <a:avLst>
              <a:gd name="adj" fmla="val 50000"/>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t>3.3 Técnicas de Proyectos Ágiles</a:t>
            </a:r>
          </a:p>
        </p:txBody>
      </p:sp>
    </p:spTree>
    <p:extLst>
      <p:ext uri="{BB962C8B-B14F-4D97-AF65-F5344CB8AC3E}">
        <p14:creationId xmlns:p14="http://schemas.microsoft.com/office/powerpoint/2010/main" val="255778452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Criterios de Aceptación, Cobertura Adecuada y Otra Información para Probar</a:t>
            </a: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611603" y="2164829"/>
            <a:ext cx="10439558" cy="1397947"/>
          </a:xfrm>
          <a:prstGeom prst="rect">
            <a:avLst/>
          </a:prstGeom>
          <a:noFill/>
        </p:spPr>
        <p:txBody>
          <a:bodyPr wrap="square">
            <a:spAutoFit/>
          </a:bodyPr>
          <a:lstStyle/>
          <a:p>
            <a:pPr marL="285750" lvl="0" indent="-285750">
              <a:lnSpc>
                <a:spcPct val="107000"/>
              </a:lnSpc>
              <a:buFont typeface="Wingdings" panose="05000000000000000000" pitchFamily="2" charset="2"/>
              <a:buChar char="Ø"/>
            </a:pPr>
            <a:r>
              <a:rPr lang="es-ES" sz="1600">
                <a:effectLst/>
                <a:latin typeface="Calibri" panose="020F0502020204030204" pitchFamily="34" charset="0"/>
                <a:ea typeface="Calibri" panose="020F0502020204030204" pitchFamily="34" charset="0"/>
                <a:cs typeface="Times New Roman" panose="02020603050405020304" pitchFamily="18" charset="0"/>
              </a:rPr>
              <a:t>Los proyectos ágiles esbozan los requisitos iniciales como historias de usuario en una lista de trabajo acumulado priorizada al comienzo del proyecto. Los requisitos iniciales son breves y suelen seguir un formato predefinido</a:t>
            </a:r>
          </a:p>
          <a:p>
            <a:pPr marL="285750" lvl="0" indent="-285750">
              <a:lnSpc>
                <a:spcPct val="107000"/>
              </a:lnSpc>
              <a:buFont typeface="Wingdings" panose="05000000000000000000" pitchFamily="2" charset="2"/>
              <a:buChar char="Ø"/>
            </a:pPr>
            <a:endParaRPr lang="es-ES" sz="1600">
              <a:effectLst/>
              <a:latin typeface="Calibri" panose="020F0502020204030204" pitchFamily="34" charset="0"/>
              <a:ea typeface="Calibri" panose="020F0502020204030204" pitchFamily="34" charset="0"/>
              <a:cs typeface="Times New Roman" panose="02020603050405020304" pitchFamily="18" charset="0"/>
            </a:endParaRPr>
          </a:p>
          <a:p>
            <a:pPr marL="285750" lvl="0" indent="-285750">
              <a:lnSpc>
                <a:spcPct val="107000"/>
              </a:lnSpc>
              <a:buFont typeface="Wingdings" panose="05000000000000000000" pitchFamily="2" charset="2"/>
              <a:buChar char="Ø"/>
            </a:pPr>
            <a:r>
              <a:rPr lang="es-ES" sz="1600">
                <a:effectLst/>
                <a:latin typeface="Calibri" panose="020F0502020204030204" pitchFamily="34" charset="0"/>
                <a:ea typeface="Calibri" panose="020F0502020204030204" pitchFamily="34" charset="0"/>
                <a:cs typeface="Times New Roman" panose="02020603050405020304" pitchFamily="18" charset="0"/>
              </a:rPr>
              <a:t>Las historias de usuario sirven como una importante base de prueba. Otras posibles bases de prueba son:</a:t>
            </a:r>
          </a:p>
          <a:p>
            <a:pPr lvl="0">
              <a:lnSpc>
                <a:spcPct val="107000"/>
              </a:lnSpc>
            </a:pPr>
            <a:endParaRPr lang="es-ES" sz="160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F7C7C4E3-F87B-19FB-3D6C-A48321554A9F}"/>
              </a:ext>
            </a:extLst>
          </p:cNvPr>
          <p:cNvGraphicFramePr/>
          <p:nvPr/>
        </p:nvGraphicFramePr>
        <p:xfrm>
          <a:off x="2266088" y="3224328"/>
          <a:ext cx="6563360" cy="277890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65332271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Criterios de Aceptación, Cobertura Adecuada y Otra Información para Probar</a:t>
            </a:r>
            <a:endParaRPr lang="es-ES_tradnl" sz="500" u="sng">
              <a:sym typeface="Wingdings" panose="05000000000000000000" pitchFamily="2" charset="2"/>
            </a:endParaRPr>
          </a:p>
        </p:txBody>
      </p:sp>
      <p:sp>
        <p:nvSpPr>
          <p:cNvPr id="20" name="TextBox 19">
            <a:extLst>
              <a:ext uri="{FF2B5EF4-FFF2-40B4-BE49-F238E27FC236}">
                <a16:creationId xmlns:a16="http://schemas.microsoft.com/office/drawing/2014/main" id="{4A51FDAA-2964-4BD2-92DE-F11994911E7B}"/>
              </a:ext>
            </a:extLst>
          </p:cNvPr>
          <p:cNvSpPr txBox="1"/>
          <p:nvPr/>
        </p:nvSpPr>
        <p:spPr>
          <a:xfrm>
            <a:off x="611603" y="2164829"/>
            <a:ext cx="10439558" cy="344069"/>
          </a:xfrm>
          <a:prstGeom prst="rect">
            <a:avLst/>
          </a:prstGeom>
          <a:noFill/>
        </p:spPr>
        <p:txBody>
          <a:bodyPr wrap="square">
            <a:spAutoFit/>
          </a:bodyPr>
          <a:lstStyle/>
          <a:p>
            <a:pPr lvl="0">
              <a:lnSpc>
                <a:spcPct val="107000"/>
              </a:lnSpc>
            </a:pPr>
            <a:r>
              <a:rPr lang="es-ES" sz="1600">
                <a:effectLst/>
                <a:latin typeface="Calibri" panose="020F0502020204030204" pitchFamily="34" charset="0"/>
                <a:ea typeface="Calibri" panose="020F0502020204030204" pitchFamily="34" charset="0"/>
                <a:cs typeface="Times New Roman" panose="02020603050405020304" pitchFamily="18" charset="0"/>
              </a:rPr>
              <a:t>Para que se pueda probar, los criterios de aceptación deben abordar los siguientes temas cuando sean relevantes:</a:t>
            </a:r>
          </a:p>
        </p:txBody>
      </p:sp>
      <p:graphicFrame>
        <p:nvGraphicFramePr>
          <p:cNvPr id="3" name="Diagram 2">
            <a:extLst>
              <a:ext uri="{FF2B5EF4-FFF2-40B4-BE49-F238E27FC236}">
                <a16:creationId xmlns:a16="http://schemas.microsoft.com/office/drawing/2014/main" id="{770B03A9-3934-3980-4C5D-9422D36DF07D}"/>
              </a:ext>
            </a:extLst>
          </p:cNvPr>
          <p:cNvGraphicFramePr/>
          <p:nvPr/>
        </p:nvGraphicFramePr>
        <p:xfrm>
          <a:off x="1571691" y="2536237"/>
          <a:ext cx="8749102" cy="373734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78057575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Criterios de Aceptación, Cobertura Adecuada y Otra Información para Probar</a:t>
            </a:r>
            <a:endParaRPr lang="es-ES_tradnl" sz="500" u="sng">
              <a:sym typeface="Wingdings" panose="05000000000000000000" pitchFamily="2" charset="2"/>
            </a:endParaRPr>
          </a:p>
        </p:txBody>
      </p:sp>
      <p:sp>
        <p:nvSpPr>
          <p:cNvPr id="9" name="TextBox 8">
            <a:extLst>
              <a:ext uri="{FF2B5EF4-FFF2-40B4-BE49-F238E27FC236}">
                <a16:creationId xmlns:a16="http://schemas.microsoft.com/office/drawing/2014/main" id="{F8D4FF78-AFE4-495F-9711-B7B1533ADEBB}"/>
              </a:ext>
            </a:extLst>
          </p:cNvPr>
          <p:cNvSpPr txBox="1"/>
          <p:nvPr/>
        </p:nvSpPr>
        <p:spPr>
          <a:xfrm>
            <a:off x="190507" y="1770331"/>
            <a:ext cx="11089254" cy="692497"/>
          </a:xfrm>
          <a:prstGeom prst="rect">
            <a:avLst/>
          </a:prstGeom>
          <a:noFill/>
        </p:spPr>
        <p:txBody>
          <a:bodyPr wrap="square" lIns="0" tIns="0" rIns="0" bIns="0" rtlCol="0">
            <a:spAutoFit/>
          </a:bodyPr>
          <a:lstStyle/>
          <a:p>
            <a:pPr marL="269875" lvl="1">
              <a:spcAft>
                <a:spcPts val="25"/>
              </a:spcAft>
            </a:pPr>
            <a:endParaRPr lang="es-ES" sz="1400" b="1"/>
          </a:p>
          <a:p>
            <a:pPr marL="269875" lvl="1">
              <a:spcAft>
                <a:spcPts val="25"/>
              </a:spcAft>
            </a:pPr>
            <a:endParaRPr lang="es-ES_tradnl" sz="1200" b="1">
              <a:sym typeface="Wingdings" panose="05000000000000000000" pitchFamily="2" charset="2"/>
            </a:endParaRPr>
          </a:p>
          <a:p>
            <a:pPr marL="1050910" lvl="2" indent="-171450">
              <a:spcAft>
                <a:spcPts val="25"/>
              </a:spcAft>
              <a:buFont typeface="Wingdings" panose="05000000000000000000" pitchFamily="2" charset="2"/>
              <a:buChar char="Ø"/>
            </a:pPr>
            <a:r>
              <a:rPr lang="es-ES_tradnl" sz="1400">
                <a:sym typeface="Wingdings" panose="05000000000000000000" pitchFamily="2" charset="2"/>
              </a:rPr>
              <a:t> Definición de hecho de los </a:t>
            </a:r>
            <a:r>
              <a:rPr lang="es-ES_tradnl" sz="1400" b="1">
                <a:sym typeface="Wingdings" panose="05000000000000000000" pitchFamily="2" charset="2"/>
              </a:rPr>
              <a:t>Niveles de Prueba</a:t>
            </a:r>
          </a:p>
          <a:p>
            <a:pPr marL="555625" lvl="1" indent="-285750">
              <a:spcAft>
                <a:spcPts val="25"/>
              </a:spcAft>
              <a:buFont typeface="Wingdings" panose="05000000000000000000" pitchFamily="2" charset="2"/>
              <a:buChar char="q"/>
            </a:pPr>
            <a:endParaRPr lang="es-ES_tradnl" sz="500" u="sng">
              <a:sym typeface="Wingdings" panose="05000000000000000000" pitchFamily="2" charset="2"/>
            </a:endParaRPr>
          </a:p>
        </p:txBody>
      </p:sp>
      <p:sp>
        <p:nvSpPr>
          <p:cNvPr id="10" name="Rectangle 9">
            <a:extLst>
              <a:ext uri="{FF2B5EF4-FFF2-40B4-BE49-F238E27FC236}">
                <a16:creationId xmlns:a16="http://schemas.microsoft.com/office/drawing/2014/main" id="{5F7F1575-E5F7-4097-A4B2-5160E5CAEA11}"/>
              </a:ext>
            </a:extLst>
          </p:cNvPr>
          <p:cNvSpPr/>
          <p:nvPr/>
        </p:nvSpPr>
        <p:spPr bwMode="gray">
          <a:xfrm>
            <a:off x="4738977" y="4751664"/>
            <a:ext cx="5969193" cy="1091247"/>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100% de cobertura de decisión siempre que sea posible</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Análisis estático realizado en todo el código</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Ningún defecto importante sin resolver</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Ninguna deuda técnica inaceptable conocida en el diseño y el código</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Todo el código, pruebas unitarias y resultados de pruebas unitarias revisados.</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Todas las pruebas unitarias automatizadas.</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Las características importantes están dentro de los límites acordados</a:t>
            </a:r>
          </a:p>
        </p:txBody>
      </p:sp>
      <p:sp>
        <p:nvSpPr>
          <p:cNvPr id="14" name="Rectangle 13">
            <a:extLst>
              <a:ext uri="{FF2B5EF4-FFF2-40B4-BE49-F238E27FC236}">
                <a16:creationId xmlns:a16="http://schemas.microsoft.com/office/drawing/2014/main" id="{456C5358-7316-4D6C-BA6D-6845C1F25A24}"/>
              </a:ext>
            </a:extLst>
          </p:cNvPr>
          <p:cNvSpPr/>
          <p:nvPr/>
        </p:nvSpPr>
        <p:spPr bwMode="gray">
          <a:xfrm>
            <a:off x="4738977" y="3621232"/>
            <a:ext cx="5969193" cy="109125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Todos los requisitos funcionales probados, Todas las interfaces entre unidades probadas.</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Todos los riesgos de calidad cubiertos según el alcance acordado de la prueba.</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Ningún defecto importante sin resolver</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Todos los defectos detectados se comunican.</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Todas las pruebas de regresión automatizadas, cuando sea posible, con todas las pruebas automatizadas almacenadas en un repositorio común.</a:t>
            </a:r>
          </a:p>
        </p:txBody>
      </p:sp>
      <p:sp>
        <p:nvSpPr>
          <p:cNvPr id="16" name="Rectangle 15">
            <a:extLst>
              <a:ext uri="{FF2B5EF4-FFF2-40B4-BE49-F238E27FC236}">
                <a16:creationId xmlns:a16="http://schemas.microsoft.com/office/drawing/2014/main" id="{8B2C0636-1E88-410B-8CC5-67E84E0D952D}"/>
              </a:ext>
            </a:extLst>
          </p:cNvPr>
          <p:cNvSpPr/>
          <p:nvPr/>
        </p:nvSpPr>
        <p:spPr bwMode="gray">
          <a:xfrm>
            <a:off x="4738977" y="2502008"/>
            <a:ext cx="5969193" cy="1080044"/>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Pruebas de extremo a extremo de las historias de usuario</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Todas las personas usuarias cubiertas.</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Cubiertas las características de calidad más importantes del sistema</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Todos los riesgos de calidad cubiertos según el alcance acordado de la prueba.</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Todas las pruebas de regresión automatizadas</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Todos los defectos encontrados se informan y posiblemente se solucionan.</a:t>
            </a:r>
          </a:p>
          <a:p>
            <a:pPr marL="171450" indent="-171450">
              <a:lnSpc>
                <a:spcPct val="106000"/>
              </a:lnSpc>
              <a:buFont typeface="Wingdings" panose="05000000000000000000" pitchFamily="2" charset="2"/>
              <a:buChar char="§"/>
            </a:pPr>
            <a:r>
              <a:rPr lang="es-ES" sz="800">
                <a:ln w="0"/>
                <a:solidFill>
                  <a:schemeClr val="tx1"/>
                </a:solidFill>
                <a:latin typeface="Calibri" panose="020F0502020204030204" pitchFamily="34" charset="0"/>
                <a:cs typeface="Calibri" panose="020F0502020204030204" pitchFamily="34" charset="0"/>
              </a:rPr>
              <a:t>No hay defectos importantes sin resolver</a:t>
            </a:r>
          </a:p>
        </p:txBody>
      </p:sp>
      <p:graphicFrame>
        <p:nvGraphicFramePr>
          <p:cNvPr id="3" name="Diagram 2">
            <a:extLst>
              <a:ext uri="{FF2B5EF4-FFF2-40B4-BE49-F238E27FC236}">
                <a16:creationId xmlns:a16="http://schemas.microsoft.com/office/drawing/2014/main" id="{9D38640D-2EF0-3397-99BD-B6A7FC0FEA59}"/>
              </a:ext>
            </a:extLst>
          </p:cNvPr>
          <p:cNvGraphicFramePr/>
          <p:nvPr/>
        </p:nvGraphicFramePr>
        <p:xfrm>
          <a:off x="399892" y="2687047"/>
          <a:ext cx="4133930" cy="316168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79160861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Criterios de Aceptación, Cobertura Adecuada y Otra Información para Probar</a:t>
            </a:r>
            <a:endParaRPr lang="es-ES_tradnl" sz="500" u="sng">
              <a:sym typeface="Wingdings" panose="05000000000000000000" pitchFamily="2" charset="2"/>
            </a:endParaRPr>
          </a:p>
        </p:txBody>
      </p:sp>
      <p:sp>
        <p:nvSpPr>
          <p:cNvPr id="9" name="TextBox 8">
            <a:extLst>
              <a:ext uri="{FF2B5EF4-FFF2-40B4-BE49-F238E27FC236}">
                <a16:creationId xmlns:a16="http://schemas.microsoft.com/office/drawing/2014/main" id="{F8D4FF78-AFE4-495F-9711-B7B1533ADEBB}"/>
              </a:ext>
            </a:extLst>
          </p:cNvPr>
          <p:cNvSpPr txBox="1"/>
          <p:nvPr/>
        </p:nvSpPr>
        <p:spPr>
          <a:xfrm>
            <a:off x="155575" y="1818580"/>
            <a:ext cx="11089254" cy="692497"/>
          </a:xfrm>
          <a:prstGeom prst="rect">
            <a:avLst/>
          </a:prstGeom>
          <a:noFill/>
        </p:spPr>
        <p:txBody>
          <a:bodyPr wrap="square" lIns="0" tIns="0" rIns="0" bIns="0" rtlCol="0">
            <a:spAutoFit/>
          </a:bodyPr>
          <a:lstStyle/>
          <a:p>
            <a:pPr marL="269875" lvl="1">
              <a:spcAft>
                <a:spcPts val="25"/>
              </a:spcAft>
            </a:pPr>
            <a:endParaRPr lang="es-ES" sz="1400" b="1"/>
          </a:p>
          <a:p>
            <a:pPr marL="269875" lvl="1">
              <a:spcAft>
                <a:spcPts val="25"/>
              </a:spcAft>
            </a:pPr>
            <a:endParaRPr lang="es-ES_tradnl" sz="1200" b="1">
              <a:sym typeface="Wingdings" panose="05000000000000000000" pitchFamily="2" charset="2"/>
            </a:endParaRPr>
          </a:p>
          <a:p>
            <a:pPr marL="1050910" lvl="2" indent="-171450">
              <a:spcAft>
                <a:spcPts val="25"/>
              </a:spcAft>
              <a:buFont typeface="Wingdings" panose="05000000000000000000" pitchFamily="2" charset="2"/>
              <a:buChar char="Ø"/>
            </a:pPr>
            <a:r>
              <a:rPr lang="es-ES_tradnl" sz="1400">
                <a:sym typeface="Wingdings" panose="05000000000000000000" pitchFamily="2" charset="2"/>
              </a:rPr>
              <a:t> Definición de hecho para </a:t>
            </a:r>
            <a:r>
              <a:rPr lang="es-ES_tradnl" sz="1400" b="1">
                <a:sym typeface="Wingdings" panose="05000000000000000000" pitchFamily="2" charset="2"/>
              </a:rPr>
              <a:t>Historias de Usuario</a:t>
            </a:r>
          </a:p>
          <a:p>
            <a:pPr marL="555625" lvl="1" indent="-285750">
              <a:spcAft>
                <a:spcPts val="25"/>
              </a:spcAft>
              <a:buFont typeface="Wingdings" panose="05000000000000000000" pitchFamily="2" charset="2"/>
              <a:buChar char="q"/>
            </a:pPr>
            <a:endParaRPr lang="es-ES_tradnl" sz="500" u="sng">
              <a:sym typeface="Wingdings" panose="05000000000000000000" pitchFamily="2" charset="2"/>
            </a:endParaRPr>
          </a:p>
        </p:txBody>
      </p:sp>
      <p:sp>
        <p:nvSpPr>
          <p:cNvPr id="17" name="TextBox 16">
            <a:extLst>
              <a:ext uri="{FF2B5EF4-FFF2-40B4-BE49-F238E27FC236}">
                <a16:creationId xmlns:a16="http://schemas.microsoft.com/office/drawing/2014/main" id="{48C07175-436E-4B35-84F1-4917D3F69946}"/>
              </a:ext>
            </a:extLst>
          </p:cNvPr>
          <p:cNvSpPr txBox="1"/>
          <p:nvPr/>
        </p:nvSpPr>
        <p:spPr>
          <a:xfrm>
            <a:off x="561975" y="2612765"/>
            <a:ext cx="10096500" cy="344069"/>
          </a:xfrm>
          <a:prstGeom prst="rect">
            <a:avLst/>
          </a:prstGeom>
          <a:noFill/>
        </p:spPr>
        <p:txBody>
          <a:bodyPr wrap="square">
            <a:spAutoFit/>
          </a:bodyPr>
          <a:lstStyle/>
          <a:p>
            <a:pPr>
              <a:lnSpc>
                <a:spcPct val="107000"/>
              </a:lnSpc>
              <a:spcAft>
                <a:spcPts val="800"/>
              </a:spcAft>
            </a:pPr>
            <a:r>
              <a:rPr lang="es-ES" sz="1600">
                <a:latin typeface="Calibri" panose="020F0502020204030204" pitchFamily="34" charset="0"/>
                <a:cs typeface="Times New Roman" panose="02020603050405020304" pitchFamily="18" charset="0"/>
              </a:rPr>
              <a:t>La definición de hecho para las historias de usuario puede estar determinada por los siguientes criterios:</a:t>
            </a:r>
          </a:p>
        </p:txBody>
      </p:sp>
      <p:graphicFrame>
        <p:nvGraphicFramePr>
          <p:cNvPr id="3" name="Diagram 2">
            <a:extLst>
              <a:ext uri="{FF2B5EF4-FFF2-40B4-BE49-F238E27FC236}">
                <a16:creationId xmlns:a16="http://schemas.microsoft.com/office/drawing/2014/main" id="{8807A32A-16D6-9F44-AAA8-66DEF4EE88CF}"/>
              </a:ext>
            </a:extLst>
          </p:cNvPr>
          <p:cNvGraphicFramePr/>
          <p:nvPr/>
        </p:nvGraphicFramePr>
        <p:xfrm>
          <a:off x="1853068" y="2784799"/>
          <a:ext cx="8416014" cy="327984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87436528"/>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Criterios de Aceptación, Cobertura Adecuada y Otra Información para Probar</a:t>
            </a:r>
            <a:endParaRPr lang="es-ES_tradnl" sz="500" u="sng">
              <a:sym typeface="Wingdings" panose="05000000000000000000" pitchFamily="2" charset="2"/>
            </a:endParaRPr>
          </a:p>
        </p:txBody>
      </p:sp>
      <p:sp>
        <p:nvSpPr>
          <p:cNvPr id="9" name="TextBox 8">
            <a:extLst>
              <a:ext uri="{FF2B5EF4-FFF2-40B4-BE49-F238E27FC236}">
                <a16:creationId xmlns:a16="http://schemas.microsoft.com/office/drawing/2014/main" id="{F8D4FF78-AFE4-495F-9711-B7B1533ADEBB}"/>
              </a:ext>
            </a:extLst>
          </p:cNvPr>
          <p:cNvSpPr txBox="1"/>
          <p:nvPr/>
        </p:nvSpPr>
        <p:spPr>
          <a:xfrm>
            <a:off x="155575" y="1818580"/>
            <a:ext cx="11089254" cy="692497"/>
          </a:xfrm>
          <a:prstGeom prst="rect">
            <a:avLst/>
          </a:prstGeom>
          <a:noFill/>
        </p:spPr>
        <p:txBody>
          <a:bodyPr wrap="square" lIns="0" tIns="0" rIns="0" bIns="0" rtlCol="0">
            <a:spAutoFit/>
          </a:bodyPr>
          <a:lstStyle/>
          <a:p>
            <a:pPr marL="269875" lvl="1">
              <a:spcAft>
                <a:spcPts val="25"/>
              </a:spcAft>
            </a:pPr>
            <a:endParaRPr lang="es-ES" sz="1400" b="1"/>
          </a:p>
          <a:p>
            <a:pPr marL="269875" lvl="1">
              <a:spcAft>
                <a:spcPts val="25"/>
              </a:spcAft>
            </a:pPr>
            <a:endParaRPr lang="es-ES_tradnl" sz="1200" b="1">
              <a:sym typeface="Wingdings" panose="05000000000000000000" pitchFamily="2" charset="2"/>
            </a:endParaRPr>
          </a:p>
          <a:p>
            <a:pPr marL="1050910" lvl="2" indent="-171450">
              <a:spcAft>
                <a:spcPts val="25"/>
              </a:spcAft>
              <a:buFont typeface="Wingdings" panose="05000000000000000000" pitchFamily="2" charset="2"/>
              <a:buChar char="Ø"/>
            </a:pPr>
            <a:r>
              <a:rPr lang="es-ES_tradnl" sz="1400">
                <a:sym typeface="Wingdings" panose="05000000000000000000" pitchFamily="2" charset="2"/>
              </a:rPr>
              <a:t> Definición de hecho de </a:t>
            </a:r>
            <a:r>
              <a:rPr lang="es-ES_tradnl" sz="1400" b="1">
                <a:sym typeface="Wingdings" panose="05000000000000000000" pitchFamily="2" charset="2"/>
              </a:rPr>
              <a:t>Prestaciones</a:t>
            </a:r>
          </a:p>
          <a:p>
            <a:pPr marL="555625" lvl="1" indent="-285750">
              <a:spcAft>
                <a:spcPts val="25"/>
              </a:spcAft>
              <a:buFont typeface="Wingdings" panose="05000000000000000000" pitchFamily="2" charset="2"/>
              <a:buChar char="q"/>
            </a:pPr>
            <a:endParaRPr lang="es-ES_tradnl" sz="500" u="sng">
              <a:sym typeface="Wingdings" panose="05000000000000000000" pitchFamily="2" charset="2"/>
            </a:endParaRPr>
          </a:p>
        </p:txBody>
      </p:sp>
      <p:sp>
        <p:nvSpPr>
          <p:cNvPr id="17" name="TextBox 16">
            <a:extLst>
              <a:ext uri="{FF2B5EF4-FFF2-40B4-BE49-F238E27FC236}">
                <a16:creationId xmlns:a16="http://schemas.microsoft.com/office/drawing/2014/main" id="{48C07175-436E-4B35-84F1-4917D3F69946}"/>
              </a:ext>
            </a:extLst>
          </p:cNvPr>
          <p:cNvSpPr txBox="1"/>
          <p:nvPr/>
        </p:nvSpPr>
        <p:spPr>
          <a:xfrm>
            <a:off x="561975" y="2612765"/>
            <a:ext cx="10096500" cy="344069"/>
          </a:xfrm>
          <a:prstGeom prst="rect">
            <a:avLst/>
          </a:prstGeom>
          <a:noFill/>
        </p:spPr>
        <p:txBody>
          <a:bodyPr wrap="square">
            <a:spAutoFit/>
          </a:bodyPr>
          <a:lstStyle/>
          <a:p>
            <a:pPr>
              <a:lnSpc>
                <a:spcPct val="107000"/>
              </a:lnSpc>
              <a:spcAft>
                <a:spcPts val="800"/>
              </a:spcAft>
            </a:pPr>
            <a:r>
              <a:rPr lang="es-ES" sz="1600">
                <a:latin typeface="Calibri" panose="020F0502020204030204" pitchFamily="34" charset="0"/>
                <a:cs typeface="Times New Roman" panose="02020603050405020304" pitchFamily="18" charset="0"/>
              </a:rPr>
              <a:t>La definición de hecho para las prestaciones, que pueden abarcar varias historias de usuario o épicas, puede incluir:</a:t>
            </a:r>
          </a:p>
        </p:txBody>
      </p:sp>
      <p:graphicFrame>
        <p:nvGraphicFramePr>
          <p:cNvPr id="3" name="Diagram 2">
            <a:extLst>
              <a:ext uri="{FF2B5EF4-FFF2-40B4-BE49-F238E27FC236}">
                <a16:creationId xmlns:a16="http://schemas.microsoft.com/office/drawing/2014/main" id="{9E7C1870-197D-0980-A822-B6268168D284}"/>
              </a:ext>
            </a:extLst>
          </p:cNvPr>
          <p:cNvGraphicFramePr/>
          <p:nvPr/>
        </p:nvGraphicFramePr>
        <p:xfrm>
          <a:off x="1574358" y="3058522"/>
          <a:ext cx="7641204" cy="307981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555245980"/>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Criterios de Aceptación, Cobertura Adecuada y Otra Información para Probar</a:t>
            </a:r>
            <a:endParaRPr lang="es-ES_tradnl" sz="500" u="sng">
              <a:sym typeface="Wingdings" panose="05000000000000000000" pitchFamily="2" charset="2"/>
            </a:endParaRPr>
          </a:p>
        </p:txBody>
      </p:sp>
      <p:sp>
        <p:nvSpPr>
          <p:cNvPr id="9" name="TextBox 8">
            <a:extLst>
              <a:ext uri="{FF2B5EF4-FFF2-40B4-BE49-F238E27FC236}">
                <a16:creationId xmlns:a16="http://schemas.microsoft.com/office/drawing/2014/main" id="{F8D4FF78-AFE4-495F-9711-B7B1533ADEBB}"/>
              </a:ext>
            </a:extLst>
          </p:cNvPr>
          <p:cNvSpPr txBox="1"/>
          <p:nvPr/>
        </p:nvSpPr>
        <p:spPr>
          <a:xfrm>
            <a:off x="155575" y="1818580"/>
            <a:ext cx="11089254" cy="615553"/>
          </a:xfrm>
          <a:prstGeom prst="rect">
            <a:avLst/>
          </a:prstGeom>
          <a:noFill/>
        </p:spPr>
        <p:txBody>
          <a:bodyPr wrap="square" lIns="0" tIns="0" rIns="0" bIns="0" rtlCol="0">
            <a:spAutoFit/>
          </a:bodyPr>
          <a:lstStyle/>
          <a:p>
            <a:pPr marL="269875" lvl="1">
              <a:spcAft>
                <a:spcPts val="25"/>
              </a:spcAft>
            </a:pPr>
            <a:endParaRPr lang="es-ES" sz="1400" b="1"/>
          </a:p>
          <a:p>
            <a:pPr marL="269875" lvl="1">
              <a:spcAft>
                <a:spcPts val="25"/>
              </a:spcAft>
            </a:pPr>
            <a:endParaRPr lang="es-ES_tradnl" sz="1200" b="1">
              <a:sym typeface="Wingdings" panose="05000000000000000000" pitchFamily="2" charset="2"/>
            </a:endParaRPr>
          </a:p>
          <a:p>
            <a:pPr marL="1050910" lvl="2" indent="-171450">
              <a:spcAft>
                <a:spcPts val="25"/>
              </a:spcAft>
              <a:buFont typeface="Wingdings" panose="05000000000000000000" pitchFamily="2" charset="2"/>
              <a:buChar char="Ø"/>
            </a:pPr>
            <a:r>
              <a:rPr lang="es-ES_tradnl" sz="1400">
                <a:sym typeface="Wingdings" panose="05000000000000000000" pitchFamily="2" charset="2"/>
              </a:rPr>
              <a:t> Definición de hecho de </a:t>
            </a:r>
            <a:r>
              <a:rPr lang="es-ES_tradnl" sz="1400" b="1">
                <a:sym typeface="Wingdings" panose="05000000000000000000" pitchFamily="2" charset="2"/>
              </a:rPr>
              <a:t>Iteraciones</a:t>
            </a:r>
            <a:endParaRPr lang="es-ES_tradnl" sz="500" b="1" u="sng">
              <a:sym typeface="Wingdings" panose="05000000000000000000" pitchFamily="2" charset="2"/>
            </a:endParaRPr>
          </a:p>
        </p:txBody>
      </p:sp>
      <p:sp>
        <p:nvSpPr>
          <p:cNvPr id="17" name="TextBox 16">
            <a:extLst>
              <a:ext uri="{FF2B5EF4-FFF2-40B4-BE49-F238E27FC236}">
                <a16:creationId xmlns:a16="http://schemas.microsoft.com/office/drawing/2014/main" id="{48C07175-436E-4B35-84F1-4917D3F69946}"/>
              </a:ext>
            </a:extLst>
          </p:cNvPr>
          <p:cNvSpPr txBox="1"/>
          <p:nvPr/>
        </p:nvSpPr>
        <p:spPr>
          <a:xfrm>
            <a:off x="561975" y="2612765"/>
            <a:ext cx="10096500" cy="344069"/>
          </a:xfrm>
          <a:prstGeom prst="rect">
            <a:avLst/>
          </a:prstGeom>
          <a:noFill/>
        </p:spPr>
        <p:txBody>
          <a:bodyPr wrap="square">
            <a:spAutoFit/>
          </a:bodyPr>
          <a:lstStyle/>
          <a:p>
            <a:pPr>
              <a:lnSpc>
                <a:spcPct val="107000"/>
              </a:lnSpc>
              <a:spcAft>
                <a:spcPts val="800"/>
              </a:spcAft>
            </a:pPr>
            <a:r>
              <a:rPr lang="es-ES" sz="1600">
                <a:latin typeface="Calibri" panose="020F0502020204030204" pitchFamily="34" charset="0"/>
                <a:cs typeface="Times New Roman" panose="02020603050405020304" pitchFamily="18" charset="0"/>
              </a:rPr>
              <a:t>La definición de hecho para la iteración puede incluir lo siguiente:</a:t>
            </a:r>
          </a:p>
        </p:txBody>
      </p:sp>
      <p:graphicFrame>
        <p:nvGraphicFramePr>
          <p:cNvPr id="3" name="Diagram 2">
            <a:extLst>
              <a:ext uri="{FF2B5EF4-FFF2-40B4-BE49-F238E27FC236}">
                <a16:creationId xmlns:a16="http://schemas.microsoft.com/office/drawing/2014/main" id="{8BB80B60-7688-03EF-BE6B-995259189436}"/>
              </a:ext>
            </a:extLst>
          </p:cNvPr>
          <p:cNvGraphicFramePr/>
          <p:nvPr/>
        </p:nvGraphicFramePr>
        <p:xfrm>
          <a:off x="1304915" y="2956834"/>
          <a:ext cx="9582170" cy="333770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43079534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Criterios de Aceptación, Cobertura Adecuada y Otra Información para Probar</a:t>
            </a:r>
            <a:endParaRPr lang="es-ES_tradnl" sz="500" u="sng">
              <a:sym typeface="Wingdings" panose="05000000000000000000" pitchFamily="2" charset="2"/>
            </a:endParaRPr>
          </a:p>
        </p:txBody>
      </p:sp>
      <p:sp>
        <p:nvSpPr>
          <p:cNvPr id="9" name="TextBox 8">
            <a:extLst>
              <a:ext uri="{FF2B5EF4-FFF2-40B4-BE49-F238E27FC236}">
                <a16:creationId xmlns:a16="http://schemas.microsoft.com/office/drawing/2014/main" id="{F8D4FF78-AFE4-495F-9711-B7B1533ADEBB}"/>
              </a:ext>
            </a:extLst>
          </p:cNvPr>
          <p:cNvSpPr txBox="1"/>
          <p:nvPr/>
        </p:nvSpPr>
        <p:spPr>
          <a:xfrm>
            <a:off x="155575" y="1818580"/>
            <a:ext cx="11089254" cy="615553"/>
          </a:xfrm>
          <a:prstGeom prst="rect">
            <a:avLst/>
          </a:prstGeom>
          <a:noFill/>
        </p:spPr>
        <p:txBody>
          <a:bodyPr wrap="square" lIns="0" tIns="0" rIns="0" bIns="0" rtlCol="0">
            <a:spAutoFit/>
          </a:bodyPr>
          <a:lstStyle/>
          <a:p>
            <a:pPr marL="269875" lvl="1">
              <a:spcAft>
                <a:spcPts val="25"/>
              </a:spcAft>
            </a:pPr>
            <a:endParaRPr lang="es-ES" sz="1400" b="1"/>
          </a:p>
          <a:p>
            <a:pPr marL="269875" lvl="1">
              <a:spcAft>
                <a:spcPts val="25"/>
              </a:spcAft>
            </a:pPr>
            <a:endParaRPr lang="es-ES_tradnl" sz="1200" b="1">
              <a:sym typeface="Wingdings" panose="05000000000000000000" pitchFamily="2" charset="2"/>
            </a:endParaRPr>
          </a:p>
          <a:p>
            <a:pPr marL="1050910" lvl="2" indent="-171450">
              <a:spcAft>
                <a:spcPts val="25"/>
              </a:spcAft>
              <a:buFont typeface="Wingdings" panose="05000000000000000000" pitchFamily="2" charset="2"/>
              <a:buChar char="Ø"/>
            </a:pPr>
            <a:r>
              <a:rPr lang="es-ES_tradnl" sz="1400">
                <a:sym typeface="Wingdings" panose="05000000000000000000" pitchFamily="2" charset="2"/>
              </a:rPr>
              <a:t> Definición de hecho de Entregas</a:t>
            </a:r>
            <a:endParaRPr lang="es-ES_tradnl" sz="500" u="sng">
              <a:sym typeface="Wingdings" panose="05000000000000000000" pitchFamily="2" charset="2"/>
            </a:endParaRPr>
          </a:p>
        </p:txBody>
      </p:sp>
      <p:sp>
        <p:nvSpPr>
          <p:cNvPr id="17" name="TextBox 16">
            <a:extLst>
              <a:ext uri="{FF2B5EF4-FFF2-40B4-BE49-F238E27FC236}">
                <a16:creationId xmlns:a16="http://schemas.microsoft.com/office/drawing/2014/main" id="{48C07175-436E-4B35-84F1-4917D3F69946}"/>
              </a:ext>
            </a:extLst>
          </p:cNvPr>
          <p:cNvSpPr txBox="1"/>
          <p:nvPr/>
        </p:nvSpPr>
        <p:spPr>
          <a:xfrm>
            <a:off x="561975" y="2612765"/>
            <a:ext cx="10096500" cy="344069"/>
          </a:xfrm>
          <a:prstGeom prst="rect">
            <a:avLst/>
          </a:prstGeom>
          <a:noFill/>
        </p:spPr>
        <p:txBody>
          <a:bodyPr wrap="square">
            <a:spAutoFit/>
          </a:bodyPr>
          <a:lstStyle/>
          <a:p>
            <a:pPr>
              <a:lnSpc>
                <a:spcPct val="107000"/>
              </a:lnSpc>
              <a:spcAft>
                <a:spcPts val="800"/>
              </a:spcAft>
            </a:pPr>
            <a:r>
              <a:rPr lang="es-ES" sz="1600">
                <a:latin typeface="Calibri" panose="020F0502020204030204" pitchFamily="34" charset="0"/>
                <a:cs typeface="Times New Roman" panose="02020603050405020304" pitchFamily="18" charset="0"/>
              </a:rPr>
              <a:t>La definición de hecho para una entrega, que puede abarcar varias iteraciones, puede incluir las siguientes áreas:</a:t>
            </a:r>
          </a:p>
        </p:txBody>
      </p:sp>
      <p:graphicFrame>
        <p:nvGraphicFramePr>
          <p:cNvPr id="3" name="Diagram 2">
            <a:extLst>
              <a:ext uri="{FF2B5EF4-FFF2-40B4-BE49-F238E27FC236}">
                <a16:creationId xmlns:a16="http://schemas.microsoft.com/office/drawing/2014/main" id="{895C8CB5-EB30-06AE-FBEB-A390ACAB3C70}"/>
              </a:ext>
            </a:extLst>
          </p:cNvPr>
          <p:cNvGraphicFramePr/>
          <p:nvPr/>
        </p:nvGraphicFramePr>
        <p:xfrm>
          <a:off x="1428584" y="2882422"/>
          <a:ext cx="8543235" cy="358199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636603585"/>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Aplicación del Desarrollo Guiado por Pruebas de Aceptación</a:t>
            </a:r>
            <a:endParaRPr lang="es-ES_tradnl" sz="500" u="sng">
              <a:sym typeface="Wingdings" panose="05000000000000000000" pitchFamily="2" charset="2"/>
            </a:endParaRPr>
          </a:p>
        </p:txBody>
      </p:sp>
      <p:sp>
        <p:nvSpPr>
          <p:cNvPr id="17" name="TextBox 16">
            <a:extLst>
              <a:ext uri="{FF2B5EF4-FFF2-40B4-BE49-F238E27FC236}">
                <a16:creationId xmlns:a16="http://schemas.microsoft.com/office/drawing/2014/main" id="{48C07175-436E-4B35-84F1-4917D3F69946}"/>
              </a:ext>
            </a:extLst>
          </p:cNvPr>
          <p:cNvSpPr txBox="1"/>
          <p:nvPr/>
        </p:nvSpPr>
        <p:spPr>
          <a:xfrm>
            <a:off x="552450" y="2312669"/>
            <a:ext cx="10096500" cy="2335255"/>
          </a:xfrm>
          <a:prstGeom prst="rect">
            <a:avLst/>
          </a:prstGeom>
          <a:noFill/>
        </p:spPr>
        <p:txBody>
          <a:bodyPr wrap="square">
            <a:spAutoFit/>
          </a:bodyPr>
          <a:lstStyle/>
          <a:p>
            <a:pPr marL="285750" indent="-285750">
              <a:lnSpc>
                <a:spcPct val="107000"/>
              </a:lnSpc>
              <a:spcAft>
                <a:spcPts val="800"/>
              </a:spcAft>
              <a:buFont typeface="Wingdings" panose="05000000000000000000" pitchFamily="2" charset="2"/>
              <a:buChar char="§"/>
            </a:pPr>
            <a:r>
              <a:rPr lang="es-ES" sz="1600">
                <a:latin typeface="Calibri" panose="020F0502020204030204" pitchFamily="34" charset="0"/>
                <a:cs typeface="Times New Roman" panose="02020603050405020304" pitchFamily="18" charset="0"/>
              </a:rPr>
              <a:t>El desarrollo guiado por pruebas de aceptación es un enfoque que da prioridad a las pruebas. </a:t>
            </a:r>
          </a:p>
          <a:p>
            <a:pPr marL="285750" indent="-285750">
              <a:lnSpc>
                <a:spcPct val="107000"/>
              </a:lnSpc>
              <a:spcAft>
                <a:spcPts val="800"/>
              </a:spcAft>
              <a:buFont typeface="Wingdings" panose="05000000000000000000" pitchFamily="2" charset="2"/>
              <a:buChar char="§"/>
            </a:pPr>
            <a:r>
              <a:rPr lang="es-ES" sz="1600">
                <a:latin typeface="Calibri" panose="020F0502020204030204" pitchFamily="34" charset="0"/>
                <a:cs typeface="Times New Roman" panose="02020603050405020304" pitchFamily="18" charset="0"/>
              </a:rPr>
              <a:t>Los casos de prueba se crean antes de implementar la historia de usuario. </a:t>
            </a:r>
          </a:p>
          <a:p>
            <a:pPr marL="285750" indent="-285750">
              <a:lnSpc>
                <a:spcPct val="107000"/>
              </a:lnSpc>
              <a:spcAft>
                <a:spcPts val="800"/>
              </a:spcAft>
              <a:buFont typeface="Wingdings" panose="05000000000000000000" pitchFamily="2" charset="2"/>
              <a:buChar char="§"/>
            </a:pPr>
            <a:r>
              <a:rPr lang="es-ES" sz="1600">
                <a:latin typeface="Calibri" panose="020F0502020204030204" pitchFamily="34" charset="0"/>
                <a:cs typeface="Times New Roman" panose="02020603050405020304" pitchFamily="18" charset="0"/>
              </a:rPr>
              <a:t>Los casos de prueba son creados por el equipo ágil, que incluye al desarrollador, al probador y a los representantes de negocio y pueden ser manuales o automatizados.</a:t>
            </a:r>
          </a:p>
          <a:p>
            <a:pPr marL="285750" indent="-285750">
              <a:lnSpc>
                <a:spcPct val="107000"/>
              </a:lnSpc>
              <a:spcAft>
                <a:spcPts val="800"/>
              </a:spcAft>
              <a:buFont typeface="Wingdings" panose="05000000000000000000" pitchFamily="2" charset="2"/>
              <a:buChar char="§"/>
            </a:pPr>
            <a:r>
              <a:rPr lang="es-ES" sz="1600">
                <a:latin typeface="Calibri" panose="020F0502020204030204" pitchFamily="34" charset="0"/>
                <a:cs typeface="Times New Roman" panose="02020603050405020304" pitchFamily="18" charset="0"/>
              </a:rPr>
              <a:t>El siguiente paso es crear las pruebas. Esto puede hacerlo el equipo en conjunto o el probador individualmente. En cualquier caso, una persona independiente, como un representante de negocio, valida las pruebas. </a:t>
            </a:r>
          </a:p>
          <a:p>
            <a:pPr marL="285750" indent="-285750">
              <a:lnSpc>
                <a:spcPct val="107000"/>
              </a:lnSpc>
              <a:spcAft>
                <a:spcPts val="800"/>
              </a:spcAft>
              <a:buFont typeface="Wingdings" panose="05000000000000000000" pitchFamily="2" charset="2"/>
              <a:buChar char="§"/>
            </a:pPr>
            <a:r>
              <a:rPr lang="es-ES" sz="1600">
                <a:latin typeface="Calibri" panose="020F0502020204030204" pitchFamily="34" charset="0"/>
                <a:cs typeface="Times New Roman" panose="02020603050405020304" pitchFamily="18" charset="0"/>
              </a:rPr>
              <a:t>Las pruebas son ejemplos que describen las características específicas de la historia de usuario.</a:t>
            </a:r>
          </a:p>
        </p:txBody>
      </p:sp>
    </p:spTree>
    <p:extLst>
      <p:ext uri="{BB962C8B-B14F-4D97-AF65-F5344CB8AC3E}">
        <p14:creationId xmlns:p14="http://schemas.microsoft.com/office/powerpoint/2010/main" val="2708808321"/>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Diseño de Pruebas de Caja Negra Funcionales y No Funcionales</a:t>
            </a:r>
            <a:endParaRPr lang="es-ES_tradnl" sz="500" u="sng">
              <a:sym typeface="Wingdings" panose="05000000000000000000" pitchFamily="2" charset="2"/>
            </a:endParaRPr>
          </a:p>
        </p:txBody>
      </p:sp>
      <p:sp>
        <p:nvSpPr>
          <p:cNvPr id="17" name="TextBox 16">
            <a:extLst>
              <a:ext uri="{FF2B5EF4-FFF2-40B4-BE49-F238E27FC236}">
                <a16:creationId xmlns:a16="http://schemas.microsoft.com/office/drawing/2014/main" id="{48C07175-436E-4B35-84F1-4917D3F69946}"/>
              </a:ext>
            </a:extLst>
          </p:cNvPr>
          <p:cNvSpPr txBox="1"/>
          <p:nvPr/>
        </p:nvSpPr>
        <p:spPr>
          <a:xfrm>
            <a:off x="552450" y="2312669"/>
            <a:ext cx="10096500" cy="2232662"/>
          </a:xfrm>
          <a:prstGeom prst="rect">
            <a:avLst/>
          </a:prstGeom>
          <a:noFill/>
        </p:spPr>
        <p:txBody>
          <a:bodyPr wrap="square">
            <a:spAutoFit/>
          </a:bodyPr>
          <a:lstStyle/>
          <a:p>
            <a:pPr marL="285750" indent="-285750">
              <a:lnSpc>
                <a:spcPct val="107000"/>
              </a:lnSpc>
              <a:spcAft>
                <a:spcPts val="800"/>
              </a:spcAft>
              <a:buFont typeface="Wingdings" panose="05000000000000000000" pitchFamily="2" charset="2"/>
              <a:buChar char="§"/>
            </a:pPr>
            <a:r>
              <a:rPr lang="es-ES" sz="1600">
                <a:latin typeface="Calibri" panose="020F0502020204030204" pitchFamily="34" charset="0"/>
                <a:cs typeface="Times New Roman" panose="02020603050405020304" pitchFamily="18" charset="0"/>
              </a:rPr>
              <a:t>En la prueba Ágil, los probadores crean muchas pruebas de forma simultánea a las actividades de programación de los desarrolladores. </a:t>
            </a:r>
          </a:p>
          <a:p>
            <a:pPr marL="285750" indent="-285750">
              <a:lnSpc>
                <a:spcPct val="107000"/>
              </a:lnSpc>
              <a:spcAft>
                <a:spcPts val="800"/>
              </a:spcAft>
              <a:buFont typeface="Wingdings" panose="05000000000000000000" pitchFamily="2" charset="2"/>
              <a:buChar char="§"/>
            </a:pPr>
            <a:r>
              <a:rPr lang="es-ES" sz="1600">
                <a:latin typeface="Calibri" panose="020F0502020204030204" pitchFamily="34" charset="0"/>
                <a:cs typeface="Times New Roman" panose="02020603050405020304" pitchFamily="18" charset="0"/>
              </a:rPr>
              <a:t>Al igual que los desarrolladores programan basándose en las historias de usuario y los criterios de aceptación, los probadores crean pruebas basadas en las historias de usuario y sus criterios de aceptación.</a:t>
            </a:r>
          </a:p>
          <a:p>
            <a:pPr marL="285750" indent="-285750">
              <a:lnSpc>
                <a:spcPct val="107000"/>
              </a:lnSpc>
              <a:spcAft>
                <a:spcPts val="800"/>
              </a:spcAft>
              <a:buFont typeface="Wingdings" panose="05000000000000000000" pitchFamily="2" charset="2"/>
              <a:buChar char="§"/>
            </a:pPr>
            <a:r>
              <a:rPr lang="es-ES" sz="1600">
                <a:latin typeface="Calibri" panose="020F0502020204030204" pitchFamily="34" charset="0"/>
                <a:cs typeface="Times New Roman" panose="02020603050405020304" pitchFamily="18" charset="0"/>
              </a:rPr>
              <a:t>Técnicas de diseño de caja negra: análisis de particiones de equivalencia, análisis del valor frontera, tablas de decisión y las pruebas de transición de estado.</a:t>
            </a:r>
          </a:p>
          <a:p>
            <a:pPr marL="285750" indent="-285750">
              <a:lnSpc>
                <a:spcPct val="107000"/>
              </a:lnSpc>
              <a:spcAft>
                <a:spcPts val="800"/>
              </a:spcAft>
              <a:buFont typeface="Wingdings" panose="05000000000000000000" pitchFamily="2" charset="2"/>
              <a:buChar char="§"/>
            </a:pPr>
            <a:r>
              <a:rPr lang="es-ES" sz="1600">
                <a:latin typeface="Calibri" panose="020F0502020204030204" pitchFamily="34" charset="0"/>
                <a:cs typeface="Times New Roman" panose="02020603050405020304" pitchFamily="18" charset="0"/>
              </a:rPr>
              <a:t>En muchas situaciones, los requisitos no funcionales pueden documentarse como historias de usuario. </a:t>
            </a:r>
          </a:p>
        </p:txBody>
      </p:sp>
    </p:spTree>
    <p:extLst>
      <p:ext uri="{BB962C8B-B14F-4D97-AF65-F5344CB8AC3E}">
        <p14:creationId xmlns:p14="http://schemas.microsoft.com/office/powerpoint/2010/main" val="19395266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6050054"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1 </a:t>
            </a:r>
            <a:r>
              <a:rPr lang="en-GB" altLang="en-US" sz="1600" b="1" err="1">
                <a:solidFill>
                  <a:schemeClr val="accent1"/>
                </a:solidFill>
                <a:latin typeface="Verdana" pitchFamily="34" charset="0"/>
                <a:ea typeface="Arial" pitchFamily="34" charset="0"/>
                <a:cs typeface="Verdana" pitchFamily="34" charset="0"/>
              </a:rPr>
              <a:t>Fundamentos</a:t>
            </a:r>
            <a:r>
              <a:rPr lang="en-GB" altLang="en-US" sz="1600" b="1">
                <a:solidFill>
                  <a:schemeClr val="accent1"/>
                </a:solidFill>
                <a:latin typeface="Verdana" pitchFamily="34" charset="0"/>
                <a:ea typeface="Arial" pitchFamily="34" charset="0"/>
                <a:cs typeface="Verdana" pitchFamily="34" charset="0"/>
              </a:rPr>
              <a:t> de Desarrollo Ágil de Software</a:t>
            </a:r>
          </a:p>
        </p:txBody>
      </p:sp>
      <p:sp>
        <p:nvSpPr>
          <p:cNvPr id="8" name="TextBox 7"/>
          <p:cNvSpPr txBox="1"/>
          <p:nvPr/>
        </p:nvSpPr>
        <p:spPr>
          <a:xfrm>
            <a:off x="399892" y="2248933"/>
            <a:ext cx="11201400" cy="1154162"/>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
            </a:pPr>
            <a:r>
              <a:rPr lang="es-ES" sz="1400">
                <a:sym typeface="Wingdings" panose="05000000000000000000" pitchFamily="2" charset="2"/>
              </a:rPr>
              <a:t>Los proyectos ágiles tienen iteraciones cortas que permiten al equipo del proyecto recibir una </a:t>
            </a:r>
            <a:r>
              <a:rPr lang="es-ES" sz="1400" b="1">
                <a:sym typeface="Wingdings" panose="05000000000000000000" pitchFamily="2" charset="2"/>
              </a:rPr>
              <a:t>retroalimentación temprana y continua </a:t>
            </a:r>
            <a:r>
              <a:rPr lang="es-ES" sz="1400">
                <a:sym typeface="Wingdings" panose="05000000000000000000" pitchFamily="2" charset="2"/>
              </a:rPr>
              <a:t>sobre la calidad del producto a lo largo del ciclo de vida de desarrollo.</a:t>
            </a:r>
          </a:p>
          <a:p>
            <a:pPr marL="269875" lvl="1">
              <a:spcAft>
                <a:spcPts val="25"/>
              </a:spcAft>
            </a:pPr>
            <a:endParaRPr lang="es-ES" sz="1400">
              <a:sym typeface="Wingdings" panose="05000000000000000000" pitchFamily="2" charset="2"/>
            </a:endParaRPr>
          </a:p>
          <a:p>
            <a:pPr marL="555625" lvl="1" indent="-285750">
              <a:spcAft>
                <a:spcPts val="25"/>
              </a:spcAft>
              <a:buFont typeface="Wingdings" panose="05000000000000000000" pitchFamily="2" charset="2"/>
              <a:buChar char="§"/>
            </a:pPr>
            <a:r>
              <a:rPr lang="es-ES" sz="1400">
                <a:latin typeface="+mj-lt"/>
                <a:ea typeface="Calibri" panose="020F0502020204030204" pitchFamily="34" charset="0"/>
                <a:cs typeface="Times New Roman" panose="02020603050405020304" pitchFamily="18" charset="0"/>
              </a:rPr>
              <a:t>Gracias a la retroalimentación frecuente, l</a:t>
            </a:r>
            <a:r>
              <a:rPr lang="es-ES" sz="1400">
                <a:effectLst/>
                <a:latin typeface="+mj-lt"/>
                <a:ea typeface="Calibri" panose="020F0502020204030204" pitchFamily="34" charset="0"/>
                <a:cs typeface="Times New Roman" panose="02020603050405020304" pitchFamily="18" charset="0"/>
              </a:rPr>
              <a:t>os equipos ágiles pueden incorporar la mayoría de los nuevos cambios en el proceso de desarrollo del producto.</a:t>
            </a:r>
            <a:endParaRPr lang="es-ES_tradnl" sz="1200" b="1">
              <a:sym typeface="Wingdings" panose="05000000000000000000" pitchFamily="2" charset="2"/>
            </a:endParaRPr>
          </a:p>
          <a:p>
            <a:pPr marL="555625" lvl="1" indent="-285750">
              <a:spcAft>
                <a:spcPts val="25"/>
              </a:spcAft>
              <a:buFont typeface="Wingdings" panose="05000000000000000000" pitchFamily="2" charset="2"/>
              <a:buChar char="q"/>
            </a:pPr>
            <a:endParaRPr lang="es-ES_tradnl" sz="500" u="sng">
              <a:sym typeface="Wingdings" panose="05000000000000000000" pitchFamily="2" charset="2"/>
            </a:endParaRPr>
          </a:p>
        </p:txBody>
      </p:sp>
      <p:graphicFrame>
        <p:nvGraphicFramePr>
          <p:cNvPr id="3" name="Diagram 2">
            <a:extLst>
              <a:ext uri="{FF2B5EF4-FFF2-40B4-BE49-F238E27FC236}">
                <a16:creationId xmlns:a16="http://schemas.microsoft.com/office/drawing/2014/main" id="{3EBA6F98-A42A-74AF-DE06-BD99E5233283}"/>
              </a:ext>
            </a:extLst>
          </p:cNvPr>
          <p:cNvGraphicFramePr/>
          <p:nvPr>
            <p:extLst>
              <p:ext uri="{D42A27DB-BD31-4B8C-83A1-F6EECF244321}">
                <p14:modId xmlns:p14="http://schemas.microsoft.com/office/powerpoint/2010/main" val="633307396"/>
              </p:ext>
            </p:extLst>
          </p:nvPr>
        </p:nvGraphicFramePr>
        <p:xfrm>
          <a:off x="759541" y="3428999"/>
          <a:ext cx="10902233" cy="264733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Rectangle: Rounded Corners 3">
            <a:extLst>
              <a:ext uri="{FF2B5EF4-FFF2-40B4-BE49-F238E27FC236}">
                <a16:creationId xmlns:a16="http://schemas.microsoft.com/office/drawing/2014/main" id="{594E175A-825A-DCA5-08D0-396897F4587E}"/>
              </a:ext>
            </a:extLst>
          </p:cNvPr>
          <p:cNvSpPr/>
          <p:nvPr/>
        </p:nvSpPr>
        <p:spPr bwMode="gray">
          <a:xfrm>
            <a:off x="427537" y="1663155"/>
            <a:ext cx="5448330"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1.3. Retroalimentación Temprana y Frecuente</a:t>
            </a:r>
          </a:p>
        </p:txBody>
      </p:sp>
    </p:spTree>
    <p:extLst>
      <p:ext uri="{BB962C8B-B14F-4D97-AF65-F5344CB8AC3E}">
        <p14:creationId xmlns:p14="http://schemas.microsoft.com/office/powerpoint/2010/main" val="2049436173"/>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Prueba Exploratoria</a:t>
            </a:r>
            <a:endParaRPr lang="es-ES_tradnl" sz="500" u="sng">
              <a:sym typeface="Wingdings" panose="05000000000000000000" pitchFamily="2" charset="2"/>
            </a:endParaRPr>
          </a:p>
        </p:txBody>
      </p:sp>
      <p:sp>
        <p:nvSpPr>
          <p:cNvPr id="17" name="TextBox 16">
            <a:extLst>
              <a:ext uri="{FF2B5EF4-FFF2-40B4-BE49-F238E27FC236}">
                <a16:creationId xmlns:a16="http://schemas.microsoft.com/office/drawing/2014/main" id="{48C07175-436E-4B35-84F1-4917D3F69946}"/>
              </a:ext>
            </a:extLst>
          </p:cNvPr>
          <p:cNvSpPr txBox="1"/>
          <p:nvPr/>
        </p:nvSpPr>
        <p:spPr>
          <a:xfrm>
            <a:off x="612775" y="2106682"/>
            <a:ext cx="10096500" cy="1106778"/>
          </a:xfrm>
          <a:prstGeom prst="rect">
            <a:avLst/>
          </a:prstGeom>
          <a:noFill/>
        </p:spPr>
        <p:txBody>
          <a:bodyPr wrap="square">
            <a:spAutoFit/>
          </a:bodyPr>
          <a:lstStyle/>
          <a:p>
            <a:pPr marL="285750" indent="-285750">
              <a:lnSpc>
                <a:spcPct val="107000"/>
              </a:lnSpc>
              <a:spcAft>
                <a:spcPts val="800"/>
              </a:spcAft>
              <a:buFont typeface="Wingdings" panose="05000000000000000000" pitchFamily="2" charset="2"/>
              <a:buChar char="§"/>
            </a:pPr>
            <a:r>
              <a:rPr lang="es-ES" sz="1400">
                <a:latin typeface="Calibri" panose="020F0502020204030204" pitchFamily="34" charset="0"/>
                <a:cs typeface="Times New Roman" panose="02020603050405020304" pitchFamily="18" charset="0"/>
              </a:rPr>
              <a:t>La prueba exploratoria es importante en los proyectos ágiles debido al escaso tiempo disponible para el análisis de prueba y los detalles limitados de las historias de usuario.</a:t>
            </a:r>
          </a:p>
          <a:p>
            <a:pPr marL="285750" indent="-285750">
              <a:lnSpc>
                <a:spcPct val="107000"/>
              </a:lnSpc>
              <a:spcAft>
                <a:spcPts val="800"/>
              </a:spcAft>
              <a:buFont typeface="Wingdings" panose="05000000000000000000" pitchFamily="2" charset="2"/>
              <a:buChar char="§"/>
            </a:pPr>
            <a:r>
              <a:rPr lang="es-ES" sz="1400">
                <a:latin typeface="Calibri" panose="020F0502020204030204" pitchFamily="34" charset="0"/>
                <a:cs typeface="Times New Roman" panose="02020603050405020304" pitchFamily="18" charset="0"/>
              </a:rPr>
              <a:t>El diseño y la ejecución ocurren al mismo tiempo, guiados por un contrato de prueba establecido. Un contrato de prueba proporciona las condiciones de prueba que se deben cubrir durante una sesión de prueba con límite de tiempo.</a:t>
            </a:r>
            <a:endParaRPr lang="es-ES" sz="1600">
              <a:latin typeface="Calibri" panose="020F0502020204030204" pitchFamily="34" charset="0"/>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EC17D0F6-19FE-D2EA-17F1-14F526FEAA07}"/>
              </a:ext>
            </a:extLst>
          </p:cNvPr>
          <p:cNvGraphicFramePr/>
          <p:nvPr/>
        </p:nvGraphicFramePr>
        <p:xfrm>
          <a:off x="1857802" y="3228230"/>
          <a:ext cx="7328150" cy="354330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867315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221027"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3 Técnic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Prueba Exploratoria</a:t>
            </a:r>
            <a:endParaRPr lang="es-ES_tradnl" sz="500" u="sng">
              <a:sym typeface="Wingdings" panose="05000000000000000000" pitchFamily="2" charset="2"/>
            </a:endParaRPr>
          </a:p>
        </p:txBody>
      </p:sp>
      <p:sp>
        <p:nvSpPr>
          <p:cNvPr id="17" name="TextBox 16">
            <a:extLst>
              <a:ext uri="{FF2B5EF4-FFF2-40B4-BE49-F238E27FC236}">
                <a16:creationId xmlns:a16="http://schemas.microsoft.com/office/drawing/2014/main" id="{48C07175-436E-4B35-84F1-4917D3F69946}"/>
              </a:ext>
            </a:extLst>
          </p:cNvPr>
          <p:cNvSpPr txBox="1"/>
          <p:nvPr/>
        </p:nvSpPr>
        <p:spPr>
          <a:xfrm>
            <a:off x="612775" y="2106682"/>
            <a:ext cx="10096500" cy="2009589"/>
          </a:xfrm>
          <a:prstGeom prst="rect">
            <a:avLst/>
          </a:prstGeom>
          <a:noFill/>
        </p:spPr>
        <p:txBody>
          <a:bodyPr wrap="square">
            <a:spAutoFit/>
          </a:bodyPr>
          <a:lstStyle/>
          <a:p>
            <a:pPr marL="285750" indent="-285750">
              <a:lnSpc>
                <a:spcPct val="107000"/>
              </a:lnSpc>
              <a:spcAft>
                <a:spcPts val="800"/>
              </a:spcAft>
              <a:buFont typeface="Wingdings" panose="05000000000000000000" pitchFamily="2" charset="2"/>
              <a:buChar char="§"/>
            </a:pPr>
            <a:r>
              <a:rPr lang="es-ES" sz="1400">
                <a:latin typeface="Calibri" panose="020F0502020204030204" pitchFamily="34" charset="0"/>
                <a:cs typeface="Times New Roman" panose="02020603050405020304" pitchFamily="18" charset="0"/>
              </a:rPr>
              <a:t>La gestión de prueba exploratoria basada en sesiones. Entre 60 y 120 minutos.</a:t>
            </a:r>
          </a:p>
          <a:p>
            <a:pPr marL="285750" indent="-285750">
              <a:lnSpc>
                <a:spcPct val="107000"/>
              </a:lnSpc>
              <a:spcAft>
                <a:spcPts val="800"/>
              </a:spcAft>
              <a:buFont typeface="Wingdings" panose="05000000000000000000" pitchFamily="2" charset="2"/>
              <a:buChar char="§"/>
            </a:pPr>
            <a:r>
              <a:rPr lang="es-ES" sz="1400">
                <a:latin typeface="Calibri" panose="020F0502020204030204" pitchFamily="34" charset="0"/>
                <a:cs typeface="Times New Roman" panose="02020603050405020304" pitchFamily="18" charset="0"/>
              </a:rPr>
              <a:t>Capacidad de plantearse preguntas sobre lo que hay que probar.</a:t>
            </a:r>
          </a:p>
          <a:p>
            <a:pPr marL="285750" indent="-285750">
              <a:lnSpc>
                <a:spcPct val="107000"/>
              </a:lnSpc>
              <a:spcAft>
                <a:spcPts val="800"/>
              </a:spcAft>
              <a:buFont typeface="Wingdings" panose="05000000000000000000" pitchFamily="2" charset="2"/>
              <a:buChar char="§"/>
            </a:pPr>
            <a:r>
              <a:rPr lang="es-ES" sz="1400">
                <a:latin typeface="Calibri" panose="020F0502020204030204" pitchFamily="34" charset="0"/>
                <a:cs typeface="Times New Roman" panose="02020603050405020304" pitchFamily="18" charset="0"/>
              </a:rPr>
              <a:t>El probador utiliza la creatividad, intuición, conocimiento y competencia del software, dominio del negocio.</a:t>
            </a:r>
          </a:p>
          <a:p>
            <a:pPr marL="285750" indent="-285750">
              <a:lnSpc>
                <a:spcPct val="107000"/>
              </a:lnSpc>
              <a:spcAft>
                <a:spcPts val="800"/>
              </a:spcAft>
              <a:buFont typeface="Wingdings" panose="05000000000000000000" pitchFamily="2" charset="2"/>
              <a:buChar char="§"/>
            </a:pPr>
            <a:r>
              <a:rPr lang="es-ES" sz="1400">
                <a:latin typeface="Calibri" panose="020F0502020204030204" pitchFamily="34" charset="0"/>
                <a:cs typeface="Times New Roman" panose="02020603050405020304" pitchFamily="18" charset="0"/>
              </a:rPr>
              <a:t>Conjunto de heurísticas (Fronteras, CRUD, Interrupciones)</a:t>
            </a:r>
          </a:p>
          <a:p>
            <a:pPr marL="285750" indent="-285750">
              <a:lnSpc>
                <a:spcPct val="107000"/>
              </a:lnSpc>
              <a:spcAft>
                <a:spcPts val="800"/>
              </a:spcAft>
              <a:buFont typeface="Wingdings" panose="05000000000000000000" pitchFamily="2" charset="2"/>
              <a:buChar char="§"/>
            </a:pPr>
            <a:r>
              <a:rPr lang="es-ES" sz="1400">
                <a:latin typeface="Calibri" panose="020F0502020204030204" pitchFamily="34" charset="0"/>
                <a:cs typeface="Times New Roman" panose="02020603050405020304" pitchFamily="18" charset="0"/>
              </a:rPr>
              <a:t>Documentar el proceso lo máximo posible.</a:t>
            </a:r>
          </a:p>
          <a:p>
            <a:pPr marL="285750" indent="-285750">
              <a:lnSpc>
                <a:spcPct val="107000"/>
              </a:lnSpc>
              <a:spcAft>
                <a:spcPts val="800"/>
              </a:spcAft>
              <a:buFont typeface="Wingdings" panose="05000000000000000000" pitchFamily="2" charset="2"/>
              <a:buChar char="§"/>
            </a:pPr>
            <a:r>
              <a:rPr lang="es-ES" sz="1400">
                <a:latin typeface="Calibri" panose="020F0502020204030204" pitchFamily="34" charset="0"/>
                <a:cs typeface="Times New Roman" panose="02020603050405020304" pitchFamily="18" charset="0"/>
              </a:rPr>
              <a:t>Registrar la información en herramientas de gestión para facilitar la comprensión del estado de todas las pruebas a los implicados.</a:t>
            </a:r>
            <a:endParaRPr lang="es-ES" sz="1600">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7286419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8361584"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TEMA 3: MÉTODOS, TÉCNICAS Y HERRAMIENTAS DE PRUEBA ÁGILES</a:t>
            </a:r>
          </a:p>
        </p:txBody>
      </p:sp>
      <p:sp>
        <p:nvSpPr>
          <p:cNvPr id="60" name="Freeform 685">
            <a:extLst>
              <a:ext uri="{FF2B5EF4-FFF2-40B4-BE49-F238E27FC236}">
                <a16:creationId xmlns:a16="http://schemas.microsoft.com/office/drawing/2014/main" id="{3D1F0A89-067B-4D7D-AA41-ED6C03096218}"/>
              </a:ext>
            </a:extLst>
          </p:cNvPr>
          <p:cNvSpPr>
            <a:spLocks noEditPoints="1"/>
          </p:cNvSpPr>
          <p:nvPr/>
        </p:nvSpPr>
        <p:spPr bwMode="auto">
          <a:xfrm>
            <a:off x="8819562" y="6550110"/>
            <a:ext cx="268054" cy="206011"/>
          </a:xfrm>
          <a:custGeom>
            <a:avLst/>
            <a:gdLst>
              <a:gd name="T0" fmla="*/ 277 w 278"/>
              <a:gd name="T1" fmla="*/ 71 h 278"/>
              <a:gd name="T2" fmla="*/ 211 w 278"/>
              <a:gd name="T3" fmla="*/ 3 h 278"/>
              <a:gd name="T4" fmla="*/ 203 w 278"/>
              <a:gd name="T5" fmla="*/ 0 h 278"/>
              <a:gd name="T6" fmla="*/ 75 w 278"/>
              <a:gd name="T7" fmla="*/ 11 h 278"/>
              <a:gd name="T8" fmla="*/ 86 w 278"/>
              <a:gd name="T9" fmla="*/ 54 h 278"/>
              <a:gd name="T10" fmla="*/ 97 w 278"/>
              <a:gd name="T11" fmla="*/ 22 h 278"/>
              <a:gd name="T12" fmla="*/ 193 w 278"/>
              <a:gd name="T13" fmla="*/ 75 h 278"/>
              <a:gd name="T14" fmla="*/ 257 w 278"/>
              <a:gd name="T15" fmla="*/ 86 h 278"/>
              <a:gd name="T16" fmla="*/ 97 w 278"/>
              <a:gd name="T17" fmla="*/ 256 h 278"/>
              <a:gd name="T18" fmla="*/ 86 w 278"/>
              <a:gd name="T19" fmla="*/ 203 h 278"/>
              <a:gd name="T20" fmla="*/ 75 w 278"/>
              <a:gd name="T21" fmla="*/ 267 h 278"/>
              <a:gd name="T22" fmla="*/ 267 w 278"/>
              <a:gd name="T23" fmla="*/ 278 h 278"/>
              <a:gd name="T24" fmla="*/ 278 w 278"/>
              <a:gd name="T25" fmla="*/ 75 h 278"/>
              <a:gd name="T26" fmla="*/ 214 w 278"/>
              <a:gd name="T27" fmla="*/ 64 h 278"/>
              <a:gd name="T28" fmla="*/ 242 w 278"/>
              <a:gd name="T29" fmla="*/ 64 h 278"/>
              <a:gd name="T30" fmla="*/ 105 w 278"/>
              <a:gd name="T31" fmla="*/ 192 h 278"/>
              <a:gd name="T32" fmla="*/ 150 w 278"/>
              <a:gd name="T33" fmla="*/ 203 h 278"/>
              <a:gd name="T34" fmla="*/ 160 w 278"/>
              <a:gd name="T35" fmla="*/ 190 h 278"/>
              <a:gd name="T36" fmla="*/ 147 w 278"/>
              <a:gd name="T37" fmla="*/ 142 h 278"/>
              <a:gd name="T38" fmla="*/ 36 w 278"/>
              <a:gd name="T39" fmla="*/ 46 h 278"/>
              <a:gd name="T40" fmla="*/ 4 w 278"/>
              <a:gd name="T41" fmla="*/ 93 h 278"/>
              <a:gd name="T42" fmla="*/ 105 w 278"/>
              <a:gd name="T43" fmla="*/ 192 h 278"/>
              <a:gd name="T44" fmla="*/ 135 w 278"/>
              <a:gd name="T45" fmla="*/ 178 h 278"/>
              <a:gd name="T46" fmla="*/ 131 w 278"/>
              <a:gd name="T47" fmla="*/ 162 h 278"/>
              <a:gd name="T48" fmla="*/ 119 w 278"/>
              <a:gd name="T49" fmla="*/ 144 h 278"/>
              <a:gd name="T50" fmla="*/ 26 w 278"/>
              <a:gd name="T51" fmla="*/ 86 h 278"/>
              <a:gd name="T52" fmla="*/ 235 w 278"/>
              <a:gd name="T53" fmla="*/ 192 h 278"/>
              <a:gd name="T54" fmla="*/ 193 w 278"/>
              <a:gd name="T55" fmla="*/ 203 h 278"/>
              <a:gd name="T56" fmla="*/ 193 w 278"/>
              <a:gd name="T57" fmla="*/ 182 h 278"/>
              <a:gd name="T58" fmla="*/ 235 w 278"/>
              <a:gd name="T59" fmla="*/ 192 h 278"/>
              <a:gd name="T60" fmla="*/ 225 w 278"/>
              <a:gd name="T61" fmla="*/ 160 h 278"/>
              <a:gd name="T62" fmla="*/ 171 w 278"/>
              <a:gd name="T63" fmla="*/ 150 h 278"/>
              <a:gd name="T64" fmla="*/ 225 w 278"/>
              <a:gd name="T6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278" y="75"/>
                </a:moveTo>
                <a:cubicBezTo>
                  <a:pt x="278" y="73"/>
                  <a:pt x="278" y="72"/>
                  <a:pt x="277" y="71"/>
                </a:cubicBezTo>
                <a:cubicBezTo>
                  <a:pt x="277" y="70"/>
                  <a:pt x="276" y="68"/>
                  <a:pt x="275" y="67"/>
                </a:cubicBezTo>
                <a:cubicBezTo>
                  <a:pt x="211" y="3"/>
                  <a:pt x="211" y="3"/>
                  <a:pt x="211" y="3"/>
                </a:cubicBezTo>
                <a:cubicBezTo>
                  <a:pt x="210" y="2"/>
                  <a:pt x="209" y="2"/>
                  <a:pt x="207" y="1"/>
                </a:cubicBezTo>
                <a:cubicBezTo>
                  <a:pt x="206" y="1"/>
                  <a:pt x="205" y="0"/>
                  <a:pt x="203" y="0"/>
                </a:cubicBezTo>
                <a:cubicBezTo>
                  <a:pt x="86" y="0"/>
                  <a:pt x="86" y="0"/>
                  <a:pt x="86" y="0"/>
                </a:cubicBezTo>
                <a:cubicBezTo>
                  <a:pt x="80" y="0"/>
                  <a:pt x="75" y="5"/>
                  <a:pt x="75" y="11"/>
                </a:cubicBezTo>
                <a:cubicBezTo>
                  <a:pt x="75" y="43"/>
                  <a:pt x="75" y="43"/>
                  <a:pt x="75" y="43"/>
                </a:cubicBezTo>
                <a:cubicBezTo>
                  <a:pt x="75" y="49"/>
                  <a:pt x="80" y="54"/>
                  <a:pt x="86" y="54"/>
                </a:cubicBezTo>
                <a:cubicBezTo>
                  <a:pt x="92" y="54"/>
                  <a:pt x="97" y="49"/>
                  <a:pt x="97" y="43"/>
                </a:cubicBezTo>
                <a:cubicBezTo>
                  <a:pt x="97" y="22"/>
                  <a:pt x="97" y="22"/>
                  <a:pt x="97" y="22"/>
                </a:cubicBezTo>
                <a:cubicBezTo>
                  <a:pt x="193" y="22"/>
                  <a:pt x="193" y="22"/>
                  <a:pt x="193" y="22"/>
                </a:cubicBezTo>
                <a:cubicBezTo>
                  <a:pt x="193" y="75"/>
                  <a:pt x="193" y="75"/>
                  <a:pt x="193" y="75"/>
                </a:cubicBezTo>
                <a:cubicBezTo>
                  <a:pt x="193" y="81"/>
                  <a:pt x="197" y="86"/>
                  <a:pt x="203" y="86"/>
                </a:cubicBezTo>
                <a:cubicBezTo>
                  <a:pt x="257" y="86"/>
                  <a:pt x="257" y="86"/>
                  <a:pt x="257" y="86"/>
                </a:cubicBezTo>
                <a:cubicBezTo>
                  <a:pt x="257" y="256"/>
                  <a:pt x="257" y="256"/>
                  <a:pt x="257" y="256"/>
                </a:cubicBezTo>
                <a:cubicBezTo>
                  <a:pt x="97" y="256"/>
                  <a:pt x="97" y="256"/>
                  <a:pt x="97" y="256"/>
                </a:cubicBezTo>
                <a:cubicBezTo>
                  <a:pt x="97" y="214"/>
                  <a:pt x="97" y="214"/>
                  <a:pt x="97" y="214"/>
                </a:cubicBezTo>
                <a:cubicBezTo>
                  <a:pt x="97" y="208"/>
                  <a:pt x="92" y="203"/>
                  <a:pt x="86" y="203"/>
                </a:cubicBezTo>
                <a:cubicBezTo>
                  <a:pt x="80" y="203"/>
                  <a:pt x="75" y="208"/>
                  <a:pt x="75" y="214"/>
                </a:cubicBezTo>
                <a:cubicBezTo>
                  <a:pt x="75" y="267"/>
                  <a:pt x="75" y="267"/>
                  <a:pt x="75" y="267"/>
                </a:cubicBezTo>
                <a:cubicBezTo>
                  <a:pt x="75" y="273"/>
                  <a:pt x="80" y="278"/>
                  <a:pt x="86" y="278"/>
                </a:cubicBezTo>
                <a:cubicBezTo>
                  <a:pt x="267" y="278"/>
                  <a:pt x="267" y="278"/>
                  <a:pt x="267" y="278"/>
                </a:cubicBezTo>
                <a:cubicBezTo>
                  <a:pt x="273" y="278"/>
                  <a:pt x="278" y="273"/>
                  <a:pt x="278" y="267"/>
                </a:cubicBezTo>
                <a:cubicBezTo>
                  <a:pt x="278" y="75"/>
                  <a:pt x="278" y="75"/>
                  <a:pt x="278" y="75"/>
                </a:cubicBezTo>
                <a:cubicBezTo>
                  <a:pt x="278" y="75"/>
                  <a:pt x="278" y="75"/>
                  <a:pt x="278" y="75"/>
                </a:cubicBezTo>
                <a:close/>
                <a:moveTo>
                  <a:pt x="214" y="64"/>
                </a:moveTo>
                <a:cubicBezTo>
                  <a:pt x="214" y="37"/>
                  <a:pt x="214" y="37"/>
                  <a:pt x="214" y="37"/>
                </a:cubicBezTo>
                <a:cubicBezTo>
                  <a:pt x="242" y="64"/>
                  <a:pt x="242" y="64"/>
                  <a:pt x="242" y="64"/>
                </a:cubicBezTo>
                <a:lnTo>
                  <a:pt x="214" y="64"/>
                </a:lnTo>
                <a:close/>
                <a:moveTo>
                  <a:pt x="105" y="192"/>
                </a:moveTo>
                <a:cubicBezTo>
                  <a:pt x="147" y="203"/>
                  <a:pt x="147" y="203"/>
                  <a:pt x="147" y="203"/>
                </a:cubicBezTo>
                <a:cubicBezTo>
                  <a:pt x="148" y="203"/>
                  <a:pt x="149" y="203"/>
                  <a:pt x="150" y="203"/>
                </a:cubicBezTo>
                <a:cubicBezTo>
                  <a:pt x="153" y="203"/>
                  <a:pt x="156" y="202"/>
                  <a:pt x="158" y="200"/>
                </a:cubicBezTo>
                <a:cubicBezTo>
                  <a:pt x="160" y="197"/>
                  <a:pt x="161" y="193"/>
                  <a:pt x="160" y="190"/>
                </a:cubicBezTo>
                <a:cubicBezTo>
                  <a:pt x="150" y="147"/>
                  <a:pt x="150" y="147"/>
                  <a:pt x="150" y="147"/>
                </a:cubicBezTo>
                <a:cubicBezTo>
                  <a:pt x="149" y="145"/>
                  <a:pt x="148" y="143"/>
                  <a:pt x="147" y="142"/>
                </a:cubicBezTo>
                <a:cubicBezTo>
                  <a:pt x="51" y="46"/>
                  <a:pt x="51" y="46"/>
                  <a:pt x="51" y="46"/>
                </a:cubicBezTo>
                <a:cubicBezTo>
                  <a:pt x="47" y="42"/>
                  <a:pt x="40" y="42"/>
                  <a:pt x="36" y="46"/>
                </a:cubicBezTo>
                <a:cubicBezTo>
                  <a:pt x="4" y="78"/>
                  <a:pt x="4" y="78"/>
                  <a:pt x="4" y="78"/>
                </a:cubicBezTo>
                <a:cubicBezTo>
                  <a:pt x="0" y="82"/>
                  <a:pt x="0" y="89"/>
                  <a:pt x="4" y="93"/>
                </a:cubicBezTo>
                <a:cubicBezTo>
                  <a:pt x="100" y="189"/>
                  <a:pt x="100" y="189"/>
                  <a:pt x="100" y="189"/>
                </a:cubicBezTo>
                <a:cubicBezTo>
                  <a:pt x="101" y="191"/>
                  <a:pt x="103" y="192"/>
                  <a:pt x="105" y="192"/>
                </a:cubicBezTo>
                <a:close/>
                <a:moveTo>
                  <a:pt x="131" y="162"/>
                </a:moveTo>
                <a:cubicBezTo>
                  <a:pt x="135" y="178"/>
                  <a:pt x="135" y="178"/>
                  <a:pt x="135" y="178"/>
                </a:cubicBezTo>
                <a:cubicBezTo>
                  <a:pt x="120" y="174"/>
                  <a:pt x="120" y="174"/>
                  <a:pt x="120" y="174"/>
                </a:cubicBezTo>
                <a:lnTo>
                  <a:pt x="131" y="162"/>
                </a:lnTo>
                <a:close/>
                <a:moveTo>
                  <a:pt x="43" y="69"/>
                </a:moveTo>
                <a:cubicBezTo>
                  <a:pt x="119" y="144"/>
                  <a:pt x="119" y="144"/>
                  <a:pt x="119" y="144"/>
                </a:cubicBezTo>
                <a:cubicBezTo>
                  <a:pt x="102" y="161"/>
                  <a:pt x="102" y="161"/>
                  <a:pt x="102" y="161"/>
                </a:cubicBezTo>
                <a:cubicBezTo>
                  <a:pt x="26" y="86"/>
                  <a:pt x="26" y="86"/>
                  <a:pt x="26" y="86"/>
                </a:cubicBezTo>
                <a:lnTo>
                  <a:pt x="43" y="69"/>
                </a:lnTo>
                <a:close/>
                <a:moveTo>
                  <a:pt x="235" y="192"/>
                </a:moveTo>
                <a:cubicBezTo>
                  <a:pt x="235" y="198"/>
                  <a:pt x="231" y="203"/>
                  <a:pt x="225" y="203"/>
                </a:cubicBezTo>
                <a:cubicBezTo>
                  <a:pt x="193" y="203"/>
                  <a:pt x="193" y="203"/>
                  <a:pt x="193" y="203"/>
                </a:cubicBezTo>
                <a:cubicBezTo>
                  <a:pt x="187" y="203"/>
                  <a:pt x="182" y="198"/>
                  <a:pt x="182" y="192"/>
                </a:cubicBezTo>
                <a:cubicBezTo>
                  <a:pt x="182" y="186"/>
                  <a:pt x="187" y="182"/>
                  <a:pt x="193" y="182"/>
                </a:cubicBezTo>
                <a:cubicBezTo>
                  <a:pt x="225" y="182"/>
                  <a:pt x="225" y="182"/>
                  <a:pt x="225" y="182"/>
                </a:cubicBezTo>
                <a:cubicBezTo>
                  <a:pt x="231" y="182"/>
                  <a:pt x="235" y="186"/>
                  <a:pt x="235" y="192"/>
                </a:cubicBezTo>
                <a:close/>
                <a:moveTo>
                  <a:pt x="235" y="150"/>
                </a:moveTo>
                <a:cubicBezTo>
                  <a:pt x="235" y="156"/>
                  <a:pt x="231" y="160"/>
                  <a:pt x="225" y="160"/>
                </a:cubicBezTo>
                <a:cubicBezTo>
                  <a:pt x="182" y="160"/>
                  <a:pt x="182" y="160"/>
                  <a:pt x="182" y="160"/>
                </a:cubicBezTo>
                <a:cubicBezTo>
                  <a:pt x="176" y="160"/>
                  <a:pt x="171" y="156"/>
                  <a:pt x="171" y="150"/>
                </a:cubicBezTo>
                <a:cubicBezTo>
                  <a:pt x="171" y="144"/>
                  <a:pt x="176" y="139"/>
                  <a:pt x="182" y="139"/>
                </a:cubicBezTo>
                <a:cubicBezTo>
                  <a:pt x="225" y="139"/>
                  <a:pt x="225" y="139"/>
                  <a:pt x="225" y="139"/>
                </a:cubicBezTo>
                <a:cubicBezTo>
                  <a:pt x="231" y="139"/>
                  <a:pt x="235" y="144"/>
                  <a:pt x="235" y="1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Rectangle: Rounded Corners 26">
            <a:extLst>
              <a:ext uri="{FF2B5EF4-FFF2-40B4-BE49-F238E27FC236}">
                <a16:creationId xmlns:a16="http://schemas.microsoft.com/office/drawing/2014/main" id="{B6DC63B3-A7AD-99E9-55B7-248156606822}"/>
              </a:ext>
            </a:extLst>
          </p:cNvPr>
          <p:cNvSpPr/>
          <p:nvPr/>
        </p:nvSpPr>
        <p:spPr bwMode="gray">
          <a:xfrm>
            <a:off x="695263" y="2564750"/>
            <a:ext cx="5846721" cy="387129"/>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4.1 </a:t>
            </a:r>
            <a:r>
              <a:rPr lang="es-ES" sz="1400" b="0" i="0" u="none" strike="noStrike" baseline="0">
                <a:solidFill>
                  <a:srgbClr val="000000"/>
                </a:solidFill>
              </a:rPr>
              <a:t>Herramientas de Gesti</a:t>
            </a:r>
            <a:r>
              <a:rPr lang="es-ES" sz="1400">
                <a:solidFill>
                  <a:srgbClr val="000000"/>
                </a:solidFill>
              </a:rPr>
              <a:t>ón y Seguimiento de Tareas</a:t>
            </a:r>
            <a:endParaRPr lang="es-ES" sz="1400"/>
          </a:p>
        </p:txBody>
      </p:sp>
      <p:sp>
        <p:nvSpPr>
          <p:cNvPr id="29" name="Rectangle: Rounded Corners 28">
            <a:extLst>
              <a:ext uri="{FF2B5EF4-FFF2-40B4-BE49-F238E27FC236}">
                <a16:creationId xmlns:a16="http://schemas.microsoft.com/office/drawing/2014/main" id="{9B6AF7F4-B20F-9CED-894D-76ED4039FC38}"/>
              </a:ext>
            </a:extLst>
          </p:cNvPr>
          <p:cNvSpPr/>
          <p:nvPr/>
        </p:nvSpPr>
        <p:spPr bwMode="gray">
          <a:xfrm>
            <a:off x="703229" y="3061458"/>
            <a:ext cx="5846721"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4.2 Herramientas de Comunicación e Intercambio de Información</a:t>
            </a:r>
          </a:p>
        </p:txBody>
      </p:sp>
      <p:sp>
        <p:nvSpPr>
          <p:cNvPr id="31" name="Rectangle: Rounded Corners 30">
            <a:extLst>
              <a:ext uri="{FF2B5EF4-FFF2-40B4-BE49-F238E27FC236}">
                <a16:creationId xmlns:a16="http://schemas.microsoft.com/office/drawing/2014/main" id="{80F3AA96-FBD2-4895-BEF7-D6B31F16E45F}"/>
              </a:ext>
            </a:extLst>
          </p:cNvPr>
          <p:cNvSpPr/>
          <p:nvPr/>
        </p:nvSpPr>
        <p:spPr bwMode="gray">
          <a:xfrm>
            <a:off x="695263" y="4558908"/>
            <a:ext cx="5846721" cy="374936"/>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4.4 Herramientas de Gestión de la Configuración</a:t>
            </a:r>
          </a:p>
        </p:txBody>
      </p:sp>
      <p:cxnSp>
        <p:nvCxnSpPr>
          <p:cNvPr id="33" name="Connector: Elbow 32">
            <a:extLst>
              <a:ext uri="{FF2B5EF4-FFF2-40B4-BE49-F238E27FC236}">
                <a16:creationId xmlns:a16="http://schemas.microsoft.com/office/drawing/2014/main" id="{8BDF9816-0F42-A98E-5EB4-86FF4CD89262}"/>
              </a:ext>
            </a:extLst>
          </p:cNvPr>
          <p:cNvCxnSpPr>
            <a:cxnSpLocks/>
          </p:cNvCxnSpPr>
          <p:nvPr/>
        </p:nvCxnSpPr>
        <p:spPr>
          <a:xfrm rot="16200000" flipH="1">
            <a:off x="-1316515" y="4050683"/>
            <a:ext cx="3796632" cy="226924"/>
          </a:xfrm>
          <a:prstGeom prst="bentConnector3">
            <a:avLst>
              <a:gd name="adj1" fmla="val 99763"/>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8802FF1-BB39-1528-44C8-8EB5B14A7E21}"/>
              </a:ext>
            </a:extLst>
          </p:cNvPr>
          <p:cNvCxnSpPr>
            <a:cxnSpLocks/>
            <a:endCxn id="29" idx="1"/>
          </p:cNvCxnSpPr>
          <p:nvPr/>
        </p:nvCxnSpPr>
        <p:spPr>
          <a:xfrm>
            <a:off x="468339" y="3349458"/>
            <a:ext cx="234890"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7F42699-291B-FD23-B2E6-4C86BFA573B3}"/>
              </a:ext>
            </a:extLst>
          </p:cNvPr>
          <p:cNvCxnSpPr/>
          <p:nvPr/>
        </p:nvCxnSpPr>
        <p:spPr>
          <a:xfrm>
            <a:off x="465040" y="2821667"/>
            <a:ext cx="230223"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2D751480-D879-FB65-A26F-20E0862C8794}"/>
              </a:ext>
            </a:extLst>
          </p:cNvPr>
          <p:cNvSpPr/>
          <p:nvPr/>
        </p:nvSpPr>
        <p:spPr bwMode="gray">
          <a:xfrm>
            <a:off x="703228" y="3780270"/>
            <a:ext cx="5846721" cy="576000"/>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4.3 Herramientas de Construcción y Distribución de Software</a:t>
            </a:r>
          </a:p>
        </p:txBody>
      </p:sp>
      <p:cxnSp>
        <p:nvCxnSpPr>
          <p:cNvPr id="41" name="Straight Arrow Connector 40">
            <a:extLst>
              <a:ext uri="{FF2B5EF4-FFF2-40B4-BE49-F238E27FC236}">
                <a16:creationId xmlns:a16="http://schemas.microsoft.com/office/drawing/2014/main" id="{09AB4805-3161-5286-D4D3-9FD13EDB2E4C}"/>
              </a:ext>
            </a:extLst>
          </p:cNvPr>
          <p:cNvCxnSpPr>
            <a:cxnSpLocks/>
          </p:cNvCxnSpPr>
          <p:nvPr/>
        </p:nvCxnSpPr>
        <p:spPr>
          <a:xfrm>
            <a:off x="460373" y="4768113"/>
            <a:ext cx="234890"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BD62F9AB-61EA-BFD9-9B3B-5CC6D742B44B}"/>
              </a:ext>
            </a:extLst>
          </p:cNvPr>
          <p:cNvSpPr/>
          <p:nvPr/>
        </p:nvSpPr>
        <p:spPr bwMode="gray">
          <a:xfrm>
            <a:off x="276508" y="1784997"/>
            <a:ext cx="4310606" cy="542170"/>
          </a:xfrm>
          <a:prstGeom prst="roundRect">
            <a:avLst>
              <a:gd name="adj" fmla="val 50000"/>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t>3.4 Herramientas en Proyectos Ágiles</a:t>
            </a:r>
          </a:p>
        </p:txBody>
      </p:sp>
      <p:sp>
        <p:nvSpPr>
          <p:cNvPr id="4" name="Rectangle: Rounded Corners 3">
            <a:extLst>
              <a:ext uri="{FF2B5EF4-FFF2-40B4-BE49-F238E27FC236}">
                <a16:creationId xmlns:a16="http://schemas.microsoft.com/office/drawing/2014/main" id="{2F85DD6C-10C6-C496-ECFD-27E3078C06E2}"/>
              </a:ext>
            </a:extLst>
          </p:cNvPr>
          <p:cNvSpPr/>
          <p:nvPr/>
        </p:nvSpPr>
        <p:spPr bwMode="gray">
          <a:xfrm>
            <a:off x="703228" y="5130552"/>
            <a:ext cx="5846721" cy="552675"/>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4.5 Herramientas de Diseño de Pruebas, Implementación y Ejecución</a:t>
            </a:r>
          </a:p>
        </p:txBody>
      </p:sp>
      <p:sp>
        <p:nvSpPr>
          <p:cNvPr id="5" name="Rectangle: Rounded Corners 4">
            <a:extLst>
              <a:ext uri="{FF2B5EF4-FFF2-40B4-BE49-F238E27FC236}">
                <a16:creationId xmlns:a16="http://schemas.microsoft.com/office/drawing/2014/main" id="{C738D702-DD06-81EE-AF84-B5BA899749F3}"/>
              </a:ext>
            </a:extLst>
          </p:cNvPr>
          <p:cNvSpPr/>
          <p:nvPr/>
        </p:nvSpPr>
        <p:spPr bwMode="gray">
          <a:xfrm>
            <a:off x="703229" y="5886354"/>
            <a:ext cx="5846721" cy="374936"/>
          </a:xfrm>
          <a:prstGeom prst="roundRect">
            <a:avLst>
              <a:gd name="adj" fmla="val 50000"/>
            </a:avLst>
          </a:prstGeom>
          <a:solidFill>
            <a:schemeClr val="bg1"/>
          </a:solidFill>
          <a:ln w="19050" algn="ctr">
            <a:solidFill>
              <a:schemeClr val="accent1"/>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3.4.6 Informática en la Nube y Herramientas de Virtualización</a:t>
            </a:r>
          </a:p>
        </p:txBody>
      </p:sp>
      <p:cxnSp>
        <p:nvCxnSpPr>
          <p:cNvPr id="9" name="Straight Arrow Connector 8">
            <a:extLst>
              <a:ext uri="{FF2B5EF4-FFF2-40B4-BE49-F238E27FC236}">
                <a16:creationId xmlns:a16="http://schemas.microsoft.com/office/drawing/2014/main" id="{2889D1D5-01FC-0E80-3E51-EA8C67DE0D43}"/>
              </a:ext>
            </a:extLst>
          </p:cNvPr>
          <p:cNvCxnSpPr>
            <a:cxnSpLocks/>
          </p:cNvCxnSpPr>
          <p:nvPr/>
        </p:nvCxnSpPr>
        <p:spPr>
          <a:xfrm>
            <a:off x="460373" y="4073342"/>
            <a:ext cx="234890"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B9907AD2-8B7E-1FFC-9AF5-6A924B6A71AA}"/>
              </a:ext>
            </a:extLst>
          </p:cNvPr>
          <p:cNvCxnSpPr>
            <a:cxnSpLocks/>
          </p:cNvCxnSpPr>
          <p:nvPr/>
        </p:nvCxnSpPr>
        <p:spPr>
          <a:xfrm>
            <a:off x="468338" y="5455621"/>
            <a:ext cx="234890" cy="0"/>
          </a:xfrm>
          <a:prstGeom prst="straightConnector1">
            <a:avLst/>
          </a:prstGeom>
          <a:ln w="31750">
            <a:solidFill>
              <a:schemeClr val="accent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0292331"/>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801314"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4 Herramient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Herramientas de Gestión y Seguimiento de Tareas </a:t>
            </a:r>
            <a:endParaRPr lang="es-ES_tradnl" sz="500" u="sng">
              <a:sym typeface="Wingdings" panose="05000000000000000000" pitchFamily="2" charset="2"/>
            </a:endParaRPr>
          </a:p>
        </p:txBody>
      </p:sp>
      <p:graphicFrame>
        <p:nvGraphicFramePr>
          <p:cNvPr id="9" name="Diagram 8">
            <a:extLst>
              <a:ext uri="{FF2B5EF4-FFF2-40B4-BE49-F238E27FC236}">
                <a16:creationId xmlns:a16="http://schemas.microsoft.com/office/drawing/2014/main" id="{F164F1FE-D875-4CA6-8AAE-3B74FE07C18B}"/>
              </a:ext>
            </a:extLst>
          </p:cNvPr>
          <p:cNvGraphicFramePr/>
          <p:nvPr/>
        </p:nvGraphicFramePr>
        <p:xfrm>
          <a:off x="418121" y="1415421"/>
          <a:ext cx="11445072" cy="542108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68678794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801314"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4 Herramient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Herramientas de Comunicación e Intercambio de Información</a:t>
            </a:r>
            <a:endParaRPr lang="es-ES_tradnl" sz="500" u="sng">
              <a:sym typeface="Wingdings" panose="05000000000000000000" pitchFamily="2" charset="2"/>
            </a:endParaRPr>
          </a:p>
        </p:txBody>
      </p:sp>
      <p:graphicFrame>
        <p:nvGraphicFramePr>
          <p:cNvPr id="4" name="Diagram 3">
            <a:extLst>
              <a:ext uri="{FF2B5EF4-FFF2-40B4-BE49-F238E27FC236}">
                <a16:creationId xmlns:a16="http://schemas.microsoft.com/office/drawing/2014/main" id="{995F728B-E8CD-21F7-131B-396D0D28ACAB}"/>
              </a:ext>
            </a:extLst>
          </p:cNvPr>
          <p:cNvGraphicFramePr/>
          <p:nvPr/>
        </p:nvGraphicFramePr>
        <p:xfrm>
          <a:off x="683812" y="2164829"/>
          <a:ext cx="10217426" cy="418351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78905341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801314"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4 Herramient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3445919"/>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Herramientas de Gestión de la Configuración</a:t>
            </a:r>
            <a:endParaRPr lang="es-ES_tradnl" sz="500" u="sng">
              <a:sym typeface="Wingdings" panose="05000000000000000000" pitchFamily="2" charset="2"/>
            </a:endParaRPr>
          </a:p>
        </p:txBody>
      </p:sp>
      <p:sp>
        <p:nvSpPr>
          <p:cNvPr id="14" name="TextBox 13">
            <a:extLst>
              <a:ext uri="{FF2B5EF4-FFF2-40B4-BE49-F238E27FC236}">
                <a16:creationId xmlns:a16="http://schemas.microsoft.com/office/drawing/2014/main" id="{2992FF8A-CC47-4C63-9184-4002E38D8AA7}"/>
              </a:ext>
            </a:extLst>
          </p:cNvPr>
          <p:cNvSpPr txBox="1"/>
          <p:nvPr/>
        </p:nvSpPr>
        <p:spPr>
          <a:xfrm>
            <a:off x="910744" y="3814521"/>
            <a:ext cx="10578402" cy="1397947"/>
          </a:xfrm>
          <a:prstGeom prst="rect">
            <a:avLst/>
          </a:prstGeom>
          <a:noFill/>
        </p:spPr>
        <p:txBody>
          <a:bodyPr wrap="square">
            <a:spAutoFit/>
          </a:bodyPr>
          <a:lstStyle/>
          <a:p>
            <a:pPr marL="342900" lvl="0" indent="-342900">
              <a:lnSpc>
                <a:spcPct val="107000"/>
              </a:lnSpc>
              <a:buFont typeface="Wingdings" panose="05000000000000000000" pitchFamily="2" charset="2"/>
              <a:buChar char="§"/>
            </a:pPr>
            <a:r>
              <a:rPr lang="es-ES" sz="1600">
                <a:latin typeface="Calibri" panose="020F0502020204030204" pitchFamily="34" charset="0"/>
                <a:cs typeface="Times New Roman" panose="02020603050405020304" pitchFamily="18" charset="0"/>
              </a:rPr>
              <a:t>En los equipos ágiles, las herramientas de gestión de la configuración pueden utilizarse no sólo para almacenar el código fuente y las pruebas automatizadas, sino que las pruebas manuales y otros productos de trabajo de prueba suelen almacenarse en el mismo repositorio que el código fuente del producto.</a:t>
            </a:r>
          </a:p>
          <a:p>
            <a:pPr marL="342900" lvl="0" indent="-342900">
              <a:lnSpc>
                <a:spcPct val="107000"/>
              </a:lnSpc>
              <a:buFont typeface="Wingdings" panose="05000000000000000000" pitchFamily="2" charset="2"/>
              <a:buChar char="§"/>
            </a:pPr>
            <a:r>
              <a:rPr lang="es-ES" sz="1600">
                <a:latin typeface="Calibri" panose="020F0502020204030204" pitchFamily="34" charset="0"/>
                <a:cs typeface="Times New Roman" panose="02020603050405020304" pitchFamily="18" charset="0"/>
              </a:rPr>
              <a:t>El tamaño del equipo, la estructura, la ubicación y los requisitos de integración con otras herramientas determinarán qué sistema de control de versiones es el adecuado para un proyecto ágil concreto.</a:t>
            </a:r>
          </a:p>
        </p:txBody>
      </p:sp>
      <p:sp>
        <p:nvSpPr>
          <p:cNvPr id="3" name="TextBox 2">
            <a:extLst>
              <a:ext uri="{FF2B5EF4-FFF2-40B4-BE49-F238E27FC236}">
                <a16:creationId xmlns:a16="http://schemas.microsoft.com/office/drawing/2014/main" id="{C1BED9A4-074E-A8AC-C98E-BDA7391BFAC8}"/>
              </a:ext>
            </a:extLst>
          </p:cNvPr>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Herramientas de Construcción y Distribución de Software</a:t>
            </a:r>
            <a:endParaRPr lang="es-ES_tradnl" sz="500" u="sng">
              <a:sym typeface="Wingdings" panose="05000000000000000000" pitchFamily="2" charset="2"/>
            </a:endParaRPr>
          </a:p>
        </p:txBody>
      </p:sp>
      <p:sp>
        <p:nvSpPr>
          <p:cNvPr id="4" name="TextBox 3">
            <a:extLst>
              <a:ext uri="{FF2B5EF4-FFF2-40B4-BE49-F238E27FC236}">
                <a16:creationId xmlns:a16="http://schemas.microsoft.com/office/drawing/2014/main" id="{F27D9542-4364-2C14-B23E-D4160908ECBF}"/>
              </a:ext>
            </a:extLst>
          </p:cNvPr>
          <p:cNvSpPr txBox="1"/>
          <p:nvPr/>
        </p:nvSpPr>
        <p:spPr>
          <a:xfrm>
            <a:off x="910744" y="2121147"/>
            <a:ext cx="10578402" cy="671915"/>
          </a:xfrm>
          <a:prstGeom prst="rect">
            <a:avLst/>
          </a:prstGeom>
          <a:noFill/>
        </p:spPr>
        <p:txBody>
          <a:bodyPr wrap="square">
            <a:spAutoFit/>
          </a:bodyPr>
          <a:lstStyle/>
          <a:p>
            <a:pPr marL="342900" lvl="0" indent="-342900">
              <a:lnSpc>
                <a:spcPct val="107000"/>
              </a:lnSpc>
              <a:buFont typeface="Wingdings" panose="05000000000000000000" pitchFamily="2" charset="2"/>
              <a:buChar char="§"/>
            </a:pPr>
            <a:r>
              <a:rPr lang="es-ES" sz="1800">
                <a:latin typeface="Calibri" panose="020F0502020204030204" pitchFamily="34" charset="0"/>
                <a:ea typeface="Calibri" panose="020F0502020204030204" pitchFamily="34" charset="0"/>
                <a:cs typeface="Times New Roman" panose="02020603050405020304" pitchFamily="18" charset="0"/>
              </a:rPr>
              <a:t>L</a:t>
            </a:r>
            <a:r>
              <a:rPr lang="es-ES" sz="1800">
                <a:effectLst/>
                <a:latin typeface="Calibri" panose="020F0502020204030204" pitchFamily="34" charset="0"/>
                <a:ea typeface="Calibri" panose="020F0502020204030204" pitchFamily="34" charset="0"/>
                <a:cs typeface="Times New Roman" panose="02020603050405020304" pitchFamily="18" charset="0"/>
              </a:rPr>
              <a:t>a construcción diaria y el despliegue de software es una práctica clave en los equipos ágiles. Esto requiere el uso de herramientas de integración continua y de distribución de la construcción</a:t>
            </a:r>
            <a:endParaRPr lang="es-ES" sz="1600">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8397627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801314"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4 Herramient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Herramientas de Diseño de Pruebas, Implementación y Ejecución</a:t>
            </a:r>
            <a:endParaRPr lang="es-ES_tradnl" sz="500" u="sng">
              <a:sym typeface="Wingdings" panose="05000000000000000000" pitchFamily="2" charset="2"/>
            </a:endParaRPr>
          </a:p>
        </p:txBody>
      </p:sp>
      <p:sp>
        <p:nvSpPr>
          <p:cNvPr id="14" name="TextBox 13">
            <a:extLst>
              <a:ext uri="{FF2B5EF4-FFF2-40B4-BE49-F238E27FC236}">
                <a16:creationId xmlns:a16="http://schemas.microsoft.com/office/drawing/2014/main" id="{2992FF8A-CC47-4C63-9184-4002E38D8AA7}"/>
              </a:ext>
            </a:extLst>
          </p:cNvPr>
          <p:cNvSpPr txBox="1"/>
          <p:nvPr/>
        </p:nvSpPr>
        <p:spPr>
          <a:xfrm>
            <a:off x="555171" y="2164829"/>
            <a:ext cx="10578402" cy="1134478"/>
          </a:xfrm>
          <a:prstGeom prst="rect">
            <a:avLst/>
          </a:prstGeom>
          <a:noFill/>
        </p:spPr>
        <p:txBody>
          <a:bodyPr wrap="square">
            <a:spAutoFit/>
          </a:bodyPr>
          <a:lstStyle/>
          <a:p>
            <a:pPr lvl="0">
              <a:lnSpc>
                <a:spcPct val="107000"/>
              </a:lnSpc>
            </a:pPr>
            <a:r>
              <a:rPr lang="es-ES" sz="1600">
                <a:latin typeface="Calibri" panose="020F0502020204030204" pitchFamily="34" charset="0"/>
                <a:cs typeface="Times New Roman" panose="02020603050405020304" pitchFamily="18" charset="0"/>
              </a:rPr>
              <a:t>Aunque la mayoría de estas herramientas no son nuevas o específicas para proyectos ágiles, proporcionan importantes capacidades dado el cambio que se produce en los proyectos ágiles:</a:t>
            </a:r>
          </a:p>
          <a:p>
            <a:pPr lvl="0">
              <a:lnSpc>
                <a:spcPct val="107000"/>
              </a:lnSpc>
            </a:pPr>
            <a:endParaRPr lang="es-ES" sz="1600">
              <a:latin typeface="Calibri" panose="020F0502020204030204" pitchFamily="34" charset="0"/>
              <a:cs typeface="Times New Roman" panose="02020603050405020304" pitchFamily="18" charset="0"/>
            </a:endParaRPr>
          </a:p>
          <a:p>
            <a:pPr lvl="0">
              <a:lnSpc>
                <a:spcPct val="107000"/>
              </a:lnSpc>
            </a:pPr>
            <a:endParaRPr lang="es-ES" sz="1600">
              <a:latin typeface="Calibri" panose="020F0502020204030204" pitchFamily="34" charset="0"/>
              <a:cs typeface="Times New Roman" panose="02020603050405020304" pitchFamily="18" charset="0"/>
            </a:endParaRPr>
          </a:p>
        </p:txBody>
      </p:sp>
      <p:graphicFrame>
        <p:nvGraphicFramePr>
          <p:cNvPr id="3" name="Diagram 2">
            <a:extLst>
              <a:ext uri="{FF2B5EF4-FFF2-40B4-BE49-F238E27FC236}">
                <a16:creationId xmlns:a16="http://schemas.microsoft.com/office/drawing/2014/main" id="{1FD4803D-DBCE-3C6F-7768-83164B690170}"/>
              </a:ext>
            </a:extLst>
          </p:cNvPr>
          <p:cNvGraphicFramePr/>
          <p:nvPr/>
        </p:nvGraphicFramePr>
        <p:xfrm>
          <a:off x="2111513" y="2034405"/>
          <a:ext cx="8128000" cy="541866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048999272"/>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4801314" cy="338554"/>
          </a:xfrm>
          <a:prstGeom prst="rect">
            <a:avLst/>
          </a:prstGeom>
        </p:spPr>
        <p:txBody>
          <a:bodyPr wrap="none">
            <a:spAutoFit/>
          </a:bodyPr>
          <a:lstStyle/>
          <a:p>
            <a:pPr marL="269875" lvl="1">
              <a:spcAft>
                <a:spcPts val="25"/>
              </a:spcAft>
            </a:pPr>
            <a:r>
              <a:rPr lang="es-ES" altLang="en-US" sz="1600" b="1">
                <a:solidFill>
                  <a:schemeClr val="accent1"/>
                </a:solidFill>
                <a:latin typeface="Verdana" pitchFamily="34" charset="0"/>
                <a:ea typeface="Arial" pitchFamily="34" charset="0"/>
                <a:cs typeface="Verdana" pitchFamily="34" charset="0"/>
              </a:rPr>
              <a:t>3.4 Herramientas en Proyectos 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1818961"/>
            <a:ext cx="11089254" cy="215444"/>
          </a:xfrm>
          <a:prstGeom prst="rect">
            <a:avLst/>
          </a:prstGeom>
          <a:noFill/>
        </p:spPr>
        <p:txBody>
          <a:bodyPr wrap="square" lIns="0" tIns="0" rIns="0" bIns="0" rtlCol="0">
            <a:spAutoFit/>
          </a:bodyPr>
          <a:lstStyle/>
          <a:p>
            <a:pPr marL="555625" lvl="1" indent="-285750">
              <a:spcAft>
                <a:spcPts val="25"/>
              </a:spcAft>
              <a:buFont typeface="Wingdings" panose="05000000000000000000" pitchFamily="2" charset="2"/>
              <a:buChar char="q"/>
            </a:pPr>
            <a:r>
              <a:rPr lang="es-ES" sz="1400" b="1"/>
              <a:t>Informática en la Nube y Herramientas de Virtualización</a:t>
            </a:r>
            <a:endParaRPr lang="es-ES_tradnl" sz="500" u="sng">
              <a:sym typeface="Wingdings" panose="05000000000000000000" pitchFamily="2" charset="2"/>
            </a:endParaRPr>
          </a:p>
        </p:txBody>
      </p:sp>
      <p:sp>
        <p:nvSpPr>
          <p:cNvPr id="14" name="TextBox 13">
            <a:extLst>
              <a:ext uri="{FF2B5EF4-FFF2-40B4-BE49-F238E27FC236}">
                <a16:creationId xmlns:a16="http://schemas.microsoft.com/office/drawing/2014/main" id="{2992FF8A-CC47-4C63-9184-4002E38D8AA7}"/>
              </a:ext>
            </a:extLst>
          </p:cNvPr>
          <p:cNvSpPr txBox="1"/>
          <p:nvPr/>
        </p:nvSpPr>
        <p:spPr>
          <a:xfrm>
            <a:off x="555171" y="2164829"/>
            <a:ext cx="10578402" cy="1561005"/>
          </a:xfrm>
          <a:prstGeom prst="rect">
            <a:avLst/>
          </a:prstGeom>
          <a:noFill/>
        </p:spPr>
        <p:txBody>
          <a:bodyPr wrap="square">
            <a:spAutoFit/>
          </a:bodyPr>
          <a:lstStyle/>
          <a:p>
            <a:pPr marL="285750" lvl="0" indent="-285750">
              <a:lnSpc>
                <a:spcPct val="107000"/>
              </a:lnSpc>
              <a:buFont typeface="Wingdings" panose="05000000000000000000" pitchFamily="2" charset="2"/>
              <a:buChar char="§"/>
            </a:pPr>
            <a:r>
              <a:rPr lang="es-ES" sz="1800">
                <a:effectLst/>
                <a:latin typeface="Calibri" panose="020F0502020204030204" pitchFamily="34" charset="0"/>
                <a:ea typeface="Calibri" panose="020F0502020204030204" pitchFamily="34" charset="0"/>
                <a:cs typeface="Times New Roman" panose="02020603050405020304" pitchFamily="18" charset="0"/>
              </a:rPr>
              <a:t>La virtualización permite que un único recurso físico (servidor) funcione como muchos recursos separados y más pequeños. </a:t>
            </a:r>
          </a:p>
          <a:p>
            <a:pPr marL="285750" lvl="0" indent="-285750">
              <a:lnSpc>
                <a:spcPct val="107000"/>
              </a:lnSpc>
              <a:buFont typeface="Wingdings" panose="05000000000000000000" pitchFamily="2" charset="2"/>
              <a:buChar char="§"/>
            </a:pPr>
            <a:r>
              <a:rPr lang="es-ES" sz="1800">
                <a:effectLst/>
                <a:latin typeface="Calibri" panose="020F0502020204030204" pitchFamily="34" charset="0"/>
                <a:ea typeface="Calibri" panose="020F0502020204030204" pitchFamily="34" charset="0"/>
                <a:cs typeface="Times New Roman" panose="02020603050405020304" pitchFamily="18" charset="0"/>
              </a:rPr>
              <a:t>Cuando se utilizan máquinas virtuales o instancias en la nube, los equipos disponen de un mayor número de servidores para el desarrollo y las pruebas.</a:t>
            </a:r>
          </a:p>
          <a:p>
            <a:pPr marL="285750" lvl="0" indent="-285750">
              <a:lnSpc>
                <a:spcPct val="107000"/>
              </a:lnSpc>
              <a:buFont typeface="Wingdings" panose="05000000000000000000" pitchFamily="2" charset="2"/>
              <a:buChar char="§"/>
            </a:pPr>
            <a:r>
              <a:rPr lang="es-ES" sz="1800">
                <a:effectLst/>
                <a:latin typeface="Calibri" panose="020F0502020204030204" pitchFamily="34" charset="0"/>
                <a:ea typeface="Calibri" panose="020F0502020204030204" pitchFamily="34" charset="0"/>
                <a:cs typeface="Times New Roman" panose="02020603050405020304" pitchFamily="18" charset="0"/>
              </a:rPr>
              <a:t> Esto puede ayudar a evitar los retrasos asociados a la espera de servidores físicos</a:t>
            </a:r>
            <a:endParaRPr lang="es-ES" sz="1600">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83074146"/>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40892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1</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738664"/>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En la sesión de planificación de la versión, el evaluador comunica las ideas de la prueba utilizando cuadrantes de prueba para que el equipo comprenda el propósito de todos los tipos y niveles de prueba incluidos en el ciclo de vida del desarrollo. De las siguientes, ¿qué afirmaciones del evaluador sobre los cuadrantes de prueba son verdaderas?</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215326" y="4877696"/>
            <a:ext cx="10233333" cy="34616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l cuadrante Q2 son pruebas funcionales y el cuadrante Q4 son pruebas de rendimiento. </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215326" y="3530134"/>
            <a:ext cx="10233335" cy="34616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l cuadrante Q1 son pruebas de nivel de unidad y el cuadrante Q4 son pruebas de aceptación de usuario.</a:t>
            </a:r>
          </a:p>
        </p:txBody>
      </p:sp>
      <p:sp>
        <p:nvSpPr>
          <p:cNvPr id="7" name="Oval 6">
            <a:extLst>
              <a:ext uri="{FF2B5EF4-FFF2-40B4-BE49-F238E27FC236}">
                <a16:creationId xmlns:a16="http://schemas.microsoft.com/office/drawing/2014/main" id="{DE6A66C0-A025-16BD-940B-A7D6EA918F03}"/>
              </a:ext>
            </a:extLst>
          </p:cNvPr>
          <p:cNvSpPr/>
          <p:nvPr/>
        </p:nvSpPr>
        <p:spPr bwMode="gray">
          <a:xfrm>
            <a:off x="669912" y="3530134"/>
            <a:ext cx="377044" cy="347704"/>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215327" y="3983039"/>
            <a:ext cx="10233334" cy="34616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l cuadrante Q1 son pruebas de nivel de unidad y el cuadrante Q4 son pruebas funcionales.</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669912" y="3983039"/>
            <a:ext cx="377044" cy="347704"/>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215327" y="4434407"/>
            <a:ext cx="10233334" cy="34616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El cuadrante Q3 son pruebas de rendimiento y el cuadrante Q4 son pruebas funcionales.</a:t>
            </a:r>
          </a:p>
        </p:txBody>
      </p:sp>
      <p:sp>
        <p:nvSpPr>
          <p:cNvPr id="21" name="Oval 20">
            <a:extLst>
              <a:ext uri="{FF2B5EF4-FFF2-40B4-BE49-F238E27FC236}">
                <a16:creationId xmlns:a16="http://schemas.microsoft.com/office/drawing/2014/main" id="{24BD630B-7017-EE04-9BAA-BE69208108E0}"/>
              </a:ext>
            </a:extLst>
          </p:cNvPr>
          <p:cNvSpPr/>
          <p:nvPr/>
        </p:nvSpPr>
        <p:spPr bwMode="gray">
          <a:xfrm>
            <a:off x="669912" y="4434407"/>
            <a:ext cx="377044" cy="347704"/>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669912" y="4884237"/>
            <a:ext cx="377044" cy="347704"/>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2565893874"/>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40892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1</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738664"/>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En la sesión de planificación de la versión, el evaluador comunica las ideas de la prueba utilizando cuadrantes de prueba para que el equipo comprenda el propósito de todos los tipos y niveles de prueba incluidos en el ciclo de vida del desarrollo. De las siguientes, ¿qué afirmaciones del evaluador sobre los cuadrantes de prueba son verdaderas?</a:t>
            </a: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215326" y="4877696"/>
            <a:ext cx="10233333" cy="346167"/>
          </a:xfrm>
          <a:prstGeom prst="roundRect">
            <a:avLst/>
          </a:prstGeom>
          <a:solidFill>
            <a:schemeClr val="bg1">
              <a:lumMod val="95000"/>
            </a:schemeClr>
          </a:solidFill>
          <a:ln w="34925" algn="ctr">
            <a:solidFill>
              <a:srgbClr val="046A38"/>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El cuadrante Q2 son pruebas funcionales y el cuadrante Q4 son pruebas de rendimiento. </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215326" y="3530134"/>
            <a:ext cx="10233335" cy="346167"/>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95000"/>
                  </a:schemeClr>
                </a:solidFill>
              </a:rPr>
              <a:t>El cuadrante Q1 son pruebas de nivel de unidad y el cuadrante Q4 son pruebas de aceptación de usuario.</a:t>
            </a:r>
          </a:p>
        </p:txBody>
      </p:sp>
      <p:sp>
        <p:nvSpPr>
          <p:cNvPr id="7" name="Oval 6">
            <a:extLst>
              <a:ext uri="{FF2B5EF4-FFF2-40B4-BE49-F238E27FC236}">
                <a16:creationId xmlns:a16="http://schemas.microsoft.com/office/drawing/2014/main" id="{DE6A66C0-A025-16BD-940B-A7D6EA918F03}"/>
              </a:ext>
            </a:extLst>
          </p:cNvPr>
          <p:cNvSpPr/>
          <p:nvPr/>
        </p:nvSpPr>
        <p:spPr bwMode="gray">
          <a:xfrm>
            <a:off x="669912" y="3530134"/>
            <a:ext cx="377044" cy="34770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215327" y="3983039"/>
            <a:ext cx="10233334" cy="346167"/>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95000"/>
                  </a:schemeClr>
                </a:solidFill>
              </a:rPr>
              <a:t>El cuadrante Q1 son pruebas de nivel de unidad y el cuadrante Q4 son pruebas funcionales.</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669912" y="3983039"/>
            <a:ext cx="377044" cy="34770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215327" y="4434407"/>
            <a:ext cx="10233334" cy="346167"/>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95000"/>
                  </a:schemeClr>
                </a:solidFill>
              </a:rPr>
              <a:t>El cuadrante Q3 son pruebas de rendimiento y el cuadrante Q4 son pruebas funcionales.</a:t>
            </a:r>
          </a:p>
        </p:txBody>
      </p:sp>
      <p:sp>
        <p:nvSpPr>
          <p:cNvPr id="21" name="Oval 20">
            <a:extLst>
              <a:ext uri="{FF2B5EF4-FFF2-40B4-BE49-F238E27FC236}">
                <a16:creationId xmlns:a16="http://schemas.microsoft.com/office/drawing/2014/main" id="{24BD630B-7017-EE04-9BAA-BE69208108E0}"/>
              </a:ext>
            </a:extLst>
          </p:cNvPr>
          <p:cNvSpPr/>
          <p:nvPr/>
        </p:nvSpPr>
        <p:spPr bwMode="gray">
          <a:xfrm>
            <a:off x="669912" y="4434407"/>
            <a:ext cx="377044" cy="34770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669912" y="4884237"/>
            <a:ext cx="377044" cy="347704"/>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371858989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none">
            <a:spAutoFit/>
          </a:bodyPr>
          <a:lstStyle/>
          <a:p>
            <a:pPr marL="269875" lvl="1">
              <a:spcAft>
                <a:spcPts val="25"/>
              </a:spcAft>
            </a:pPr>
            <a:r>
              <a:rPr lang="en-GB" altLang="en-US" sz="1600" b="1">
                <a:solidFill>
                  <a:schemeClr val="accent1"/>
                </a:solidFill>
                <a:latin typeface="Verdana" pitchFamily="34" charset="0"/>
                <a:ea typeface="Arial" pitchFamily="34" charset="0"/>
                <a:cs typeface="Verdana" pitchFamily="34" charset="0"/>
              </a:rPr>
              <a:t>1.2 </a:t>
            </a:r>
            <a:r>
              <a:rPr lang="en-GB" altLang="en-US" sz="1600" b="1" err="1">
                <a:solidFill>
                  <a:schemeClr val="accent1"/>
                </a:solidFill>
                <a:latin typeface="Verdana" pitchFamily="34" charset="0"/>
                <a:ea typeface="Arial" pitchFamily="34" charset="0"/>
                <a:cs typeface="Verdana" pitchFamily="34" charset="0"/>
              </a:rPr>
              <a:t>Características</a:t>
            </a:r>
            <a:r>
              <a:rPr lang="en-GB" altLang="en-US" sz="1600" b="1">
                <a:solidFill>
                  <a:schemeClr val="accent1"/>
                </a:solidFill>
                <a:latin typeface="Verdana" pitchFamily="34" charset="0"/>
                <a:ea typeface="Arial" pitchFamily="34" charset="0"/>
                <a:cs typeface="Verdana" pitchFamily="34" charset="0"/>
              </a:rPr>
              <a:t> de los </a:t>
            </a:r>
            <a:r>
              <a:rPr lang="en-GB" altLang="en-US" sz="1600" b="1" err="1">
                <a:solidFill>
                  <a:schemeClr val="accent1"/>
                </a:solidFill>
                <a:latin typeface="Verdana" pitchFamily="34" charset="0"/>
                <a:ea typeface="Arial" pitchFamily="34" charset="0"/>
                <a:cs typeface="Verdana" pitchFamily="34" charset="0"/>
              </a:rPr>
              <a:t>Enfoques</a:t>
            </a:r>
            <a:r>
              <a:rPr lang="en-GB" altLang="en-US" sz="1600" b="1">
                <a:solidFill>
                  <a:schemeClr val="accent1"/>
                </a:solidFill>
                <a:latin typeface="Verdana" pitchFamily="34" charset="0"/>
                <a:ea typeface="Arial" pitchFamily="34" charset="0"/>
                <a:cs typeface="Verdana" pitchFamily="34" charset="0"/>
              </a:rPr>
              <a:t> </a:t>
            </a:r>
            <a:r>
              <a:rPr lang="en-GB" altLang="en-US" sz="1600" b="1" err="1">
                <a:solidFill>
                  <a:schemeClr val="accent1"/>
                </a:solidFill>
                <a:latin typeface="Verdana" pitchFamily="34" charset="0"/>
                <a:ea typeface="Arial" pitchFamily="34" charset="0"/>
                <a:cs typeface="Verdana" pitchFamily="34" charset="0"/>
              </a:rPr>
              <a:t>Ágiles</a:t>
            </a:r>
            <a:endParaRPr lang="en-GB" altLang="en-US" sz="1600" b="1">
              <a:solidFill>
                <a:schemeClr val="accent1"/>
              </a:solidFill>
              <a:latin typeface="Verdana" pitchFamily="34" charset="0"/>
              <a:ea typeface="Arial" pitchFamily="34" charset="0"/>
              <a:cs typeface="Verdana" pitchFamily="34" charset="0"/>
            </a:endParaRPr>
          </a:p>
        </p:txBody>
      </p:sp>
      <p:sp>
        <p:nvSpPr>
          <p:cNvPr id="8" name="TextBox 7"/>
          <p:cNvSpPr txBox="1"/>
          <p:nvPr/>
        </p:nvSpPr>
        <p:spPr>
          <a:xfrm>
            <a:off x="399892" y="2267689"/>
            <a:ext cx="11089254" cy="1077218"/>
          </a:xfrm>
          <a:prstGeom prst="rect">
            <a:avLst/>
          </a:prstGeom>
          <a:noFill/>
        </p:spPr>
        <p:txBody>
          <a:bodyPr wrap="square" lIns="0" tIns="0" rIns="0" bIns="0" rtlCol="0">
            <a:spAutoFit/>
          </a:bodyPr>
          <a:lstStyle/>
          <a:p>
            <a:pPr marL="269875" lvl="1">
              <a:spcAft>
                <a:spcPts val="25"/>
              </a:spcAft>
            </a:pPr>
            <a:r>
              <a:rPr lang="es-ES" sz="1400">
                <a:effectLst/>
                <a:latin typeface="+mj-lt"/>
                <a:ea typeface="Calibri" panose="020F0502020204030204" pitchFamily="34" charset="0"/>
                <a:cs typeface="Times New Roman" panose="02020603050405020304" pitchFamily="18" charset="0"/>
              </a:rPr>
              <a:t>Existen varios enfoques ágiles, cada uno de los cuales implementa los valores y principios del Manifiesto ágil de diferentes maneras. </a:t>
            </a:r>
          </a:p>
          <a:p>
            <a:pPr marL="269875" lvl="1">
              <a:spcAft>
                <a:spcPts val="25"/>
              </a:spcAft>
            </a:pPr>
            <a:endParaRPr lang="es-ES" sz="1400">
              <a:latin typeface="+mj-lt"/>
              <a:ea typeface="Calibri" panose="020F0502020204030204" pitchFamily="34" charset="0"/>
              <a:cs typeface="Times New Roman" panose="02020603050405020304" pitchFamily="18" charset="0"/>
            </a:endParaRPr>
          </a:p>
          <a:p>
            <a:pPr marL="269875" lvl="1">
              <a:spcAft>
                <a:spcPts val="25"/>
              </a:spcAft>
            </a:pPr>
            <a:r>
              <a:rPr lang="es-ES" sz="1400">
                <a:effectLst/>
                <a:latin typeface="+mj-lt"/>
                <a:ea typeface="Calibri" panose="020F0502020204030204" pitchFamily="34" charset="0"/>
                <a:cs typeface="Times New Roman" panose="02020603050405020304" pitchFamily="18" charset="0"/>
              </a:rPr>
              <a:t>En este programa de estudio, se consideran tres representantes de los enfoques ágiles: </a:t>
            </a:r>
            <a:endParaRPr lang="es-ES_tradnl" sz="1400" b="1">
              <a:latin typeface="+mj-lt"/>
              <a:sym typeface="Wingdings" panose="05000000000000000000" pitchFamily="2" charset="2"/>
            </a:endParaRPr>
          </a:p>
          <a:p>
            <a:pPr marL="555625" lvl="1" indent="-285750">
              <a:spcAft>
                <a:spcPts val="25"/>
              </a:spcAft>
              <a:buFont typeface="Wingdings" panose="05000000000000000000" pitchFamily="2" charset="2"/>
              <a:buChar char="q"/>
            </a:pPr>
            <a:endParaRPr lang="es-ES_tradnl" sz="1400" u="sng">
              <a:latin typeface="+mj-lt"/>
              <a:sym typeface="Wingdings" panose="05000000000000000000" pitchFamily="2" charset="2"/>
            </a:endParaRPr>
          </a:p>
        </p:txBody>
      </p:sp>
      <p:graphicFrame>
        <p:nvGraphicFramePr>
          <p:cNvPr id="3" name="Diagram 2">
            <a:extLst>
              <a:ext uri="{FF2B5EF4-FFF2-40B4-BE49-F238E27FC236}">
                <a16:creationId xmlns:a16="http://schemas.microsoft.com/office/drawing/2014/main" id="{86A0C01A-556F-88D3-D2E4-98EEADDA5C12}"/>
              </a:ext>
            </a:extLst>
          </p:cNvPr>
          <p:cNvGraphicFramePr/>
          <p:nvPr>
            <p:extLst>
              <p:ext uri="{D42A27DB-BD31-4B8C-83A1-F6EECF244321}">
                <p14:modId xmlns:p14="http://schemas.microsoft.com/office/powerpoint/2010/main" val="4115844119"/>
              </p:ext>
            </p:extLst>
          </p:nvPr>
        </p:nvGraphicFramePr>
        <p:xfrm>
          <a:off x="1692283" y="3498499"/>
          <a:ext cx="7526284" cy="233665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Rectangle: Rounded Corners 3">
            <a:extLst>
              <a:ext uri="{FF2B5EF4-FFF2-40B4-BE49-F238E27FC236}">
                <a16:creationId xmlns:a16="http://schemas.microsoft.com/office/drawing/2014/main" id="{DAE21E3C-94E9-B05B-0A94-280158F61469}"/>
              </a:ext>
            </a:extLst>
          </p:cNvPr>
          <p:cNvSpPr/>
          <p:nvPr/>
        </p:nvSpPr>
        <p:spPr bwMode="gray">
          <a:xfrm>
            <a:off x="427537" y="1663155"/>
            <a:ext cx="5448330" cy="387220"/>
          </a:xfrm>
          <a:prstGeom prst="roundRect">
            <a:avLst>
              <a:gd name="adj" fmla="val 50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1400" b="1">
                <a:solidFill>
                  <a:schemeClr val="bg1"/>
                </a:solidFill>
              </a:rPr>
              <a:t>1.2.1. Enfoques de desarrollo ágil de software</a:t>
            </a:r>
          </a:p>
        </p:txBody>
      </p:sp>
    </p:spTree>
    <p:extLst>
      <p:ext uri="{BB962C8B-B14F-4D97-AF65-F5344CB8AC3E}">
        <p14:creationId xmlns:p14="http://schemas.microsoft.com/office/powerpoint/2010/main" val="8093521"/>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222068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2</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15799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Para mantener la visibilidad, ¿qué puede configurar un probador durante el sprint cero?</a:t>
            </a:r>
          </a:p>
          <a:p>
            <a:pPr marL="400050" indent="-400050">
              <a:spcAft>
                <a:spcPts val="800"/>
              </a:spcAft>
              <a:buAutoNum type="romanLcPeriod"/>
            </a:pPr>
            <a:r>
              <a:rPr lang="es-ES" sz="1400">
                <a:latin typeface="+mj-lt"/>
                <a:cs typeface="Times New Roman" panose="02020603050405020304" pitchFamily="18" charset="0"/>
              </a:rPr>
              <a:t>Crear tablero de tareas.</a:t>
            </a:r>
          </a:p>
          <a:p>
            <a:pPr marL="400050" indent="-400050">
              <a:spcAft>
                <a:spcPts val="800"/>
              </a:spcAft>
              <a:buAutoNum type="romanLcPeriod"/>
            </a:pPr>
            <a:r>
              <a:rPr lang="es-ES" sz="1400">
                <a:latin typeface="+mj-lt"/>
                <a:cs typeface="Times New Roman" panose="02020603050405020304" pitchFamily="18" charset="0"/>
              </a:rPr>
              <a:t>Crear gráficos de evolución.</a:t>
            </a:r>
          </a:p>
          <a:p>
            <a:pPr marL="400050" indent="-400050">
              <a:spcAft>
                <a:spcPts val="800"/>
              </a:spcAft>
              <a:buAutoNum type="romanLcPeriod"/>
            </a:pPr>
            <a:r>
              <a:rPr lang="es-ES" sz="1400">
                <a:latin typeface="+mj-lt"/>
                <a:cs typeface="Times New Roman" panose="02020603050405020304" pitchFamily="18" charset="0"/>
              </a:rPr>
              <a:t>Especificar la definición de hecho.</a:t>
            </a:r>
          </a:p>
          <a:p>
            <a:pPr marL="400050" indent="-400050">
              <a:spcAft>
                <a:spcPts val="800"/>
              </a:spcAft>
              <a:buAutoNum type="romanLcPeriod"/>
            </a:pPr>
            <a:r>
              <a:rPr lang="es-ES" sz="1400">
                <a:latin typeface="+mj-lt"/>
                <a:cs typeface="Times New Roman" panose="02020603050405020304" pitchFamily="18" charset="0"/>
              </a:rPr>
              <a:t>Definir cuándo continuar o detener las pruebas antes de la entrega.</a:t>
            </a:r>
          </a:p>
        </p:txBody>
      </p:sp>
      <p:grpSp>
        <p:nvGrpSpPr>
          <p:cNvPr id="23" name="Group 22">
            <a:extLst>
              <a:ext uri="{FF2B5EF4-FFF2-40B4-BE49-F238E27FC236}">
                <a16:creationId xmlns:a16="http://schemas.microsoft.com/office/drawing/2014/main" id="{6EC7A0F6-71C4-7D50-77C6-53A3D1D3B601}"/>
              </a:ext>
            </a:extLst>
          </p:cNvPr>
          <p:cNvGrpSpPr/>
          <p:nvPr/>
        </p:nvGrpSpPr>
        <p:grpSpPr>
          <a:xfrm>
            <a:off x="669912" y="4269352"/>
            <a:ext cx="4228841" cy="1701807"/>
            <a:chOff x="847012" y="3849476"/>
            <a:chExt cx="5248988" cy="2290587"/>
          </a:xfrm>
        </p:grpSpPr>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89076" y="5672063"/>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i, </a:t>
              </a:r>
              <a:r>
                <a:rPr lang="es-ES" sz="1400" err="1"/>
                <a:t>iii</a:t>
              </a:r>
              <a:r>
                <a:rPr lang="es-ES" sz="1400"/>
                <a:t>, </a:t>
              </a:r>
              <a:r>
                <a:rPr lang="es-ES" sz="1400" err="1"/>
                <a:t>iv</a:t>
              </a:r>
              <a:endParaRPr lang="es-ES" sz="1400"/>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524001" y="3849476"/>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i, </a:t>
              </a:r>
              <a:r>
                <a:rPr lang="es-ES" sz="1400" err="1"/>
                <a:t>ii</a:t>
              </a:r>
              <a:r>
                <a:rPr lang="es-ES" sz="1400"/>
                <a:t>, </a:t>
              </a:r>
              <a:r>
                <a:rPr lang="es-ES" sz="1400" err="1"/>
                <a:t>iii</a:t>
              </a:r>
              <a:endParaRPr lang="es-ES" sz="1400"/>
            </a:p>
          </p:txBody>
        </p:sp>
        <p:sp>
          <p:nvSpPr>
            <p:cNvPr id="7" name="Oval 6">
              <a:extLst>
                <a:ext uri="{FF2B5EF4-FFF2-40B4-BE49-F238E27FC236}">
                  <a16:creationId xmlns:a16="http://schemas.microsoft.com/office/drawing/2014/main" id="{DE6A66C0-A025-16BD-940B-A7D6EA918F03}"/>
                </a:ext>
              </a:extLst>
            </p:cNvPr>
            <p:cNvSpPr/>
            <p:nvPr/>
          </p:nvSpPr>
          <p:spPr bwMode="gray">
            <a:xfrm>
              <a:off x="847012" y="384947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524001" y="4459074"/>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err="1"/>
                <a:t>ii</a:t>
              </a:r>
              <a:r>
                <a:rPr lang="es-ES" sz="1400"/>
                <a:t>, </a:t>
              </a:r>
              <a:r>
                <a:rPr lang="es-ES" sz="1400" err="1"/>
                <a:t>iii</a:t>
              </a:r>
              <a:r>
                <a:rPr lang="es-ES" sz="1400"/>
                <a:t>, </a:t>
              </a:r>
              <a:r>
                <a:rPr lang="es-ES" sz="1400" err="1"/>
                <a:t>iv</a:t>
              </a:r>
              <a:endParaRPr lang="es-ES" sz="1400"/>
            </a:p>
          </p:txBody>
        </p:sp>
        <p:sp>
          <p:nvSpPr>
            <p:cNvPr id="12" name="Oval 11">
              <a:extLst>
                <a:ext uri="{FF2B5EF4-FFF2-40B4-BE49-F238E27FC236}">
                  <a16:creationId xmlns:a16="http://schemas.microsoft.com/office/drawing/2014/main" id="{1F6293F9-1410-5F97-CBC6-9EC39EDE84DB}"/>
                </a:ext>
              </a:extLst>
            </p:cNvPr>
            <p:cNvSpPr/>
            <p:nvPr/>
          </p:nvSpPr>
          <p:spPr bwMode="gray">
            <a:xfrm>
              <a:off x="847012" y="4459074"/>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524001" y="5066603"/>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i, </a:t>
              </a:r>
              <a:r>
                <a:rPr lang="es-ES" sz="1400" err="1"/>
                <a:t>ii</a:t>
              </a:r>
              <a:r>
                <a:rPr lang="es-ES" sz="1400"/>
                <a:t>, </a:t>
              </a:r>
              <a:r>
                <a:rPr lang="es-ES" sz="1400" err="1"/>
                <a:t>iv</a:t>
              </a:r>
              <a:endParaRPr lang="es-ES" sz="1400"/>
            </a:p>
          </p:txBody>
        </p:sp>
        <p:sp>
          <p:nvSpPr>
            <p:cNvPr id="21" name="Oval 20">
              <a:extLst>
                <a:ext uri="{FF2B5EF4-FFF2-40B4-BE49-F238E27FC236}">
                  <a16:creationId xmlns:a16="http://schemas.microsoft.com/office/drawing/2014/main" id="{24BD630B-7017-EE04-9BAA-BE69208108E0}"/>
                </a:ext>
              </a:extLst>
            </p:cNvPr>
            <p:cNvSpPr/>
            <p:nvPr/>
          </p:nvSpPr>
          <p:spPr bwMode="gray">
            <a:xfrm>
              <a:off x="847012" y="506660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847012" y="567206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grpSp>
    </p:spTree>
    <p:extLst>
      <p:ext uri="{BB962C8B-B14F-4D97-AF65-F5344CB8AC3E}">
        <p14:creationId xmlns:p14="http://schemas.microsoft.com/office/powerpoint/2010/main" val="845804137"/>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222068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2</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15799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Para mantener la visibilidad, ¿qué puede configurar un probador durante el sprint cero?</a:t>
            </a:r>
          </a:p>
          <a:p>
            <a:pPr marL="400050" indent="-400050">
              <a:spcAft>
                <a:spcPts val="800"/>
              </a:spcAft>
              <a:buAutoNum type="romanLcPeriod"/>
            </a:pPr>
            <a:r>
              <a:rPr lang="es-ES" sz="1400">
                <a:latin typeface="+mj-lt"/>
                <a:cs typeface="Times New Roman" panose="02020603050405020304" pitchFamily="18" charset="0"/>
              </a:rPr>
              <a:t>Crear tablero de tareas.</a:t>
            </a:r>
          </a:p>
          <a:p>
            <a:pPr marL="400050" indent="-400050">
              <a:spcAft>
                <a:spcPts val="800"/>
              </a:spcAft>
              <a:buAutoNum type="romanLcPeriod"/>
            </a:pPr>
            <a:r>
              <a:rPr lang="es-ES" sz="1400">
                <a:latin typeface="+mj-lt"/>
                <a:cs typeface="Times New Roman" panose="02020603050405020304" pitchFamily="18" charset="0"/>
              </a:rPr>
              <a:t>Crear gráficos de evolución.</a:t>
            </a:r>
          </a:p>
          <a:p>
            <a:pPr marL="400050" indent="-400050">
              <a:spcAft>
                <a:spcPts val="800"/>
              </a:spcAft>
              <a:buAutoNum type="romanLcPeriod"/>
            </a:pPr>
            <a:r>
              <a:rPr lang="es-ES" sz="1400">
                <a:latin typeface="+mj-lt"/>
                <a:cs typeface="Times New Roman" panose="02020603050405020304" pitchFamily="18" charset="0"/>
              </a:rPr>
              <a:t>Especificar la definición de hecho.</a:t>
            </a:r>
          </a:p>
          <a:p>
            <a:pPr marL="400050" indent="-400050">
              <a:spcAft>
                <a:spcPts val="800"/>
              </a:spcAft>
              <a:buAutoNum type="romanLcPeriod"/>
            </a:pPr>
            <a:r>
              <a:rPr lang="es-ES" sz="1400">
                <a:latin typeface="+mj-lt"/>
                <a:cs typeface="Times New Roman" panose="02020603050405020304" pitchFamily="18" charset="0"/>
              </a:rPr>
              <a:t>Definir cuándo continuar o detener las pruebas antes de la entrega.</a:t>
            </a:r>
          </a:p>
        </p:txBody>
      </p:sp>
      <p:grpSp>
        <p:nvGrpSpPr>
          <p:cNvPr id="23" name="Group 22">
            <a:extLst>
              <a:ext uri="{FF2B5EF4-FFF2-40B4-BE49-F238E27FC236}">
                <a16:creationId xmlns:a16="http://schemas.microsoft.com/office/drawing/2014/main" id="{6EC7A0F6-71C4-7D50-77C6-53A3D1D3B601}"/>
              </a:ext>
            </a:extLst>
          </p:cNvPr>
          <p:cNvGrpSpPr/>
          <p:nvPr/>
        </p:nvGrpSpPr>
        <p:grpSpPr>
          <a:xfrm>
            <a:off x="669912" y="4269352"/>
            <a:ext cx="4228841" cy="1701807"/>
            <a:chOff x="847012" y="3849476"/>
            <a:chExt cx="5248988" cy="2290587"/>
          </a:xfrm>
        </p:grpSpPr>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89076" y="5672063"/>
              <a:ext cx="4571999" cy="465931"/>
            </a:xfrm>
            <a:prstGeom prst="roundRect">
              <a:avLst/>
            </a:prstGeom>
            <a:solidFill>
              <a:schemeClr val="bg1">
                <a:lumMod val="95000"/>
              </a:schemeClr>
            </a:solidFill>
            <a:ln w="34925" algn="ctr">
              <a:solidFill>
                <a:srgbClr val="046A38"/>
              </a:solidFill>
              <a:miter lim="800000"/>
              <a:headEnd/>
              <a:tailEnd/>
            </a:ln>
          </p:spPr>
          <p:txBody>
            <a:bodyPr wrap="square" lIns="88900" tIns="88900" rIns="88900" bIns="88900" rtlCol="0" anchor="ctr"/>
            <a:lstStyle/>
            <a:p>
              <a:pPr>
                <a:lnSpc>
                  <a:spcPct val="106000"/>
                </a:lnSpc>
              </a:pPr>
              <a:r>
                <a:rPr lang="es-ES" sz="1400"/>
                <a:t>i, iii, iv</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524001" y="3849476"/>
              <a:ext cx="4571999" cy="465931"/>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pPr>
              <a:r>
                <a:rPr lang="es-ES" sz="1400">
                  <a:solidFill>
                    <a:schemeClr val="bg1">
                      <a:lumMod val="85000"/>
                    </a:schemeClr>
                  </a:solidFill>
                </a:rPr>
                <a:t>i, </a:t>
              </a:r>
              <a:r>
                <a:rPr lang="es-ES" sz="1400" err="1">
                  <a:solidFill>
                    <a:schemeClr val="bg1">
                      <a:lumMod val="85000"/>
                    </a:schemeClr>
                  </a:solidFill>
                </a:rPr>
                <a:t>ii</a:t>
              </a:r>
              <a:r>
                <a:rPr lang="es-ES" sz="1400">
                  <a:solidFill>
                    <a:schemeClr val="bg1">
                      <a:lumMod val="85000"/>
                    </a:schemeClr>
                  </a:solidFill>
                </a:rPr>
                <a:t>, </a:t>
              </a:r>
              <a:r>
                <a:rPr lang="es-ES" sz="1400" err="1">
                  <a:solidFill>
                    <a:schemeClr val="bg1">
                      <a:lumMod val="85000"/>
                    </a:schemeClr>
                  </a:solidFill>
                </a:rPr>
                <a:t>iii</a:t>
              </a:r>
              <a:endParaRPr lang="es-ES" sz="1400">
                <a:solidFill>
                  <a:schemeClr val="bg1">
                    <a:lumMod val="85000"/>
                  </a:schemeClr>
                </a:solidFill>
              </a:endParaRPr>
            </a:p>
          </p:txBody>
        </p:sp>
        <p:sp>
          <p:nvSpPr>
            <p:cNvPr id="7" name="Oval 6">
              <a:extLst>
                <a:ext uri="{FF2B5EF4-FFF2-40B4-BE49-F238E27FC236}">
                  <a16:creationId xmlns:a16="http://schemas.microsoft.com/office/drawing/2014/main" id="{DE6A66C0-A025-16BD-940B-A7D6EA918F03}"/>
                </a:ext>
              </a:extLst>
            </p:cNvPr>
            <p:cNvSpPr/>
            <p:nvPr/>
          </p:nvSpPr>
          <p:spPr bwMode="gray">
            <a:xfrm>
              <a:off x="847012" y="3849476"/>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524001" y="4459074"/>
              <a:ext cx="4571999" cy="465931"/>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85000"/>
                    </a:schemeClr>
                  </a:solidFill>
                </a:rPr>
                <a:t>ii, iii, iv</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847012" y="4459074"/>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524001" y="5066603"/>
              <a:ext cx="4571999" cy="465931"/>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85000"/>
                    </a:schemeClr>
                  </a:solidFill>
                </a:rPr>
                <a:t>i, ii, iv</a:t>
              </a:r>
            </a:p>
          </p:txBody>
        </p:sp>
        <p:sp>
          <p:nvSpPr>
            <p:cNvPr id="21" name="Oval 20">
              <a:extLst>
                <a:ext uri="{FF2B5EF4-FFF2-40B4-BE49-F238E27FC236}">
                  <a16:creationId xmlns:a16="http://schemas.microsoft.com/office/drawing/2014/main" id="{24BD630B-7017-EE04-9BAA-BE69208108E0}"/>
                </a:ext>
              </a:extLst>
            </p:cNvPr>
            <p:cNvSpPr/>
            <p:nvPr/>
          </p:nvSpPr>
          <p:spPr bwMode="gray">
            <a:xfrm>
              <a:off x="847012" y="5066603"/>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847012" y="5672063"/>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pPr>
              <a:r>
                <a:rPr lang="es-ES" sz="2000" b="1">
                  <a:solidFill>
                    <a:schemeClr val="bg1"/>
                  </a:solidFill>
                </a:rPr>
                <a:t>D</a:t>
              </a:r>
            </a:p>
          </p:txBody>
        </p:sp>
      </p:grpSp>
    </p:spTree>
    <p:extLst>
      <p:ext uri="{BB962C8B-B14F-4D97-AF65-F5344CB8AC3E}">
        <p14:creationId xmlns:p14="http://schemas.microsoft.com/office/powerpoint/2010/main" val="1145649624"/>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19162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3</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5232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Qué técnica permite a un desarrollador centrarse en probar el código en función de comportamiento esperado del software?</a:t>
            </a:r>
          </a:p>
        </p:txBody>
      </p:sp>
      <p:grpSp>
        <p:nvGrpSpPr>
          <p:cNvPr id="23" name="Group 22">
            <a:extLst>
              <a:ext uri="{FF2B5EF4-FFF2-40B4-BE49-F238E27FC236}">
                <a16:creationId xmlns:a16="http://schemas.microsoft.com/office/drawing/2014/main" id="{6EC7A0F6-71C4-7D50-77C6-53A3D1D3B601}"/>
              </a:ext>
            </a:extLst>
          </p:cNvPr>
          <p:cNvGrpSpPr/>
          <p:nvPr/>
        </p:nvGrpSpPr>
        <p:grpSpPr>
          <a:xfrm>
            <a:off x="669912" y="3314690"/>
            <a:ext cx="4228841" cy="1701807"/>
            <a:chOff x="847012" y="3849476"/>
            <a:chExt cx="5248988" cy="2290587"/>
          </a:xfrm>
        </p:grpSpPr>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89076" y="5672063"/>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XP</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524001" y="3849476"/>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TDD</a:t>
              </a:r>
            </a:p>
          </p:txBody>
        </p:sp>
        <p:sp>
          <p:nvSpPr>
            <p:cNvPr id="7" name="Oval 6">
              <a:extLst>
                <a:ext uri="{FF2B5EF4-FFF2-40B4-BE49-F238E27FC236}">
                  <a16:creationId xmlns:a16="http://schemas.microsoft.com/office/drawing/2014/main" id="{DE6A66C0-A025-16BD-940B-A7D6EA918F03}"/>
                </a:ext>
              </a:extLst>
            </p:cNvPr>
            <p:cNvSpPr/>
            <p:nvPr/>
          </p:nvSpPr>
          <p:spPr bwMode="gray">
            <a:xfrm>
              <a:off x="847012" y="384947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524001" y="4459074"/>
              <a:ext cx="4571999" cy="46593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BDD</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847012" y="4459074"/>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524001" y="5066603"/>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ATDD</a:t>
              </a:r>
            </a:p>
          </p:txBody>
        </p:sp>
        <p:sp>
          <p:nvSpPr>
            <p:cNvPr id="21" name="Oval 20">
              <a:extLst>
                <a:ext uri="{FF2B5EF4-FFF2-40B4-BE49-F238E27FC236}">
                  <a16:creationId xmlns:a16="http://schemas.microsoft.com/office/drawing/2014/main" id="{24BD630B-7017-EE04-9BAA-BE69208108E0}"/>
                </a:ext>
              </a:extLst>
            </p:cNvPr>
            <p:cNvSpPr/>
            <p:nvPr/>
          </p:nvSpPr>
          <p:spPr bwMode="gray">
            <a:xfrm>
              <a:off x="847012" y="506660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847012" y="567206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grpSp>
    </p:spTree>
    <p:extLst>
      <p:ext uri="{BB962C8B-B14F-4D97-AF65-F5344CB8AC3E}">
        <p14:creationId xmlns:p14="http://schemas.microsoft.com/office/powerpoint/2010/main" val="209024509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6"/>
            <a:ext cx="11201400" cy="1191620"/>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3</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523220"/>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Qué técnica permite a un desarrollador centrarse en probar el código en función de comportamiento esperado del software?</a:t>
            </a:r>
          </a:p>
        </p:txBody>
      </p:sp>
      <p:grpSp>
        <p:nvGrpSpPr>
          <p:cNvPr id="23" name="Group 22">
            <a:extLst>
              <a:ext uri="{FF2B5EF4-FFF2-40B4-BE49-F238E27FC236}">
                <a16:creationId xmlns:a16="http://schemas.microsoft.com/office/drawing/2014/main" id="{6EC7A0F6-71C4-7D50-77C6-53A3D1D3B601}"/>
              </a:ext>
            </a:extLst>
          </p:cNvPr>
          <p:cNvGrpSpPr/>
          <p:nvPr/>
        </p:nvGrpSpPr>
        <p:grpSpPr>
          <a:xfrm>
            <a:off x="669912" y="3263620"/>
            <a:ext cx="4228841" cy="1701808"/>
            <a:chOff x="847012" y="3849475"/>
            <a:chExt cx="5248988" cy="2290588"/>
          </a:xfrm>
        </p:grpSpPr>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489076" y="5672063"/>
              <a:ext cx="4571999" cy="465931"/>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pPr>
              <a:r>
                <a:rPr lang="es-ES" sz="1400">
                  <a:solidFill>
                    <a:schemeClr val="bg1">
                      <a:lumMod val="85000"/>
                    </a:schemeClr>
                  </a:solidFill>
                </a:rPr>
                <a:t>XP</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524001" y="3849475"/>
              <a:ext cx="4571999" cy="465932"/>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pPr>
              <a:r>
                <a:rPr lang="es-ES" sz="1400">
                  <a:solidFill>
                    <a:schemeClr val="bg1">
                      <a:lumMod val="85000"/>
                    </a:schemeClr>
                  </a:solidFill>
                </a:rPr>
                <a:t>TDD</a:t>
              </a:r>
            </a:p>
          </p:txBody>
        </p:sp>
        <p:sp>
          <p:nvSpPr>
            <p:cNvPr id="7" name="Oval 6">
              <a:extLst>
                <a:ext uri="{FF2B5EF4-FFF2-40B4-BE49-F238E27FC236}">
                  <a16:creationId xmlns:a16="http://schemas.microsoft.com/office/drawing/2014/main" id="{DE6A66C0-A025-16BD-940B-A7D6EA918F03}"/>
                </a:ext>
              </a:extLst>
            </p:cNvPr>
            <p:cNvSpPr/>
            <p:nvPr/>
          </p:nvSpPr>
          <p:spPr bwMode="gray">
            <a:xfrm>
              <a:off x="847012" y="3849476"/>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524001" y="4459074"/>
              <a:ext cx="4571999" cy="465931"/>
            </a:xfrm>
            <a:prstGeom prst="roundRect">
              <a:avLst/>
            </a:prstGeom>
            <a:solidFill>
              <a:schemeClr val="bg1">
                <a:lumMod val="95000"/>
              </a:schemeClr>
            </a:solidFill>
            <a:ln w="34925" algn="ctr">
              <a:solidFill>
                <a:srgbClr val="046A38"/>
              </a:solidFill>
              <a:miter lim="800000"/>
              <a:headEnd/>
              <a:tailEnd/>
            </a:ln>
          </p:spPr>
          <p:txBody>
            <a:bodyPr wrap="square" lIns="88900" tIns="88900" rIns="88900" bIns="88900" rtlCol="0" anchor="ctr"/>
            <a:lstStyle/>
            <a:p>
              <a:pPr>
                <a:lnSpc>
                  <a:spcPct val="106000"/>
                </a:lnSpc>
              </a:pPr>
              <a:r>
                <a:rPr lang="es-ES" sz="1400"/>
                <a:t>BDD</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847012" y="4459074"/>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524001" y="5066603"/>
              <a:ext cx="4571999" cy="465931"/>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85000"/>
                    </a:schemeClr>
                  </a:solidFill>
                </a:rPr>
                <a:t>ATDD</a:t>
              </a:r>
            </a:p>
          </p:txBody>
        </p:sp>
        <p:sp>
          <p:nvSpPr>
            <p:cNvPr id="21" name="Oval 20">
              <a:extLst>
                <a:ext uri="{FF2B5EF4-FFF2-40B4-BE49-F238E27FC236}">
                  <a16:creationId xmlns:a16="http://schemas.microsoft.com/office/drawing/2014/main" id="{24BD630B-7017-EE04-9BAA-BE69208108E0}"/>
                </a:ext>
              </a:extLst>
            </p:cNvPr>
            <p:cNvSpPr/>
            <p:nvPr/>
          </p:nvSpPr>
          <p:spPr bwMode="gray">
            <a:xfrm>
              <a:off x="847012" y="5066603"/>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847012" y="5672063"/>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pPr>
              <a:r>
                <a:rPr lang="es-ES" sz="2000" b="1">
                  <a:solidFill>
                    <a:schemeClr val="bg1"/>
                  </a:solidFill>
                </a:rPr>
                <a:t>D</a:t>
              </a:r>
            </a:p>
          </p:txBody>
        </p:sp>
      </p:grpSp>
    </p:spTree>
    <p:extLst>
      <p:ext uri="{BB962C8B-B14F-4D97-AF65-F5344CB8AC3E}">
        <p14:creationId xmlns:p14="http://schemas.microsoft.com/office/powerpoint/2010/main" val="2906463775"/>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154571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4</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1272143"/>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Un equipo ágil ha realizado todas las tareas necesarias para identificar riesgos de calidad, categorizar riesgos y evaluar el nivel de riesgo, estimar los esfuerzos de acuerdo con el nivel de riesgo y la estrategia seleccionada para mitigar los riesgos. En medio de la iteración, el cliente presentó un conjunto de nuevos requisitos y cambios en las historias de usuario seleccionadas para la iteración actual. ¿Qué debe hacer el equipo en términos de mantener el riesgo bajo?</a:t>
            </a:r>
            <a:endParaRPr lang="en-GB" sz="1400">
              <a:latin typeface="+mj-lt"/>
              <a:cs typeface="Times New Roman" panose="02020603050405020304" pitchFamily="18" charset="0"/>
            </a:endParaRPr>
          </a:p>
          <a:p>
            <a:pPr>
              <a:spcAft>
                <a:spcPts val="800"/>
              </a:spcAft>
            </a:pPr>
            <a:endParaRPr lang="es-ES" sz="1400">
              <a:latin typeface="+mj-lt"/>
              <a:cs typeface="Times New Roman" panose="02020603050405020304" pitchFamily="18" charset="0"/>
            </a:endParaRP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215326" y="4877696"/>
            <a:ext cx="10233333" cy="590043"/>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Detener las tareas seleccionadas para la iteración y comenzar a trabajar en los nuevos cambios para finalizar al final de la iteración. </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215326" y="3530134"/>
            <a:ext cx="10233335" cy="34616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Dado que los cambios se produjeron en medio de la iteración, posponga el cambio a la siguiente iteración.</a:t>
            </a:r>
          </a:p>
        </p:txBody>
      </p:sp>
      <p:sp>
        <p:nvSpPr>
          <p:cNvPr id="7" name="Oval 6">
            <a:extLst>
              <a:ext uri="{FF2B5EF4-FFF2-40B4-BE49-F238E27FC236}">
                <a16:creationId xmlns:a16="http://schemas.microsoft.com/office/drawing/2014/main" id="{DE6A66C0-A025-16BD-940B-A7D6EA918F03}"/>
              </a:ext>
            </a:extLst>
          </p:cNvPr>
          <p:cNvSpPr/>
          <p:nvPr/>
        </p:nvSpPr>
        <p:spPr bwMode="gray">
          <a:xfrm>
            <a:off x="669912" y="3530134"/>
            <a:ext cx="377044" cy="347704"/>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215327" y="3983039"/>
            <a:ext cx="10233334" cy="34616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Volver a evaluar el riesgo identificando el nuevo riesgo, el nivel de riesgo y la estrategia de mitigación.</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669912" y="3983039"/>
            <a:ext cx="377044" cy="347704"/>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215327" y="4434407"/>
            <a:ext cx="10233334" cy="34616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Si los nuevos requisitos son elementos de alto riesgo, solo entonces se pueden incluir en la iteración actual.</a:t>
            </a:r>
          </a:p>
        </p:txBody>
      </p:sp>
      <p:sp>
        <p:nvSpPr>
          <p:cNvPr id="21" name="Oval 20">
            <a:extLst>
              <a:ext uri="{FF2B5EF4-FFF2-40B4-BE49-F238E27FC236}">
                <a16:creationId xmlns:a16="http://schemas.microsoft.com/office/drawing/2014/main" id="{24BD630B-7017-EE04-9BAA-BE69208108E0}"/>
              </a:ext>
            </a:extLst>
          </p:cNvPr>
          <p:cNvSpPr/>
          <p:nvPr/>
        </p:nvSpPr>
        <p:spPr bwMode="gray">
          <a:xfrm>
            <a:off x="669912" y="4434407"/>
            <a:ext cx="377044" cy="347704"/>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669912" y="4884237"/>
            <a:ext cx="377044" cy="347704"/>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2700551340"/>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1545717"/>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4</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1272143"/>
          </a:xfrm>
          <a:prstGeom prst="rect">
            <a:avLst/>
          </a:prstGeom>
          <a:noFill/>
        </p:spPr>
        <p:txBody>
          <a:bodyPr wrap="square">
            <a:spAutoFit/>
          </a:bodyPr>
          <a:lstStyle/>
          <a:p>
            <a:pPr>
              <a:spcAft>
                <a:spcPts val="800"/>
              </a:spcAft>
            </a:pPr>
            <a:r>
              <a:rPr lang="es-ES" sz="1400">
                <a:latin typeface="+mj-lt"/>
                <a:cs typeface="Times New Roman" panose="02020603050405020304" pitchFamily="18" charset="0"/>
              </a:rPr>
              <a:t>Un equipo ágil ha realizado todas las tareas necesarias para identificar riesgos de calidad, categorizar riesgos y evaluar el nivel de riesgo, estimar los esfuerzos de acuerdo con el nivel de riesgo y la estrategia seleccionada para mitigar los riesgos. En medio de la iteración, el cliente presentó un conjunto de nuevos requisitos y cambios en las historias de usuario seleccionadas para la iteración actual. ¿Qué debe hacer el equipo en términos de mantener el riesgo bajo?</a:t>
            </a:r>
            <a:endParaRPr lang="en-GB" sz="1400">
              <a:latin typeface="+mj-lt"/>
              <a:cs typeface="Times New Roman" panose="02020603050405020304" pitchFamily="18" charset="0"/>
            </a:endParaRPr>
          </a:p>
          <a:p>
            <a:pPr>
              <a:spcAft>
                <a:spcPts val="800"/>
              </a:spcAft>
            </a:pPr>
            <a:endParaRPr lang="es-ES" sz="1400">
              <a:latin typeface="+mj-lt"/>
              <a:cs typeface="Times New Roman" panose="02020603050405020304" pitchFamily="18" charset="0"/>
            </a:endParaRPr>
          </a:p>
        </p:txBody>
      </p:sp>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215326" y="4877696"/>
            <a:ext cx="10233333" cy="590043"/>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95000"/>
                  </a:schemeClr>
                </a:solidFill>
              </a:rPr>
              <a:t>Detener las tareas seleccionadas para la iteración y comenzar a trabajar en los nuevos cambios para finalizar al final de la iteración. </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215326" y="3530134"/>
            <a:ext cx="10233335" cy="346167"/>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95000"/>
                  </a:schemeClr>
                </a:solidFill>
              </a:rPr>
              <a:t>Dado que los cambios se produjeron en medio de la iteración, posponga el cambio a la siguiente iteración.</a:t>
            </a:r>
          </a:p>
        </p:txBody>
      </p:sp>
      <p:sp>
        <p:nvSpPr>
          <p:cNvPr id="7" name="Oval 6">
            <a:extLst>
              <a:ext uri="{FF2B5EF4-FFF2-40B4-BE49-F238E27FC236}">
                <a16:creationId xmlns:a16="http://schemas.microsoft.com/office/drawing/2014/main" id="{DE6A66C0-A025-16BD-940B-A7D6EA918F03}"/>
              </a:ext>
            </a:extLst>
          </p:cNvPr>
          <p:cNvSpPr/>
          <p:nvPr/>
        </p:nvSpPr>
        <p:spPr bwMode="gray">
          <a:xfrm>
            <a:off x="669912" y="3530134"/>
            <a:ext cx="377044" cy="34770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215327" y="3983039"/>
            <a:ext cx="10233334" cy="346167"/>
          </a:xfrm>
          <a:prstGeom prst="roundRect">
            <a:avLst/>
          </a:prstGeom>
          <a:solidFill>
            <a:schemeClr val="bg1">
              <a:lumMod val="95000"/>
            </a:schemeClr>
          </a:solidFill>
          <a:ln w="34925" algn="ctr">
            <a:solidFill>
              <a:srgbClr val="046A38"/>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a:t>Volver a evaluar el riesgo identificando el nuevo riesgo, el nivel de riesgo y la estrategia de mitigación.</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669912" y="3983039"/>
            <a:ext cx="377044" cy="347704"/>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215327" y="4434407"/>
            <a:ext cx="10233334" cy="346167"/>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95000"/>
                  </a:schemeClr>
                </a:solidFill>
              </a:rPr>
              <a:t>Si los nuevos requisitos son elementos de alto riesgo, solo entonces se pueden incluir en la iteración actual.</a:t>
            </a:r>
          </a:p>
        </p:txBody>
      </p:sp>
      <p:sp>
        <p:nvSpPr>
          <p:cNvPr id="21" name="Oval 20">
            <a:extLst>
              <a:ext uri="{FF2B5EF4-FFF2-40B4-BE49-F238E27FC236}">
                <a16:creationId xmlns:a16="http://schemas.microsoft.com/office/drawing/2014/main" id="{24BD630B-7017-EE04-9BAA-BE69208108E0}"/>
              </a:ext>
            </a:extLst>
          </p:cNvPr>
          <p:cNvSpPr/>
          <p:nvPr/>
        </p:nvSpPr>
        <p:spPr bwMode="gray">
          <a:xfrm>
            <a:off x="669912" y="4434407"/>
            <a:ext cx="377044" cy="34770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669912" y="4884237"/>
            <a:ext cx="377044" cy="347704"/>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spTree>
    <p:extLst>
      <p:ext uri="{BB962C8B-B14F-4D97-AF65-F5344CB8AC3E}">
        <p14:creationId xmlns:p14="http://schemas.microsoft.com/office/powerpoint/2010/main" val="2973831558"/>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260259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5</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1968039"/>
          </a:xfrm>
          <a:prstGeom prst="rect">
            <a:avLst/>
          </a:prstGeom>
          <a:noFill/>
        </p:spPr>
        <p:txBody>
          <a:bodyPr wrap="square">
            <a:spAutoFit/>
          </a:bodyPr>
          <a:lstStyle/>
          <a:p>
            <a:pPr>
              <a:lnSpc>
                <a:spcPct val="107000"/>
              </a:lnSpc>
              <a:spcAft>
                <a:spcPts val="800"/>
              </a:spcAft>
            </a:pPr>
            <a:r>
              <a:rPr lang="es-ES" sz="1400">
                <a:solidFill>
                  <a:srgbClr val="1C1D1F"/>
                </a:solidFill>
                <a:effectLst/>
                <a:latin typeface="+mj-lt"/>
                <a:ea typeface="Calibri" panose="020F0502020204030204" pitchFamily="34" charset="0"/>
                <a:cs typeface="Times New Roman" panose="02020603050405020304" pitchFamily="18" charset="0"/>
              </a:rPr>
              <a:t>¿Cuáles de los siguientes son ejemplos de criterios de aceptación comprobables?</a:t>
            </a:r>
            <a:endParaRPr lang="en-GB" sz="1400">
              <a:solidFill>
                <a:srgbClr val="1C1D1F"/>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s-ES" sz="1400">
                <a:solidFill>
                  <a:srgbClr val="1C1D1F"/>
                </a:solidFill>
                <a:effectLst/>
                <a:latin typeface="+mj-lt"/>
                <a:ea typeface="Calibri" panose="020F0502020204030204" pitchFamily="34" charset="0"/>
                <a:cs typeface="Times New Roman" panose="02020603050405020304" pitchFamily="18" charset="0"/>
              </a:rPr>
              <a:t>i. La interfaz de usuario debe verse bien</a:t>
            </a:r>
            <a:endParaRPr lang="en-GB" sz="1400">
              <a:solidFill>
                <a:srgbClr val="1C1D1F"/>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s-ES" sz="1400" err="1">
                <a:solidFill>
                  <a:srgbClr val="1C1D1F"/>
                </a:solidFill>
                <a:effectLst/>
                <a:latin typeface="+mj-lt"/>
                <a:ea typeface="Calibri" panose="020F0502020204030204" pitchFamily="34" charset="0"/>
                <a:cs typeface="Times New Roman" panose="02020603050405020304" pitchFamily="18" charset="0"/>
              </a:rPr>
              <a:t>ii</a:t>
            </a:r>
            <a:r>
              <a:rPr lang="es-ES" sz="1400">
                <a:solidFill>
                  <a:srgbClr val="1C1D1F"/>
                </a:solidFill>
                <a:effectLst/>
                <a:latin typeface="+mj-lt"/>
                <a:ea typeface="Calibri" panose="020F0502020204030204" pitchFamily="34" charset="0"/>
                <a:cs typeface="Times New Roman" panose="02020603050405020304" pitchFamily="18" charset="0"/>
              </a:rPr>
              <a:t>. La aplicación web debe ser funcional en los principales navegadores: Firefox, Chrome, Safari e IE</a:t>
            </a:r>
            <a:endParaRPr lang="en-GB" sz="1400">
              <a:solidFill>
                <a:srgbClr val="1C1D1F"/>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s-ES" sz="1400" err="1">
                <a:solidFill>
                  <a:srgbClr val="1C1D1F"/>
                </a:solidFill>
                <a:effectLst/>
                <a:latin typeface="+mj-lt"/>
                <a:ea typeface="Calibri" panose="020F0502020204030204" pitchFamily="34" charset="0"/>
                <a:cs typeface="Times New Roman" panose="02020603050405020304" pitchFamily="18" charset="0"/>
              </a:rPr>
              <a:t>iii</a:t>
            </a:r>
            <a:r>
              <a:rPr lang="es-ES" sz="1400">
                <a:solidFill>
                  <a:srgbClr val="1C1D1F"/>
                </a:solidFill>
                <a:effectLst/>
                <a:latin typeface="+mj-lt"/>
                <a:ea typeface="Calibri" panose="020F0502020204030204" pitchFamily="34" charset="0"/>
                <a:cs typeface="Times New Roman" panose="02020603050405020304" pitchFamily="18" charset="0"/>
              </a:rPr>
              <a:t>. Un usuario no puede comprar hasta que su dirección de correo electrónico haya sido verificada.</a:t>
            </a:r>
            <a:endParaRPr lang="en-GB" sz="1400">
              <a:solidFill>
                <a:srgbClr val="1C1D1F"/>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s-ES" sz="1400" err="1">
                <a:solidFill>
                  <a:srgbClr val="1C1D1F"/>
                </a:solidFill>
                <a:effectLst/>
                <a:latin typeface="+mj-lt"/>
                <a:ea typeface="Calibri" panose="020F0502020204030204" pitchFamily="34" charset="0"/>
                <a:cs typeface="Times New Roman" panose="02020603050405020304" pitchFamily="18" charset="0"/>
              </a:rPr>
              <a:t>iv</a:t>
            </a:r>
            <a:r>
              <a:rPr lang="es-ES" sz="1400">
                <a:solidFill>
                  <a:srgbClr val="1C1D1F"/>
                </a:solidFill>
                <a:effectLst/>
                <a:latin typeface="+mj-lt"/>
                <a:ea typeface="Calibri" panose="020F0502020204030204" pitchFamily="34" charset="0"/>
                <a:cs typeface="Times New Roman" panose="02020603050405020304" pitchFamily="18" charset="0"/>
              </a:rPr>
              <a:t>. La mayoría de los probadores deben realizar sus propias pruebas exploratorias en el sistema.</a:t>
            </a:r>
            <a:endParaRPr lang="en-GB" sz="1400">
              <a:solidFill>
                <a:srgbClr val="1C1D1F"/>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s-ES" sz="1400">
                <a:solidFill>
                  <a:srgbClr val="1C1D1F"/>
                </a:solidFill>
                <a:effectLst/>
                <a:latin typeface="+mj-lt"/>
                <a:ea typeface="Calibri" panose="020F0502020204030204" pitchFamily="34" charset="0"/>
                <a:cs typeface="Times New Roman" panose="02020603050405020304" pitchFamily="18" charset="0"/>
              </a:rPr>
              <a:t>v. La operación de inicio de sesión nunca debe exceder los 0,5 segundos.</a:t>
            </a:r>
            <a:endParaRPr lang="en-GB" sz="1400">
              <a:solidFill>
                <a:srgbClr val="1C1D1F"/>
              </a:solidFill>
              <a:effectLst/>
              <a:latin typeface="+mj-lt"/>
              <a:ea typeface="Calibri" panose="020F0502020204030204" pitchFamily="34" charset="0"/>
              <a:cs typeface="Times New Roman" panose="02020603050405020304" pitchFamily="18" charset="0"/>
            </a:endParaRPr>
          </a:p>
        </p:txBody>
      </p:sp>
      <p:grpSp>
        <p:nvGrpSpPr>
          <p:cNvPr id="23" name="Group 22">
            <a:extLst>
              <a:ext uri="{FF2B5EF4-FFF2-40B4-BE49-F238E27FC236}">
                <a16:creationId xmlns:a16="http://schemas.microsoft.com/office/drawing/2014/main" id="{6EC7A0F6-71C4-7D50-77C6-53A3D1D3B601}"/>
              </a:ext>
            </a:extLst>
          </p:cNvPr>
          <p:cNvGrpSpPr/>
          <p:nvPr/>
        </p:nvGrpSpPr>
        <p:grpSpPr>
          <a:xfrm>
            <a:off x="669912" y="4491478"/>
            <a:ext cx="4228841" cy="1701807"/>
            <a:chOff x="847012" y="3849476"/>
            <a:chExt cx="5248988" cy="2290587"/>
          </a:xfrm>
        </p:grpSpPr>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1" y="5672063"/>
              <a:ext cx="4571999" cy="46593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err="1"/>
                <a:t>ii</a:t>
              </a:r>
              <a:r>
                <a:rPr lang="es-ES" sz="1400"/>
                <a:t>, </a:t>
              </a:r>
              <a:r>
                <a:rPr lang="es-ES" sz="1400" err="1"/>
                <a:t>iii</a:t>
              </a:r>
              <a:r>
                <a:rPr lang="es-ES" sz="1400"/>
                <a:t>, v</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524001" y="3849476"/>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i, </a:t>
              </a:r>
              <a:r>
                <a:rPr lang="es-ES" sz="1400" err="1"/>
                <a:t>ii</a:t>
              </a:r>
              <a:r>
                <a:rPr lang="es-ES" sz="1400"/>
                <a:t>, v</a:t>
              </a:r>
            </a:p>
          </p:txBody>
        </p:sp>
        <p:sp>
          <p:nvSpPr>
            <p:cNvPr id="7" name="Oval 6">
              <a:extLst>
                <a:ext uri="{FF2B5EF4-FFF2-40B4-BE49-F238E27FC236}">
                  <a16:creationId xmlns:a16="http://schemas.microsoft.com/office/drawing/2014/main" id="{DE6A66C0-A025-16BD-940B-A7D6EA918F03}"/>
                </a:ext>
              </a:extLst>
            </p:cNvPr>
            <p:cNvSpPr/>
            <p:nvPr/>
          </p:nvSpPr>
          <p:spPr bwMode="gray">
            <a:xfrm>
              <a:off x="847012" y="384947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524001" y="4459074"/>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i, </a:t>
              </a:r>
              <a:r>
                <a:rPr lang="es-ES" sz="1400" err="1"/>
                <a:t>iii</a:t>
              </a:r>
              <a:r>
                <a:rPr lang="es-ES" sz="1400"/>
                <a:t>, v</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847012" y="4459074"/>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524001" y="5066603"/>
              <a:ext cx="4571999" cy="465931"/>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err="1"/>
                <a:t>ii</a:t>
              </a:r>
              <a:r>
                <a:rPr lang="es-ES" sz="1400"/>
                <a:t>, </a:t>
              </a:r>
              <a:r>
                <a:rPr lang="es-ES" sz="1400" err="1"/>
                <a:t>iii</a:t>
              </a:r>
              <a:r>
                <a:rPr lang="es-ES" sz="1400"/>
                <a:t>, </a:t>
              </a:r>
              <a:r>
                <a:rPr lang="es-ES" sz="1400" err="1"/>
                <a:t>iv</a:t>
              </a:r>
              <a:endParaRPr lang="es-ES" sz="1400"/>
            </a:p>
          </p:txBody>
        </p:sp>
        <p:sp>
          <p:nvSpPr>
            <p:cNvPr id="21" name="Oval 20">
              <a:extLst>
                <a:ext uri="{FF2B5EF4-FFF2-40B4-BE49-F238E27FC236}">
                  <a16:creationId xmlns:a16="http://schemas.microsoft.com/office/drawing/2014/main" id="{24BD630B-7017-EE04-9BAA-BE69208108E0}"/>
                </a:ext>
              </a:extLst>
            </p:cNvPr>
            <p:cNvSpPr/>
            <p:nvPr/>
          </p:nvSpPr>
          <p:spPr bwMode="gray">
            <a:xfrm>
              <a:off x="847012" y="506660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847012" y="567206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grpSp>
    </p:spTree>
    <p:extLst>
      <p:ext uri="{BB962C8B-B14F-4D97-AF65-F5344CB8AC3E}">
        <p14:creationId xmlns:p14="http://schemas.microsoft.com/office/powerpoint/2010/main" val="1953737704"/>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2602594"/>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5</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1968039"/>
          </a:xfrm>
          <a:prstGeom prst="rect">
            <a:avLst/>
          </a:prstGeom>
          <a:noFill/>
        </p:spPr>
        <p:txBody>
          <a:bodyPr wrap="square">
            <a:spAutoFit/>
          </a:bodyPr>
          <a:lstStyle/>
          <a:p>
            <a:pPr>
              <a:lnSpc>
                <a:spcPct val="107000"/>
              </a:lnSpc>
              <a:spcAft>
                <a:spcPts val="800"/>
              </a:spcAft>
            </a:pPr>
            <a:r>
              <a:rPr lang="es-ES" sz="1400">
                <a:solidFill>
                  <a:srgbClr val="1C1D1F"/>
                </a:solidFill>
                <a:effectLst/>
                <a:latin typeface="+mj-lt"/>
                <a:ea typeface="Calibri" panose="020F0502020204030204" pitchFamily="34" charset="0"/>
                <a:cs typeface="Times New Roman" panose="02020603050405020304" pitchFamily="18" charset="0"/>
              </a:rPr>
              <a:t>¿Cuáles de los siguientes son ejemplos de criterios de aceptación comprobables?</a:t>
            </a:r>
            <a:endParaRPr lang="en-GB" sz="1400">
              <a:solidFill>
                <a:srgbClr val="1C1D1F"/>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s-ES" sz="1400">
                <a:solidFill>
                  <a:srgbClr val="1C1D1F"/>
                </a:solidFill>
                <a:effectLst/>
                <a:latin typeface="+mj-lt"/>
                <a:ea typeface="Calibri" panose="020F0502020204030204" pitchFamily="34" charset="0"/>
                <a:cs typeface="Times New Roman" panose="02020603050405020304" pitchFamily="18" charset="0"/>
              </a:rPr>
              <a:t>i. La interfaz de usuario debe verse bien</a:t>
            </a:r>
            <a:endParaRPr lang="en-GB" sz="1400">
              <a:solidFill>
                <a:srgbClr val="1C1D1F"/>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s-ES" sz="1400" err="1">
                <a:solidFill>
                  <a:srgbClr val="1C1D1F"/>
                </a:solidFill>
                <a:effectLst/>
                <a:latin typeface="+mj-lt"/>
                <a:ea typeface="Calibri" panose="020F0502020204030204" pitchFamily="34" charset="0"/>
                <a:cs typeface="Times New Roman" panose="02020603050405020304" pitchFamily="18" charset="0"/>
              </a:rPr>
              <a:t>ii</a:t>
            </a:r>
            <a:r>
              <a:rPr lang="es-ES" sz="1400">
                <a:solidFill>
                  <a:srgbClr val="1C1D1F"/>
                </a:solidFill>
                <a:effectLst/>
                <a:latin typeface="+mj-lt"/>
                <a:ea typeface="Calibri" panose="020F0502020204030204" pitchFamily="34" charset="0"/>
                <a:cs typeface="Times New Roman" panose="02020603050405020304" pitchFamily="18" charset="0"/>
              </a:rPr>
              <a:t>. La aplicación web debe ser funcional en los principales navegadores: Firefox, Chrome, Safari e IE</a:t>
            </a:r>
            <a:endParaRPr lang="en-GB" sz="1400">
              <a:solidFill>
                <a:srgbClr val="1C1D1F"/>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s-ES" sz="1400" err="1">
                <a:solidFill>
                  <a:srgbClr val="1C1D1F"/>
                </a:solidFill>
                <a:effectLst/>
                <a:latin typeface="+mj-lt"/>
                <a:ea typeface="Calibri" panose="020F0502020204030204" pitchFamily="34" charset="0"/>
                <a:cs typeface="Times New Roman" panose="02020603050405020304" pitchFamily="18" charset="0"/>
              </a:rPr>
              <a:t>iii</a:t>
            </a:r>
            <a:r>
              <a:rPr lang="es-ES" sz="1400">
                <a:solidFill>
                  <a:srgbClr val="1C1D1F"/>
                </a:solidFill>
                <a:effectLst/>
                <a:latin typeface="+mj-lt"/>
                <a:ea typeface="Calibri" panose="020F0502020204030204" pitchFamily="34" charset="0"/>
                <a:cs typeface="Times New Roman" panose="02020603050405020304" pitchFamily="18" charset="0"/>
              </a:rPr>
              <a:t>. Un usuario no puede comprar hasta que su dirección de correo electrónico haya sido verificada.</a:t>
            </a:r>
            <a:endParaRPr lang="en-GB" sz="1400">
              <a:solidFill>
                <a:srgbClr val="1C1D1F"/>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s-ES" sz="1400" err="1">
                <a:solidFill>
                  <a:srgbClr val="1C1D1F"/>
                </a:solidFill>
                <a:effectLst/>
                <a:latin typeface="+mj-lt"/>
                <a:ea typeface="Calibri" panose="020F0502020204030204" pitchFamily="34" charset="0"/>
                <a:cs typeface="Times New Roman" panose="02020603050405020304" pitchFamily="18" charset="0"/>
              </a:rPr>
              <a:t>iv</a:t>
            </a:r>
            <a:r>
              <a:rPr lang="es-ES" sz="1400">
                <a:solidFill>
                  <a:srgbClr val="1C1D1F"/>
                </a:solidFill>
                <a:effectLst/>
                <a:latin typeface="+mj-lt"/>
                <a:ea typeface="Calibri" panose="020F0502020204030204" pitchFamily="34" charset="0"/>
                <a:cs typeface="Times New Roman" panose="02020603050405020304" pitchFamily="18" charset="0"/>
              </a:rPr>
              <a:t>. La mayoría de los probadores deben realizar sus propias pruebas exploratorias en el sistema.</a:t>
            </a:r>
            <a:endParaRPr lang="en-GB" sz="1400">
              <a:solidFill>
                <a:srgbClr val="1C1D1F"/>
              </a:solidFill>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es-ES" sz="1400">
                <a:solidFill>
                  <a:srgbClr val="1C1D1F"/>
                </a:solidFill>
                <a:effectLst/>
                <a:latin typeface="+mj-lt"/>
                <a:ea typeface="Calibri" panose="020F0502020204030204" pitchFamily="34" charset="0"/>
                <a:cs typeface="Times New Roman" panose="02020603050405020304" pitchFamily="18" charset="0"/>
              </a:rPr>
              <a:t>v. La operación de inicio de sesión nunca debe exceder los 0,5 segundos.</a:t>
            </a:r>
            <a:endParaRPr lang="en-GB" sz="1400">
              <a:solidFill>
                <a:srgbClr val="1C1D1F"/>
              </a:solidFill>
              <a:effectLst/>
              <a:latin typeface="+mj-lt"/>
              <a:ea typeface="Calibri" panose="020F0502020204030204" pitchFamily="34" charset="0"/>
              <a:cs typeface="Times New Roman" panose="02020603050405020304" pitchFamily="18" charset="0"/>
            </a:endParaRPr>
          </a:p>
        </p:txBody>
      </p:sp>
      <p:grpSp>
        <p:nvGrpSpPr>
          <p:cNvPr id="23" name="Group 22">
            <a:extLst>
              <a:ext uri="{FF2B5EF4-FFF2-40B4-BE49-F238E27FC236}">
                <a16:creationId xmlns:a16="http://schemas.microsoft.com/office/drawing/2014/main" id="{6EC7A0F6-71C4-7D50-77C6-53A3D1D3B601}"/>
              </a:ext>
            </a:extLst>
          </p:cNvPr>
          <p:cNvGrpSpPr/>
          <p:nvPr/>
        </p:nvGrpSpPr>
        <p:grpSpPr>
          <a:xfrm>
            <a:off x="669912" y="4491478"/>
            <a:ext cx="4228841" cy="1701807"/>
            <a:chOff x="847012" y="3849476"/>
            <a:chExt cx="5248988" cy="2290587"/>
          </a:xfrm>
        </p:grpSpPr>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1" y="5672063"/>
              <a:ext cx="4571999" cy="465932"/>
            </a:xfrm>
            <a:prstGeom prst="roundRect">
              <a:avLst/>
            </a:prstGeom>
            <a:solidFill>
              <a:schemeClr val="bg1">
                <a:lumMod val="95000"/>
              </a:schemeClr>
            </a:solidFill>
            <a:ln w="34925" algn="ctr">
              <a:solidFill>
                <a:srgbClr val="046A38"/>
              </a:solidFill>
              <a:miter lim="800000"/>
              <a:headEnd/>
              <a:tailEnd/>
            </a:ln>
          </p:spPr>
          <p:txBody>
            <a:bodyPr wrap="square" lIns="88900" tIns="88900" rIns="88900" bIns="88900" rtlCol="0" anchor="ctr"/>
            <a:lstStyle/>
            <a:p>
              <a:pPr>
                <a:lnSpc>
                  <a:spcPct val="106000"/>
                </a:lnSpc>
                <a:buFont typeface="Wingdings 2" pitchFamily="18" charset="2"/>
                <a:buNone/>
              </a:pPr>
              <a:r>
                <a:rPr lang="es-ES" sz="1400" err="1"/>
                <a:t>ii</a:t>
              </a:r>
              <a:r>
                <a:rPr lang="es-ES" sz="1400"/>
                <a:t>, </a:t>
              </a:r>
              <a:r>
                <a:rPr lang="es-ES" sz="1400" err="1"/>
                <a:t>iii</a:t>
              </a:r>
              <a:r>
                <a:rPr lang="es-ES" sz="1400"/>
                <a:t>, v</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524001" y="3849476"/>
              <a:ext cx="4571999" cy="465931"/>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95000"/>
                    </a:schemeClr>
                  </a:solidFill>
                </a:rPr>
                <a:t>i, </a:t>
              </a:r>
              <a:r>
                <a:rPr lang="es-ES" sz="1400" err="1">
                  <a:solidFill>
                    <a:schemeClr val="bg1">
                      <a:lumMod val="95000"/>
                    </a:schemeClr>
                  </a:solidFill>
                </a:rPr>
                <a:t>ii</a:t>
              </a:r>
              <a:r>
                <a:rPr lang="es-ES" sz="1400">
                  <a:solidFill>
                    <a:schemeClr val="bg1">
                      <a:lumMod val="95000"/>
                    </a:schemeClr>
                  </a:solidFill>
                </a:rPr>
                <a:t>, v</a:t>
              </a:r>
            </a:p>
          </p:txBody>
        </p:sp>
        <p:sp>
          <p:nvSpPr>
            <p:cNvPr id="7" name="Oval 6">
              <a:extLst>
                <a:ext uri="{FF2B5EF4-FFF2-40B4-BE49-F238E27FC236}">
                  <a16:creationId xmlns:a16="http://schemas.microsoft.com/office/drawing/2014/main" id="{DE6A66C0-A025-16BD-940B-A7D6EA918F03}"/>
                </a:ext>
              </a:extLst>
            </p:cNvPr>
            <p:cNvSpPr/>
            <p:nvPr/>
          </p:nvSpPr>
          <p:spPr bwMode="gray">
            <a:xfrm>
              <a:off x="847012" y="3849476"/>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524001" y="4459074"/>
              <a:ext cx="4571999" cy="465931"/>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95000"/>
                    </a:schemeClr>
                  </a:solidFill>
                </a:rPr>
                <a:t>i, </a:t>
              </a:r>
              <a:r>
                <a:rPr lang="es-ES" sz="1400" err="1">
                  <a:solidFill>
                    <a:schemeClr val="bg1">
                      <a:lumMod val="95000"/>
                    </a:schemeClr>
                  </a:solidFill>
                </a:rPr>
                <a:t>iii</a:t>
              </a:r>
              <a:r>
                <a:rPr lang="es-ES" sz="1400">
                  <a:solidFill>
                    <a:schemeClr val="bg1">
                      <a:lumMod val="95000"/>
                    </a:schemeClr>
                  </a:solidFill>
                </a:rPr>
                <a:t>, v</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847012" y="4459074"/>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524001" y="5066603"/>
              <a:ext cx="4571999" cy="465931"/>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err="1">
                  <a:solidFill>
                    <a:schemeClr val="bg1">
                      <a:lumMod val="95000"/>
                    </a:schemeClr>
                  </a:solidFill>
                </a:rPr>
                <a:t>ii</a:t>
              </a:r>
              <a:r>
                <a:rPr lang="es-ES" sz="1400">
                  <a:solidFill>
                    <a:schemeClr val="bg1">
                      <a:lumMod val="95000"/>
                    </a:schemeClr>
                  </a:solidFill>
                </a:rPr>
                <a:t>, </a:t>
              </a:r>
              <a:r>
                <a:rPr lang="es-ES" sz="1400" err="1">
                  <a:solidFill>
                    <a:schemeClr val="bg1">
                      <a:lumMod val="95000"/>
                    </a:schemeClr>
                  </a:solidFill>
                </a:rPr>
                <a:t>iii</a:t>
              </a:r>
              <a:r>
                <a:rPr lang="es-ES" sz="1400">
                  <a:solidFill>
                    <a:schemeClr val="bg1">
                      <a:lumMod val="95000"/>
                    </a:schemeClr>
                  </a:solidFill>
                </a:rPr>
                <a:t>, </a:t>
              </a:r>
              <a:r>
                <a:rPr lang="es-ES" sz="1400" err="1">
                  <a:solidFill>
                    <a:schemeClr val="bg1">
                      <a:lumMod val="95000"/>
                    </a:schemeClr>
                  </a:solidFill>
                </a:rPr>
                <a:t>iv</a:t>
              </a:r>
              <a:endParaRPr lang="es-ES" sz="1400">
                <a:solidFill>
                  <a:schemeClr val="bg1">
                    <a:lumMod val="95000"/>
                  </a:schemeClr>
                </a:solidFill>
              </a:endParaRPr>
            </a:p>
          </p:txBody>
        </p:sp>
        <p:sp>
          <p:nvSpPr>
            <p:cNvPr id="21" name="Oval 20">
              <a:extLst>
                <a:ext uri="{FF2B5EF4-FFF2-40B4-BE49-F238E27FC236}">
                  <a16:creationId xmlns:a16="http://schemas.microsoft.com/office/drawing/2014/main" id="{24BD630B-7017-EE04-9BAA-BE69208108E0}"/>
                </a:ext>
              </a:extLst>
            </p:cNvPr>
            <p:cNvSpPr/>
            <p:nvPr/>
          </p:nvSpPr>
          <p:spPr bwMode="gray">
            <a:xfrm>
              <a:off x="847012" y="5066603"/>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847012" y="5672063"/>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grpSp>
    </p:spTree>
    <p:extLst>
      <p:ext uri="{BB962C8B-B14F-4D97-AF65-F5344CB8AC3E}">
        <p14:creationId xmlns:p14="http://schemas.microsoft.com/office/powerpoint/2010/main" val="2910558873"/>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102975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6</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302519"/>
          </a:xfrm>
          <a:prstGeom prst="rect">
            <a:avLst/>
          </a:prstGeom>
          <a:noFill/>
        </p:spPr>
        <p:txBody>
          <a:bodyPr wrap="square">
            <a:spAutoFit/>
          </a:bodyPr>
          <a:lstStyle/>
          <a:p>
            <a:pPr>
              <a:lnSpc>
                <a:spcPct val="107000"/>
              </a:lnSpc>
              <a:spcAft>
                <a:spcPts val="800"/>
              </a:spcAft>
            </a:pPr>
            <a:r>
              <a:rPr lang="es-ES" sz="1400" kern="1400" spc="-50">
                <a:effectLst/>
                <a:latin typeface="+mj-lt"/>
                <a:ea typeface="Roboto" panose="02000000000000000000" pitchFamily="2" charset="0"/>
                <a:cs typeface="Roboto" panose="02000000000000000000" pitchFamily="2" charset="0"/>
              </a:rPr>
              <a:t>¿Qué herramienta será útil para proporcionar una instantánea del servidor para que los desarrolladores resuelvan errores?</a:t>
            </a:r>
            <a:endParaRPr lang="en-GB" sz="1400">
              <a:solidFill>
                <a:srgbClr val="1C1D1F"/>
              </a:solidFill>
              <a:effectLst/>
              <a:latin typeface="+mj-lt"/>
              <a:ea typeface="Roboto" panose="02000000000000000000" pitchFamily="2" charset="0"/>
              <a:cs typeface="Roboto" panose="02000000000000000000" pitchFamily="2" charset="0"/>
            </a:endParaRPr>
          </a:p>
        </p:txBody>
      </p:sp>
      <p:grpSp>
        <p:nvGrpSpPr>
          <p:cNvPr id="23" name="Group 22">
            <a:extLst>
              <a:ext uri="{FF2B5EF4-FFF2-40B4-BE49-F238E27FC236}">
                <a16:creationId xmlns:a16="http://schemas.microsoft.com/office/drawing/2014/main" id="{6EC7A0F6-71C4-7D50-77C6-53A3D1D3B601}"/>
              </a:ext>
            </a:extLst>
          </p:cNvPr>
          <p:cNvGrpSpPr/>
          <p:nvPr/>
        </p:nvGrpSpPr>
        <p:grpSpPr>
          <a:xfrm>
            <a:off x="669912" y="3078423"/>
            <a:ext cx="6599944" cy="1701807"/>
            <a:chOff x="847012" y="3849476"/>
            <a:chExt cx="8192086" cy="2290587"/>
          </a:xfrm>
        </p:grpSpPr>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1" y="5672063"/>
              <a:ext cx="7515097" cy="46593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Herramientas de gestión de casos de prueba.</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523999" y="3849476"/>
              <a:ext cx="7515099" cy="46593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Herramienta de virtualización y computación en la nube.</a:t>
              </a:r>
            </a:p>
          </p:txBody>
        </p:sp>
        <p:sp>
          <p:nvSpPr>
            <p:cNvPr id="7" name="Oval 6">
              <a:extLst>
                <a:ext uri="{FF2B5EF4-FFF2-40B4-BE49-F238E27FC236}">
                  <a16:creationId xmlns:a16="http://schemas.microsoft.com/office/drawing/2014/main" id="{DE6A66C0-A025-16BD-940B-A7D6EA918F03}"/>
                </a:ext>
              </a:extLst>
            </p:cNvPr>
            <p:cNvSpPr/>
            <p:nvPr/>
          </p:nvSpPr>
          <p:spPr bwMode="gray">
            <a:xfrm>
              <a:off x="847012" y="3849476"/>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524001" y="4459074"/>
              <a:ext cx="7515097" cy="46593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Herramienta de captura de video.</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847012" y="4459074"/>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524001" y="5066603"/>
              <a:ext cx="7515097" cy="46593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t>Panel de control de estilo wiki.</a:t>
              </a:r>
            </a:p>
          </p:txBody>
        </p:sp>
        <p:sp>
          <p:nvSpPr>
            <p:cNvPr id="21" name="Oval 20">
              <a:extLst>
                <a:ext uri="{FF2B5EF4-FFF2-40B4-BE49-F238E27FC236}">
                  <a16:creationId xmlns:a16="http://schemas.microsoft.com/office/drawing/2014/main" id="{24BD630B-7017-EE04-9BAA-BE69208108E0}"/>
                </a:ext>
              </a:extLst>
            </p:cNvPr>
            <p:cNvSpPr/>
            <p:nvPr/>
          </p:nvSpPr>
          <p:spPr bwMode="gray">
            <a:xfrm>
              <a:off x="847012" y="506660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847012" y="5672063"/>
              <a:ext cx="468000" cy="468000"/>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grpSp>
    </p:spTree>
    <p:extLst>
      <p:ext uri="{BB962C8B-B14F-4D97-AF65-F5344CB8AC3E}">
        <p14:creationId xmlns:p14="http://schemas.microsoft.com/office/powerpoint/2010/main" val="1619307240"/>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6" descr="Resultado de imagen de logo deloit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136202" name="Picture 10" descr="Resultado de imagen de logo deloitte"/>
          <p:cNvPicPr>
            <a:picLocks noChangeAspect="1" noChangeArrowheads="1"/>
          </p:cNvPicPr>
          <p:nvPr/>
        </p:nvPicPr>
        <p:blipFill rotWithShape="1">
          <a:blip r:embed="rId3">
            <a:extLst>
              <a:ext uri="{28A0092B-C50C-407E-A947-70E740481C1C}">
                <a14:useLocalDpi xmlns:a14="http://schemas.microsoft.com/office/drawing/2010/main" val="0"/>
              </a:ext>
            </a:extLst>
          </a:blip>
          <a:srcRect t="19483" b="24796"/>
          <a:stretch/>
        </p:blipFill>
        <p:spPr bwMode="auto">
          <a:xfrm>
            <a:off x="9360150" y="267407"/>
            <a:ext cx="2301625" cy="94196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prettygoodtesting.com/users/image/ISTQB_Logo.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892" y="308610"/>
            <a:ext cx="1292391" cy="601136"/>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a:xfrm>
            <a:off x="460375" y="1515618"/>
            <a:ext cx="11201400" cy="0"/>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5575" y="1115795"/>
            <a:ext cx="5267789" cy="338554"/>
          </a:xfrm>
          <a:prstGeom prst="rect">
            <a:avLst/>
          </a:prstGeom>
        </p:spPr>
        <p:txBody>
          <a:bodyPr wrap="square" lIns="91440" tIns="45720" rIns="91440" bIns="45720" anchor="t">
            <a:spAutoFit/>
          </a:bodyPr>
          <a:lstStyle/>
          <a:p>
            <a:pPr marL="269875" lvl="1">
              <a:spcAft>
                <a:spcPts val="25"/>
              </a:spcAft>
            </a:pPr>
            <a:r>
              <a:rPr lang="en-GB" altLang="en-US" sz="1600" b="1">
                <a:solidFill>
                  <a:schemeClr val="accent1"/>
                </a:solidFill>
                <a:latin typeface="Verdana"/>
                <a:ea typeface="Arial" pitchFamily="34" charset="0"/>
                <a:cs typeface="Verdana" pitchFamily="34" charset="0"/>
              </a:rPr>
              <a:t>PREGUNTAS TEMA 3</a:t>
            </a:r>
            <a:endParaRPr lang="en-GB" altLang="en-US" sz="1600" b="1">
              <a:solidFill>
                <a:schemeClr val="accent1"/>
              </a:solidFill>
              <a:latin typeface="Verdana" pitchFamily="34" charset="0"/>
              <a:ea typeface="Arial" pitchFamily="34" charset="0"/>
              <a:cs typeface="Verdana" pitchFamily="34" charset="0"/>
            </a:endParaRPr>
          </a:p>
        </p:txBody>
      </p:sp>
      <p:sp>
        <p:nvSpPr>
          <p:cNvPr id="4" name="Rectangle: Rounded Corners 3">
            <a:extLst>
              <a:ext uri="{FF2B5EF4-FFF2-40B4-BE49-F238E27FC236}">
                <a16:creationId xmlns:a16="http://schemas.microsoft.com/office/drawing/2014/main" id="{1C71A78E-E319-51FC-6D60-94596DAEB6A5}"/>
              </a:ext>
            </a:extLst>
          </p:cNvPr>
          <p:cNvSpPr/>
          <p:nvPr/>
        </p:nvSpPr>
        <p:spPr bwMode="gray">
          <a:xfrm>
            <a:off x="460375" y="1782145"/>
            <a:ext cx="11201400" cy="102975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a:solidFill>
                <a:schemeClr val="bg1"/>
              </a:solidFill>
            </a:endParaRPr>
          </a:p>
        </p:txBody>
      </p:sp>
      <p:sp>
        <p:nvSpPr>
          <p:cNvPr id="5" name="Rectangle: Rounded Corners 4">
            <a:extLst>
              <a:ext uri="{FF2B5EF4-FFF2-40B4-BE49-F238E27FC236}">
                <a16:creationId xmlns:a16="http://schemas.microsoft.com/office/drawing/2014/main" id="{7B9D2E2F-798A-EA77-A963-B7EAA84E1F58}"/>
              </a:ext>
            </a:extLst>
          </p:cNvPr>
          <p:cNvSpPr/>
          <p:nvPr/>
        </p:nvSpPr>
        <p:spPr bwMode="gray">
          <a:xfrm>
            <a:off x="669912" y="1865203"/>
            <a:ext cx="1868015" cy="357507"/>
          </a:xfrm>
          <a:prstGeom prst="roundRect">
            <a:avLst>
              <a:gd name="adj" fmla="val 50000"/>
            </a:avLst>
          </a:prstGeom>
          <a:solidFill>
            <a:srgbClr val="007680"/>
          </a:solidFill>
          <a:ln w="2540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_tradnl" sz="1400" b="1">
                <a:solidFill>
                  <a:schemeClr val="bg1"/>
                </a:solidFill>
              </a:rPr>
              <a:t>PREGUNTA 6</a:t>
            </a:r>
            <a:endParaRPr lang="es-ES" sz="1400" b="1">
              <a:solidFill>
                <a:schemeClr val="bg1"/>
              </a:solidFill>
            </a:endParaRPr>
          </a:p>
        </p:txBody>
      </p:sp>
      <p:sp>
        <p:nvSpPr>
          <p:cNvPr id="8" name="TextBox 7">
            <a:extLst>
              <a:ext uri="{FF2B5EF4-FFF2-40B4-BE49-F238E27FC236}">
                <a16:creationId xmlns:a16="http://schemas.microsoft.com/office/drawing/2014/main" id="{12BD7849-A23A-8384-D7AC-0F7A11E2A166}"/>
              </a:ext>
            </a:extLst>
          </p:cNvPr>
          <p:cNvSpPr txBox="1"/>
          <p:nvPr/>
        </p:nvSpPr>
        <p:spPr>
          <a:xfrm>
            <a:off x="669912" y="2286808"/>
            <a:ext cx="10958921" cy="302519"/>
          </a:xfrm>
          <a:prstGeom prst="rect">
            <a:avLst/>
          </a:prstGeom>
          <a:noFill/>
        </p:spPr>
        <p:txBody>
          <a:bodyPr wrap="square">
            <a:spAutoFit/>
          </a:bodyPr>
          <a:lstStyle/>
          <a:p>
            <a:pPr>
              <a:lnSpc>
                <a:spcPct val="107000"/>
              </a:lnSpc>
              <a:spcAft>
                <a:spcPts val="800"/>
              </a:spcAft>
            </a:pPr>
            <a:r>
              <a:rPr lang="es-ES" sz="1400" kern="1400" spc="-50">
                <a:effectLst/>
                <a:latin typeface="+mj-lt"/>
                <a:ea typeface="Roboto" panose="02000000000000000000" pitchFamily="2" charset="0"/>
                <a:cs typeface="Roboto" panose="02000000000000000000" pitchFamily="2" charset="0"/>
              </a:rPr>
              <a:t>¿Qué herramienta será útil para proporcionar una instantánea del servidor para que los desarrolladores resuelvan errores?</a:t>
            </a:r>
            <a:endParaRPr lang="en-GB" sz="1400">
              <a:solidFill>
                <a:srgbClr val="1C1D1F"/>
              </a:solidFill>
              <a:effectLst/>
              <a:latin typeface="+mj-lt"/>
              <a:ea typeface="Roboto" panose="02000000000000000000" pitchFamily="2" charset="0"/>
              <a:cs typeface="Roboto" panose="02000000000000000000" pitchFamily="2" charset="0"/>
            </a:endParaRPr>
          </a:p>
        </p:txBody>
      </p:sp>
      <p:grpSp>
        <p:nvGrpSpPr>
          <p:cNvPr id="23" name="Group 22">
            <a:extLst>
              <a:ext uri="{FF2B5EF4-FFF2-40B4-BE49-F238E27FC236}">
                <a16:creationId xmlns:a16="http://schemas.microsoft.com/office/drawing/2014/main" id="{6EC7A0F6-71C4-7D50-77C6-53A3D1D3B601}"/>
              </a:ext>
            </a:extLst>
          </p:cNvPr>
          <p:cNvGrpSpPr/>
          <p:nvPr/>
        </p:nvGrpSpPr>
        <p:grpSpPr>
          <a:xfrm>
            <a:off x="669912" y="3078423"/>
            <a:ext cx="6599944" cy="1701807"/>
            <a:chOff x="847012" y="3849476"/>
            <a:chExt cx="8192086" cy="2290587"/>
          </a:xfrm>
        </p:grpSpPr>
        <p:sp>
          <p:nvSpPr>
            <p:cNvPr id="18" name="Rectangle: Rounded Corners 17">
              <a:extLst>
                <a:ext uri="{FF2B5EF4-FFF2-40B4-BE49-F238E27FC236}">
                  <a16:creationId xmlns:a16="http://schemas.microsoft.com/office/drawing/2014/main" id="{F88C2877-1041-84BA-B999-D2ECBD2671AA}"/>
                </a:ext>
              </a:extLst>
            </p:cNvPr>
            <p:cNvSpPr/>
            <p:nvPr/>
          </p:nvSpPr>
          <p:spPr bwMode="gray">
            <a:xfrm>
              <a:off x="1524001" y="5672063"/>
              <a:ext cx="7515097" cy="465932"/>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pPr>
              <a:r>
                <a:rPr lang="es-ES" sz="1400">
                  <a:solidFill>
                    <a:schemeClr val="bg1">
                      <a:lumMod val="95000"/>
                    </a:schemeClr>
                  </a:solidFill>
                </a:rPr>
                <a:t>Herramientas de gestión de casos de prueba.</a:t>
              </a:r>
            </a:p>
          </p:txBody>
        </p:sp>
        <p:sp>
          <p:nvSpPr>
            <p:cNvPr id="3" name="Rectangle: Rounded Corners 2">
              <a:extLst>
                <a:ext uri="{FF2B5EF4-FFF2-40B4-BE49-F238E27FC236}">
                  <a16:creationId xmlns:a16="http://schemas.microsoft.com/office/drawing/2014/main" id="{2249E39F-E42F-D150-A53F-A84C62529E74}"/>
                </a:ext>
              </a:extLst>
            </p:cNvPr>
            <p:cNvSpPr/>
            <p:nvPr/>
          </p:nvSpPr>
          <p:spPr bwMode="gray">
            <a:xfrm>
              <a:off x="1523999" y="3849476"/>
              <a:ext cx="7515099" cy="465932"/>
            </a:xfrm>
            <a:prstGeom prst="roundRect">
              <a:avLst/>
            </a:prstGeom>
            <a:solidFill>
              <a:schemeClr val="bg1">
                <a:lumMod val="95000"/>
              </a:schemeClr>
            </a:solidFill>
            <a:ln w="28575" algn="ctr">
              <a:solidFill>
                <a:srgbClr val="046A38"/>
              </a:solidFill>
              <a:miter lim="800000"/>
              <a:headEnd/>
              <a:tailEnd/>
            </a:ln>
          </p:spPr>
          <p:txBody>
            <a:bodyPr wrap="square" lIns="88900" tIns="88900" rIns="88900" bIns="88900" rtlCol="0" anchor="ctr"/>
            <a:lstStyle/>
            <a:p>
              <a:pPr>
                <a:lnSpc>
                  <a:spcPct val="106000"/>
                </a:lnSpc>
              </a:pPr>
              <a:r>
                <a:rPr lang="es-ES" sz="1400"/>
                <a:t>Herramienta de virtualización y computación en la nube.</a:t>
              </a:r>
            </a:p>
          </p:txBody>
        </p:sp>
        <p:sp>
          <p:nvSpPr>
            <p:cNvPr id="7" name="Oval 6">
              <a:extLst>
                <a:ext uri="{FF2B5EF4-FFF2-40B4-BE49-F238E27FC236}">
                  <a16:creationId xmlns:a16="http://schemas.microsoft.com/office/drawing/2014/main" id="{DE6A66C0-A025-16BD-940B-A7D6EA918F03}"/>
                </a:ext>
              </a:extLst>
            </p:cNvPr>
            <p:cNvSpPr/>
            <p:nvPr/>
          </p:nvSpPr>
          <p:spPr bwMode="gray">
            <a:xfrm>
              <a:off x="847012" y="3849476"/>
              <a:ext cx="468000" cy="468000"/>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pPr>
              <a:r>
                <a:rPr lang="es-ES" sz="2000" b="1">
                  <a:solidFill>
                    <a:schemeClr val="bg1"/>
                  </a:solidFill>
                </a:rPr>
                <a:t>A</a:t>
              </a:r>
            </a:p>
          </p:txBody>
        </p:sp>
        <p:sp>
          <p:nvSpPr>
            <p:cNvPr id="11" name="Rectangle: Rounded Corners 10">
              <a:extLst>
                <a:ext uri="{FF2B5EF4-FFF2-40B4-BE49-F238E27FC236}">
                  <a16:creationId xmlns:a16="http://schemas.microsoft.com/office/drawing/2014/main" id="{EB138BE2-0BC6-33E3-50EA-CE15DB8A2485}"/>
                </a:ext>
              </a:extLst>
            </p:cNvPr>
            <p:cNvSpPr/>
            <p:nvPr/>
          </p:nvSpPr>
          <p:spPr bwMode="gray">
            <a:xfrm>
              <a:off x="1524001" y="4459074"/>
              <a:ext cx="7515097" cy="465932"/>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95000"/>
                    </a:schemeClr>
                  </a:solidFill>
                </a:rPr>
                <a:t>Herramienta de captura de video.</a:t>
              </a:r>
            </a:p>
          </p:txBody>
        </p:sp>
        <p:sp>
          <p:nvSpPr>
            <p:cNvPr id="12" name="Oval 11">
              <a:extLst>
                <a:ext uri="{FF2B5EF4-FFF2-40B4-BE49-F238E27FC236}">
                  <a16:creationId xmlns:a16="http://schemas.microsoft.com/office/drawing/2014/main" id="{1F6293F9-1410-5F97-CBC6-9EC39EDE84DB}"/>
                </a:ext>
              </a:extLst>
            </p:cNvPr>
            <p:cNvSpPr/>
            <p:nvPr/>
          </p:nvSpPr>
          <p:spPr bwMode="gray">
            <a:xfrm>
              <a:off x="847012" y="4459074"/>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B</a:t>
              </a:r>
            </a:p>
          </p:txBody>
        </p:sp>
        <p:sp>
          <p:nvSpPr>
            <p:cNvPr id="20" name="Rectangle: Rounded Corners 19">
              <a:extLst>
                <a:ext uri="{FF2B5EF4-FFF2-40B4-BE49-F238E27FC236}">
                  <a16:creationId xmlns:a16="http://schemas.microsoft.com/office/drawing/2014/main" id="{750FCE72-C5EE-D9CC-6ADA-02895F6DA515}"/>
                </a:ext>
              </a:extLst>
            </p:cNvPr>
            <p:cNvSpPr/>
            <p:nvPr/>
          </p:nvSpPr>
          <p:spPr bwMode="gray">
            <a:xfrm>
              <a:off x="1524001" y="5066603"/>
              <a:ext cx="7515097" cy="465932"/>
            </a:xfrm>
            <a:prstGeom prst="roundRect">
              <a:avLst/>
            </a:prstGeom>
            <a:solidFill>
              <a:schemeClr val="bg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s-ES" sz="1400">
                  <a:solidFill>
                    <a:schemeClr val="bg1">
                      <a:lumMod val="95000"/>
                    </a:schemeClr>
                  </a:solidFill>
                </a:rPr>
                <a:t>Panel de control de estilo wiki.</a:t>
              </a:r>
            </a:p>
          </p:txBody>
        </p:sp>
        <p:sp>
          <p:nvSpPr>
            <p:cNvPr id="21" name="Oval 20">
              <a:extLst>
                <a:ext uri="{FF2B5EF4-FFF2-40B4-BE49-F238E27FC236}">
                  <a16:creationId xmlns:a16="http://schemas.microsoft.com/office/drawing/2014/main" id="{24BD630B-7017-EE04-9BAA-BE69208108E0}"/>
                </a:ext>
              </a:extLst>
            </p:cNvPr>
            <p:cNvSpPr/>
            <p:nvPr/>
          </p:nvSpPr>
          <p:spPr bwMode="gray">
            <a:xfrm>
              <a:off x="847012" y="5066603"/>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C</a:t>
              </a:r>
            </a:p>
          </p:txBody>
        </p:sp>
        <p:sp>
          <p:nvSpPr>
            <p:cNvPr id="22" name="Oval 21">
              <a:extLst>
                <a:ext uri="{FF2B5EF4-FFF2-40B4-BE49-F238E27FC236}">
                  <a16:creationId xmlns:a16="http://schemas.microsoft.com/office/drawing/2014/main" id="{BDD4185D-0801-78E1-C74C-ED1643E3ABE0}"/>
                </a:ext>
              </a:extLst>
            </p:cNvPr>
            <p:cNvSpPr/>
            <p:nvPr/>
          </p:nvSpPr>
          <p:spPr bwMode="gray">
            <a:xfrm>
              <a:off x="847012" y="5672063"/>
              <a:ext cx="468000" cy="468000"/>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ES" sz="2000" b="1">
                  <a:solidFill>
                    <a:schemeClr val="bg1"/>
                  </a:solidFill>
                </a:rPr>
                <a:t>D</a:t>
              </a:r>
            </a:p>
          </p:txBody>
        </p:sp>
      </p:grpSp>
    </p:spTree>
    <p:extLst>
      <p:ext uri="{BB962C8B-B14F-4D97-AF65-F5344CB8AC3E}">
        <p14:creationId xmlns:p14="http://schemas.microsoft.com/office/powerpoint/2010/main" val="14646200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ción1" id="{63734136-DE49-F145-BE74-2D5F69446A0C}" vid="{1E5FA287-B50C-C642-9A7B-44DF734E39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2b08c45-4f04-4f67-9e46-4db6e5673277">
      <Terms xmlns="http://schemas.microsoft.com/office/infopath/2007/PartnerControls"/>
    </lcf76f155ced4ddcb4097134ff3c332f>
    <TaxCatchAll xmlns="119b17f4-b709-446b-9104-0d1468ac947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123AB7D410BE43A2A01A5D314F582B" ma:contentTypeVersion="17" ma:contentTypeDescription="Create a new document." ma:contentTypeScope="" ma:versionID="3dfa36ff2e82895a0892982a3d906738">
  <xsd:schema xmlns:xsd="http://www.w3.org/2001/XMLSchema" xmlns:xs="http://www.w3.org/2001/XMLSchema" xmlns:p="http://schemas.microsoft.com/office/2006/metadata/properties" xmlns:ns2="12b08c45-4f04-4f67-9e46-4db6e5673277" xmlns:ns3="119b17f4-b709-446b-9104-0d1468ac947f" targetNamespace="http://schemas.microsoft.com/office/2006/metadata/properties" ma:root="true" ma:fieldsID="d560607748966783d1429ced72c1819e" ns2:_="" ns3:_="">
    <xsd:import namespace="12b08c45-4f04-4f67-9e46-4db6e5673277"/>
    <xsd:import namespace="119b17f4-b709-446b-9104-0d1468ac947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b08c45-4f04-4f67-9e46-4db6e56732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19b17f4-b709-446b-9104-0d1468ac947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2e4ec0f2-781a-46f1-80f6-fd5c2854a6aa}" ma:internalName="TaxCatchAll" ma:showField="CatchAllData" ma:web="119b17f4-b709-446b-9104-0d1468ac947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4FC17D9-7E59-4B7C-86C6-50917F63263D}">
  <ds:schemaRefs>
    <ds:schemaRef ds:uri="119b17f4-b709-446b-9104-0d1468ac947f"/>
    <ds:schemaRef ds:uri="12b08c45-4f04-4f67-9e46-4db6e567327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03F3D8B-BBD3-409C-BAAD-FE49D36AA3C9}">
  <ds:schemaRefs>
    <ds:schemaRef ds:uri="119b17f4-b709-446b-9104-0d1468ac947f"/>
    <ds:schemaRef ds:uri="12b08c45-4f04-4f67-9e46-4db6e56732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8E3EA1E-BF2D-45B8-BA4E-CB59B91144C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00</Slides>
  <Notes>94</Notes>
  <HiddenSlides>0</HiddenSlides>
  <ScaleCrop>false</ScaleCrop>
  <HeadingPairs>
    <vt:vector size="4" baseType="variant">
      <vt:variant>
        <vt:lpstr>Theme</vt:lpstr>
      </vt:variant>
      <vt:variant>
        <vt:i4>1</vt:i4>
      </vt:variant>
      <vt:variant>
        <vt:lpstr>Slide Titles</vt:lpstr>
      </vt:variant>
      <vt:variant>
        <vt:i4>100</vt:i4>
      </vt:variant>
    </vt:vector>
  </HeadingPairs>
  <TitlesOfParts>
    <vt:vector size="101" baseType="lpstr">
      <vt:lpstr>Deloitte_US_Onscre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0517PT046.PPTX</dc:title>
  <dc:subject>DXD-APPLICATION TESTING SERVICES</dc:subject>
  <dc:creator>SILVA, JACOBO</dc:creator>
  <cp:keywords>ESTRELLA 31/05/2017</cp:keywords>
  <cp:revision>2</cp:revision>
  <cp:lastPrinted>2017-04-24T06:53:31Z</cp:lastPrinted>
  <dcterms:created xsi:type="dcterms:W3CDTF">2016-09-21T15:13:03Z</dcterms:created>
  <dcterms:modified xsi:type="dcterms:W3CDTF">2024-12-17T08:16: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2-02T07:58:54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6edf6f1-8044-4fa3-a820-8c9457b4f73d</vt:lpwstr>
  </property>
  <property fmtid="{D5CDD505-2E9C-101B-9397-08002B2CF9AE}" pid="8" name="MSIP_Label_ea60d57e-af5b-4752-ac57-3e4f28ca11dc_ContentBits">
    <vt:lpwstr>0</vt:lpwstr>
  </property>
  <property fmtid="{D5CDD505-2E9C-101B-9397-08002B2CF9AE}" pid="9" name="ContentTypeId">
    <vt:lpwstr>0x010100A8123AB7D410BE43A2A01A5D314F582B</vt:lpwstr>
  </property>
  <property fmtid="{D5CDD505-2E9C-101B-9397-08002B2CF9AE}" pid="10" name="MediaServiceImageTags">
    <vt:lpwstr/>
  </property>
</Properties>
</file>